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1.xml" ContentType="application/vnd.openxmlformats-officedocument.presentationml.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2.xml" ContentType="application/vnd.openxmlformats-officedocument.presentationml.comments+xml"/>
  <Override PartName="/ppt/notesSlides/notesSlide15.xml" ContentType="application/vnd.openxmlformats-officedocument.presentationml.notesSlide+xml"/>
  <Override PartName="/ppt/comments/comment3.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19" r:id="rId5"/>
    <p:sldMasterId id="2147483733" r:id="rId6"/>
  </p:sldMasterIdLst>
  <p:notesMasterIdLst>
    <p:notesMasterId r:id="rId45"/>
  </p:notesMasterIdLst>
  <p:sldIdLst>
    <p:sldId id="1714" r:id="rId7"/>
    <p:sldId id="258" r:id="rId8"/>
    <p:sldId id="346" r:id="rId9"/>
    <p:sldId id="1719" r:id="rId10"/>
    <p:sldId id="1722" r:id="rId11"/>
    <p:sldId id="5548" r:id="rId12"/>
    <p:sldId id="5549" r:id="rId13"/>
    <p:sldId id="5542" r:id="rId14"/>
    <p:sldId id="5525" r:id="rId15"/>
    <p:sldId id="5538" r:id="rId16"/>
    <p:sldId id="5539" r:id="rId17"/>
    <p:sldId id="455" r:id="rId18"/>
    <p:sldId id="5545" r:id="rId19"/>
    <p:sldId id="5546" r:id="rId20"/>
    <p:sldId id="5544" r:id="rId21"/>
    <p:sldId id="1731" r:id="rId22"/>
    <p:sldId id="1726" r:id="rId23"/>
    <p:sldId id="260" r:id="rId24"/>
    <p:sldId id="1727" r:id="rId25"/>
    <p:sldId id="261" r:id="rId26"/>
    <p:sldId id="1715" r:id="rId27"/>
    <p:sldId id="5547" r:id="rId28"/>
    <p:sldId id="1716" r:id="rId29"/>
    <p:sldId id="5540" r:id="rId30"/>
    <p:sldId id="259" r:id="rId31"/>
    <p:sldId id="257" r:id="rId32"/>
    <p:sldId id="1730" r:id="rId33"/>
    <p:sldId id="1723" r:id="rId34"/>
    <p:sldId id="1720" r:id="rId35"/>
    <p:sldId id="1728" r:id="rId36"/>
    <p:sldId id="1718" r:id="rId37"/>
    <p:sldId id="1724" r:id="rId38"/>
    <p:sldId id="1729" r:id="rId39"/>
    <p:sldId id="5541" r:id="rId40"/>
    <p:sldId id="438" r:id="rId41"/>
    <p:sldId id="262" r:id="rId42"/>
    <p:sldId id="316" r:id="rId43"/>
    <p:sldId id="1717" r:id="rId44"/>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mb, Ben" initials="LB" lastIdx="3" clrIdx="0">
    <p:extLst>
      <p:ext uri="{19B8F6BF-5375-455C-9EA6-DF929625EA0E}">
        <p15:presenceInfo xmlns:p15="http://schemas.microsoft.com/office/powerpoint/2012/main" userId="S::benlamb@deloitte.com::88a6f5f3-f9e5-47eb-a109-670a0c6844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BB8E"/>
    <a:srgbClr val="FF8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0C5999-1A47-46D7-A54C-4CBD350E49BF}" vWet="2" dt="2021-07-20T15:31:32.451"/>
    <p1510:client id="{C1A9CD1E-484C-8543-958C-513D2519A024}" v="420" dt="2021-07-20T16:24:34.8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terspaw, Kristin" userId="4a7de1cd-ac65-4615-96ad-56ea6574a9fb" providerId="ADAL" clId="{95158394-6663-F844-BABF-71CD1EFA191C}"/>
    <pc:docChg chg="undo redo custSel modSld">
      <pc:chgData name="Muterspaw, Kristin" userId="4a7de1cd-ac65-4615-96ad-56ea6574a9fb" providerId="ADAL" clId="{95158394-6663-F844-BABF-71CD1EFA191C}" dt="2021-04-02T12:48:49.514" v="375" actId="14100"/>
      <pc:docMkLst>
        <pc:docMk/>
      </pc:docMkLst>
      <pc:sldChg chg="addSp delSp modSp mod">
        <pc:chgData name="Muterspaw, Kristin" userId="4a7de1cd-ac65-4615-96ad-56ea6574a9fb" providerId="ADAL" clId="{95158394-6663-F844-BABF-71CD1EFA191C}" dt="2021-04-01T19:29:11.453" v="172" actId="20577"/>
        <pc:sldMkLst>
          <pc:docMk/>
          <pc:sldMk cId="3111907793" sldId="258"/>
        </pc:sldMkLst>
        <pc:spChg chg="add del mod">
          <ac:chgData name="Muterspaw, Kristin" userId="4a7de1cd-ac65-4615-96ad-56ea6574a9fb" providerId="ADAL" clId="{95158394-6663-F844-BABF-71CD1EFA191C}" dt="2021-04-01T19:29:11.453" v="172" actId="20577"/>
          <ac:spMkLst>
            <pc:docMk/>
            <pc:sldMk cId="3111907793" sldId="258"/>
            <ac:spMk id="2" creationId="{E685D0D5-836E-4DDC-922A-828D0DD31F74}"/>
          </ac:spMkLst>
        </pc:spChg>
        <pc:spChg chg="mod">
          <ac:chgData name="Muterspaw, Kristin" userId="4a7de1cd-ac65-4615-96ad-56ea6574a9fb" providerId="ADAL" clId="{95158394-6663-F844-BABF-71CD1EFA191C}" dt="2021-04-01T19:27:51.416" v="157" actId="5793"/>
          <ac:spMkLst>
            <pc:docMk/>
            <pc:sldMk cId="3111907793" sldId="258"/>
            <ac:spMk id="3" creationId="{E764C15A-980C-4504-9BDC-4996EA1FED46}"/>
          </ac:spMkLst>
        </pc:spChg>
        <pc:spChg chg="add del mod">
          <ac:chgData name="Muterspaw, Kristin" userId="4a7de1cd-ac65-4615-96ad-56ea6574a9fb" providerId="ADAL" clId="{95158394-6663-F844-BABF-71CD1EFA191C}" dt="2021-04-01T19:28:45.752" v="166" actId="478"/>
          <ac:spMkLst>
            <pc:docMk/>
            <pc:sldMk cId="3111907793" sldId="258"/>
            <ac:spMk id="5" creationId="{3DDBB071-CD19-6A4B-AD0C-34E500BB4A50}"/>
          </ac:spMkLst>
        </pc:spChg>
        <pc:spChg chg="add del mod">
          <ac:chgData name="Muterspaw, Kristin" userId="4a7de1cd-ac65-4615-96ad-56ea6574a9fb" providerId="ADAL" clId="{95158394-6663-F844-BABF-71CD1EFA191C}" dt="2021-04-01T19:28:41.328" v="161"/>
          <ac:spMkLst>
            <pc:docMk/>
            <pc:sldMk cId="3111907793" sldId="258"/>
            <ac:spMk id="6" creationId="{FD3A825E-4812-694C-9DF4-AC2D88757059}"/>
          </ac:spMkLst>
        </pc:spChg>
        <pc:spChg chg="add del mod">
          <ac:chgData name="Muterspaw, Kristin" userId="4a7de1cd-ac65-4615-96ad-56ea6574a9fb" providerId="ADAL" clId="{95158394-6663-F844-BABF-71CD1EFA191C}" dt="2021-04-01T19:28:44.782" v="164"/>
          <ac:spMkLst>
            <pc:docMk/>
            <pc:sldMk cId="3111907793" sldId="258"/>
            <ac:spMk id="7" creationId="{C60C6430-A855-004C-B8AD-AE1A47FD6690}"/>
          </ac:spMkLst>
        </pc:spChg>
      </pc:sldChg>
      <pc:sldChg chg="modSp mod">
        <pc:chgData name="Muterspaw, Kristin" userId="4a7de1cd-ac65-4615-96ad-56ea6574a9fb" providerId="ADAL" clId="{95158394-6663-F844-BABF-71CD1EFA191C}" dt="2021-04-02T11:59:29.609" v="244" actId="5793"/>
        <pc:sldMkLst>
          <pc:docMk/>
          <pc:sldMk cId="2824742617" sldId="260"/>
        </pc:sldMkLst>
        <pc:spChg chg="mod">
          <ac:chgData name="Muterspaw, Kristin" userId="4a7de1cd-ac65-4615-96ad-56ea6574a9fb" providerId="ADAL" clId="{95158394-6663-F844-BABF-71CD1EFA191C}" dt="2021-04-01T19:26:37.313" v="119" actId="113"/>
          <ac:spMkLst>
            <pc:docMk/>
            <pc:sldMk cId="2824742617" sldId="260"/>
            <ac:spMk id="2" creationId="{866854D0-FCB5-4D80-A1E4-D715E3B082A4}"/>
          </ac:spMkLst>
        </pc:spChg>
        <pc:spChg chg="mod">
          <ac:chgData name="Muterspaw, Kristin" userId="4a7de1cd-ac65-4615-96ad-56ea6574a9fb" providerId="ADAL" clId="{95158394-6663-F844-BABF-71CD1EFA191C}" dt="2021-04-02T11:59:29.609" v="244" actId="5793"/>
          <ac:spMkLst>
            <pc:docMk/>
            <pc:sldMk cId="2824742617" sldId="260"/>
            <ac:spMk id="3" creationId="{FCAAF10E-1C27-4D0E-BBF1-77B67261FAAD}"/>
          </ac:spMkLst>
        </pc:spChg>
      </pc:sldChg>
      <pc:sldChg chg="modSp mod">
        <pc:chgData name="Muterspaw, Kristin" userId="4a7de1cd-ac65-4615-96ad-56ea6574a9fb" providerId="ADAL" clId="{95158394-6663-F844-BABF-71CD1EFA191C}" dt="2021-04-02T12:47:47.640" v="365" actId="20577"/>
        <pc:sldMkLst>
          <pc:docMk/>
          <pc:sldMk cId="3197646421" sldId="262"/>
        </pc:sldMkLst>
        <pc:spChg chg="mod">
          <ac:chgData name="Muterspaw, Kristin" userId="4a7de1cd-ac65-4615-96ad-56ea6574a9fb" providerId="ADAL" clId="{95158394-6663-F844-BABF-71CD1EFA191C}" dt="2021-04-02T12:47:47.640" v="365" actId="20577"/>
          <ac:spMkLst>
            <pc:docMk/>
            <pc:sldMk cId="3197646421" sldId="262"/>
            <ac:spMk id="3" creationId="{C9B6EAC8-8DD8-364E-8E21-045D5775C13F}"/>
          </ac:spMkLst>
        </pc:spChg>
      </pc:sldChg>
      <pc:sldChg chg="modSp mod">
        <pc:chgData name="Muterspaw, Kristin" userId="4a7de1cd-ac65-4615-96ad-56ea6574a9fb" providerId="ADAL" clId="{95158394-6663-F844-BABF-71CD1EFA191C}" dt="2021-04-02T12:48:49.514" v="375" actId="14100"/>
        <pc:sldMkLst>
          <pc:docMk/>
          <pc:sldMk cId="1553481733" sldId="1715"/>
        </pc:sldMkLst>
        <pc:cxnChg chg="mod">
          <ac:chgData name="Muterspaw, Kristin" userId="4a7de1cd-ac65-4615-96ad-56ea6574a9fb" providerId="ADAL" clId="{95158394-6663-F844-BABF-71CD1EFA191C}" dt="2021-04-02T12:48:27.241" v="370" actId="14100"/>
          <ac:cxnSpMkLst>
            <pc:docMk/>
            <pc:sldMk cId="1553481733" sldId="1715"/>
            <ac:cxnSpMk id="10" creationId="{EDAE3E5F-E9E0-6849-BA0C-E0F499A17093}"/>
          </ac:cxnSpMkLst>
        </pc:cxnChg>
        <pc:cxnChg chg="mod">
          <ac:chgData name="Muterspaw, Kristin" userId="4a7de1cd-ac65-4615-96ad-56ea6574a9fb" providerId="ADAL" clId="{95158394-6663-F844-BABF-71CD1EFA191C}" dt="2021-04-02T12:48:49.514" v="375" actId="14100"/>
          <ac:cxnSpMkLst>
            <pc:docMk/>
            <pc:sldMk cId="1553481733" sldId="1715"/>
            <ac:cxnSpMk id="15" creationId="{B2FB466C-6DB7-AA43-BCCB-F6EC0AF9A2E3}"/>
          </ac:cxnSpMkLst>
        </pc:cxnChg>
        <pc:cxnChg chg="mod">
          <ac:chgData name="Muterspaw, Kristin" userId="4a7de1cd-ac65-4615-96ad-56ea6574a9fb" providerId="ADAL" clId="{95158394-6663-F844-BABF-71CD1EFA191C}" dt="2021-04-02T12:48:32.275" v="372" actId="14100"/>
          <ac:cxnSpMkLst>
            <pc:docMk/>
            <pc:sldMk cId="1553481733" sldId="1715"/>
            <ac:cxnSpMk id="18" creationId="{6BBA5B77-D378-8545-9C78-2F4CD19A3304}"/>
          </ac:cxnSpMkLst>
        </pc:cxnChg>
        <pc:cxnChg chg="mod">
          <ac:chgData name="Muterspaw, Kristin" userId="4a7de1cd-ac65-4615-96ad-56ea6574a9fb" providerId="ADAL" clId="{95158394-6663-F844-BABF-71CD1EFA191C}" dt="2021-04-02T12:48:29.867" v="371" actId="14100"/>
          <ac:cxnSpMkLst>
            <pc:docMk/>
            <pc:sldMk cId="1553481733" sldId="1715"/>
            <ac:cxnSpMk id="19" creationId="{927F280B-FF39-974E-A326-28732C9C28C2}"/>
          </ac:cxnSpMkLst>
        </pc:cxnChg>
        <pc:cxnChg chg="mod">
          <ac:chgData name="Muterspaw, Kristin" userId="4a7de1cd-ac65-4615-96ad-56ea6574a9fb" providerId="ADAL" clId="{95158394-6663-F844-BABF-71CD1EFA191C}" dt="2021-04-02T12:48:13.780" v="366" actId="33986"/>
          <ac:cxnSpMkLst>
            <pc:docMk/>
            <pc:sldMk cId="1553481733" sldId="1715"/>
            <ac:cxnSpMk id="64" creationId="{AFA74A32-E6C2-3B4C-A37F-3E8F7FF99091}"/>
          </ac:cxnSpMkLst>
        </pc:cxnChg>
        <pc:cxnChg chg="mod">
          <ac:chgData name="Muterspaw, Kristin" userId="4a7de1cd-ac65-4615-96ad-56ea6574a9fb" providerId="ADAL" clId="{95158394-6663-F844-BABF-71CD1EFA191C}" dt="2021-04-02T12:48:40.981" v="373" actId="14100"/>
          <ac:cxnSpMkLst>
            <pc:docMk/>
            <pc:sldMk cId="1553481733" sldId="1715"/>
            <ac:cxnSpMk id="94" creationId="{9B63AE30-F168-3542-AFC8-B66F1B1EB809}"/>
          </ac:cxnSpMkLst>
        </pc:cxnChg>
        <pc:cxnChg chg="mod">
          <ac:chgData name="Muterspaw, Kristin" userId="4a7de1cd-ac65-4615-96ad-56ea6574a9fb" providerId="ADAL" clId="{95158394-6663-F844-BABF-71CD1EFA191C}" dt="2021-04-02T12:48:44.702" v="374" actId="14100"/>
          <ac:cxnSpMkLst>
            <pc:docMk/>
            <pc:sldMk cId="1553481733" sldId="1715"/>
            <ac:cxnSpMk id="147" creationId="{800E7938-2F7B-6D42-A984-07E3A19627CE}"/>
          </ac:cxnSpMkLst>
        </pc:cxnChg>
      </pc:sldChg>
      <pc:sldChg chg="modSp mod">
        <pc:chgData name="Muterspaw, Kristin" userId="4a7de1cd-ac65-4615-96ad-56ea6574a9fb" providerId="ADAL" clId="{95158394-6663-F844-BABF-71CD1EFA191C}" dt="2021-04-02T11:57:35.966" v="232" actId="14100"/>
        <pc:sldMkLst>
          <pc:docMk/>
          <pc:sldMk cId="69680020" sldId="1716"/>
        </pc:sldMkLst>
        <pc:spChg chg="mod">
          <ac:chgData name="Muterspaw, Kristin" userId="4a7de1cd-ac65-4615-96ad-56ea6574a9fb" providerId="ADAL" clId="{95158394-6663-F844-BABF-71CD1EFA191C}" dt="2021-04-02T11:57:26.722" v="230" actId="12789"/>
          <ac:spMkLst>
            <pc:docMk/>
            <pc:sldMk cId="69680020" sldId="1716"/>
            <ac:spMk id="6" creationId="{9EE36527-2B7C-D841-8BBA-39A4A301218D}"/>
          </ac:spMkLst>
        </pc:spChg>
        <pc:spChg chg="mod">
          <ac:chgData name="Muterspaw, Kristin" userId="4a7de1cd-ac65-4615-96ad-56ea6574a9fb" providerId="ADAL" clId="{95158394-6663-F844-BABF-71CD1EFA191C}" dt="2021-04-02T11:57:26.722" v="230" actId="12789"/>
          <ac:spMkLst>
            <pc:docMk/>
            <pc:sldMk cId="69680020" sldId="1716"/>
            <ac:spMk id="9" creationId="{FC47455C-BE5E-9B46-A8F2-33D49C655F92}"/>
          </ac:spMkLst>
        </pc:spChg>
        <pc:spChg chg="mod">
          <ac:chgData name="Muterspaw, Kristin" userId="4a7de1cd-ac65-4615-96ad-56ea6574a9fb" providerId="ADAL" clId="{95158394-6663-F844-BABF-71CD1EFA191C}" dt="2021-04-02T11:57:26.722" v="230" actId="12789"/>
          <ac:spMkLst>
            <pc:docMk/>
            <pc:sldMk cId="69680020" sldId="1716"/>
            <ac:spMk id="21" creationId="{F1958830-145C-984D-9030-71E69425D5D2}"/>
          </ac:spMkLst>
        </pc:spChg>
        <pc:spChg chg="mod">
          <ac:chgData name="Muterspaw, Kristin" userId="4a7de1cd-ac65-4615-96ad-56ea6574a9fb" providerId="ADAL" clId="{95158394-6663-F844-BABF-71CD1EFA191C}" dt="2021-04-02T11:57:26.722" v="230" actId="12789"/>
          <ac:spMkLst>
            <pc:docMk/>
            <pc:sldMk cId="69680020" sldId="1716"/>
            <ac:spMk id="33" creationId="{E6C1EB0B-D6C7-8844-A72A-363F4C64F301}"/>
          </ac:spMkLst>
        </pc:spChg>
        <pc:spChg chg="mod">
          <ac:chgData name="Muterspaw, Kristin" userId="4a7de1cd-ac65-4615-96ad-56ea6574a9fb" providerId="ADAL" clId="{95158394-6663-F844-BABF-71CD1EFA191C}" dt="2021-04-02T11:57:26.722" v="230" actId="12789"/>
          <ac:spMkLst>
            <pc:docMk/>
            <pc:sldMk cId="69680020" sldId="1716"/>
            <ac:spMk id="53" creationId="{E3DC0D3C-7BDA-9349-A187-4CFBCA7DFEE5}"/>
          </ac:spMkLst>
        </pc:spChg>
        <pc:spChg chg="mod">
          <ac:chgData name="Muterspaw, Kristin" userId="4a7de1cd-ac65-4615-96ad-56ea6574a9fb" providerId="ADAL" clId="{95158394-6663-F844-BABF-71CD1EFA191C}" dt="2021-04-02T11:57:33.648" v="231" actId="1076"/>
          <ac:spMkLst>
            <pc:docMk/>
            <pc:sldMk cId="69680020" sldId="1716"/>
            <ac:spMk id="91" creationId="{F2954D11-234A-D74F-BE2E-76A5431694E4}"/>
          </ac:spMkLst>
        </pc:spChg>
        <pc:cxnChg chg="mod">
          <ac:chgData name="Muterspaw, Kristin" userId="4a7de1cd-ac65-4615-96ad-56ea6574a9fb" providerId="ADAL" clId="{95158394-6663-F844-BABF-71CD1EFA191C}" dt="2021-04-02T11:57:35.966" v="232" actId="14100"/>
          <ac:cxnSpMkLst>
            <pc:docMk/>
            <pc:sldMk cId="69680020" sldId="1716"/>
            <ac:cxnSpMk id="15" creationId="{B2FB466C-6DB7-AA43-BCCB-F6EC0AF9A2E3}"/>
          </ac:cxnSpMkLst>
        </pc:cxnChg>
        <pc:cxnChg chg="mod">
          <ac:chgData name="Muterspaw, Kristin" userId="4a7de1cd-ac65-4615-96ad-56ea6574a9fb" providerId="ADAL" clId="{95158394-6663-F844-BABF-71CD1EFA191C}" dt="2021-04-02T11:57:26.722" v="230" actId="12789"/>
          <ac:cxnSpMkLst>
            <pc:docMk/>
            <pc:sldMk cId="69680020" sldId="1716"/>
            <ac:cxnSpMk id="22" creationId="{4A0F444D-64E0-4348-9CBD-109983736642}"/>
          </ac:cxnSpMkLst>
        </pc:cxnChg>
        <pc:cxnChg chg="mod">
          <ac:chgData name="Muterspaw, Kristin" userId="4a7de1cd-ac65-4615-96ad-56ea6574a9fb" providerId="ADAL" clId="{95158394-6663-F844-BABF-71CD1EFA191C}" dt="2021-04-02T11:57:26.722" v="230" actId="12789"/>
          <ac:cxnSpMkLst>
            <pc:docMk/>
            <pc:sldMk cId="69680020" sldId="1716"/>
            <ac:cxnSpMk id="36" creationId="{2503D715-EC65-7947-8142-DBBF9AE9D5E9}"/>
          </ac:cxnSpMkLst>
        </pc:cxnChg>
        <pc:cxnChg chg="mod">
          <ac:chgData name="Muterspaw, Kristin" userId="4a7de1cd-ac65-4615-96ad-56ea6574a9fb" providerId="ADAL" clId="{95158394-6663-F844-BABF-71CD1EFA191C}" dt="2021-04-02T11:57:26.722" v="230" actId="12789"/>
          <ac:cxnSpMkLst>
            <pc:docMk/>
            <pc:sldMk cId="69680020" sldId="1716"/>
            <ac:cxnSpMk id="54" creationId="{C6393E9B-F467-A34D-BE60-70EDF7C12186}"/>
          </ac:cxnSpMkLst>
        </pc:cxnChg>
        <pc:cxnChg chg="mod">
          <ac:chgData name="Muterspaw, Kristin" userId="4a7de1cd-ac65-4615-96ad-56ea6574a9fb" providerId="ADAL" clId="{95158394-6663-F844-BABF-71CD1EFA191C}" dt="2021-04-02T11:57:26.722" v="230" actId="12789"/>
          <ac:cxnSpMkLst>
            <pc:docMk/>
            <pc:sldMk cId="69680020" sldId="1716"/>
            <ac:cxnSpMk id="64" creationId="{AFA74A32-E6C2-3B4C-A37F-3E8F7FF99091}"/>
          </ac:cxnSpMkLst>
        </pc:cxnChg>
      </pc:sldChg>
      <pc:sldChg chg="modSp mod">
        <pc:chgData name="Muterspaw, Kristin" userId="4a7de1cd-ac65-4615-96ad-56ea6574a9fb" providerId="ADAL" clId="{95158394-6663-F844-BABF-71CD1EFA191C}" dt="2021-04-02T11:56:27.768" v="224" actId="27107"/>
        <pc:sldMkLst>
          <pc:docMk/>
          <pc:sldMk cId="1701660278" sldId="1720"/>
        </pc:sldMkLst>
        <pc:spChg chg="mod">
          <ac:chgData name="Muterspaw, Kristin" userId="4a7de1cd-ac65-4615-96ad-56ea6574a9fb" providerId="ADAL" clId="{95158394-6663-F844-BABF-71CD1EFA191C}" dt="2021-04-02T11:56:27.768" v="224" actId="27107"/>
          <ac:spMkLst>
            <pc:docMk/>
            <pc:sldMk cId="1701660278" sldId="1720"/>
            <ac:spMk id="46" creationId="{3C1DC4FD-8067-8A4C-9311-3EB305B545BF}"/>
          </ac:spMkLst>
        </pc:spChg>
      </pc:sldChg>
      <pc:sldChg chg="addSp delSp modSp mod">
        <pc:chgData name="Muterspaw, Kristin" userId="4a7de1cd-ac65-4615-96ad-56ea6574a9fb" providerId="ADAL" clId="{95158394-6663-F844-BABF-71CD1EFA191C}" dt="2021-04-02T11:47:20.857" v="188" actId="164"/>
        <pc:sldMkLst>
          <pc:docMk/>
          <pc:sldMk cId="2814166891" sldId="1723"/>
        </pc:sldMkLst>
        <pc:spChg chg="mod">
          <ac:chgData name="Muterspaw, Kristin" userId="4a7de1cd-ac65-4615-96ad-56ea6574a9fb" providerId="ADAL" clId="{95158394-6663-F844-BABF-71CD1EFA191C}" dt="2021-04-02T11:47:20.857" v="188" actId="164"/>
          <ac:spMkLst>
            <pc:docMk/>
            <pc:sldMk cId="2814166891" sldId="1723"/>
            <ac:spMk id="41" creationId="{4EDF171B-38D9-F041-A5B7-A1CECF25C60B}"/>
          </ac:spMkLst>
        </pc:spChg>
        <pc:spChg chg="mod topLvl">
          <ac:chgData name="Muterspaw, Kristin" userId="4a7de1cd-ac65-4615-96ad-56ea6574a9fb" providerId="ADAL" clId="{95158394-6663-F844-BABF-71CD1EFA191C}" dt="2021-04-02T11:47:06.367" v="183" actId="338"/>
          <ac:spMkLst>
            <pc:docMk/>
            <pc:sldMk cId="2814166891" sldId="1723"/>
            <ac:spMk id="59" creationId="{75DAEA0A-19CE-BC45-890C-755D8C94A926}"/>
          </ac:spMkLst>
        </pc:spChg>
        <pc:spChg chg="mod topLvl">
          <ac:chgData name="Muterspaw, Kristin" userId="4a7de1cd-ac65-4615-96ad-56ea6574a9fb" providerId="ADAL" clId="{95158394-6663-F844-BABF-71CD1EFA191C}" dt="2021-04-02T11:47:06.367" v="183" actId="338"/>
          <ac:spMkLst>
            <pc:docMk/>
            <pc:sldMk cId="2814166891" sldId="1723"/>
            <ac:spMk id="60" creationId="{AFF67307-9D25-A648-A6AE-F4AC6B54EFE9}"/>
          </ac:spMkLst>
        </pc:spChg>
        <pc:spChg chg="mod topLvl">
          <ac:chgData name="Muterspaw, Kristin" userId="4a7de1cd-ac65-4615-96ad-56ea6574a9fb" providerId="ADAL" clId="{95158394-6663-F844-BABF-71CD1EFA191C}" dt="2021-04-02T11:47:11.360" v="184" actId="338"/>
          <ac:spMkLst>
            <pc:docMk/>
            <pc:sldMk cId="2814166891" sldId="1723"/>
            <ac:spMk id="62" creationId="{03119B0F-B2AA-1249-B949-F745D43202C6}"/>
          </ac:spMkLst>
        </pc:spChg>
        <pc:spChg chg="mod topLvl">
          <ac:chgData name="Muterspaw, Kristin" userId="4a7de1cd-ac65-4615-96ad-56ea6574a9fb" providerId="ADAL" clId="{95158394-6663-F844-BABF-71CD1EFA191C}" dt="2021-04-02T11:47:11.360" v="184" actId="338"/>
          <ac:spMkLst>
            <pc:docMk/>
            <pc:sldMk cId="2814166891" sldId="1723"/>
            <ac:spMk id="63" creationId="{0C49699B-84E3-DB44-926C-D25F59305FA2}"/>
          </ac:spMkLst>
        </pc:spChg>
        <pc:spChg chg="mod topLvl">
          <ac:chgData name="Muterspaw, Kristin" userId="4a7de1cd-ac65-4615-96ad-56ea6574a9fb" providerId="ADAL" clId="{95158394-6663-F844-BABF-71CD1EFA191C}" dt="2021-04-02T11:47:16.351" v="185" actId="338"/>
          <ac:spMkLst>
            <pc:docMk/>
            <pc:sldMk cId="2814166891" sldId="1723"/>
            <ac:spMk id="68" creationId="{ADE6998C-5CF8-4A4F-BB2E-737B204DE5A4}"/>
          </ac:spMkLst>
        </pc:spChg>
        <pc:spChg chg="mod topLvl">
          <ac:chgData name="Muterspaw, Kristin" userId="4a7de1cd-ac65-4615-96ad-56ea6574a9fb" providerId="ADAL" clId="{95158394-6663-F844-BABF-71CD1EFA191C}" dt="2021-04-02T11:47:16.351" v="185" actId="338"/>
          <ac:spMkLst>
            <pc:docMk/>
            <pc:sldMk cId="2814166891" sldId="1723"/>
            <ac:spMk id="69" creationId="{8AA5858D-DD07-4948-963A-4D0AEFAEABFC}"/>
          </ac:spMkLst>
        </pc:spChg>
        <pc:spChg chg="mod">
          <ac:chgData name="Muterspaw, Kristin" userId="4a7de1cd-ac65-4615-96ad-56ea6574a9fb" providerId="ADAL" clId="{95158394-6663-F844-BABF-71CD1EFA191C}" dt="2021-04-02T11:47:20.857" v="188" actId="164"/>
          <ac:spMkLst>
            <pc:docMk/>
            <pc:sldMk cId="2814166891" sldId="1723"/>
            <ac:spMk id="109" creationId="{DD8DC9A8-38DD-C44B-8E9D-BBBDCB2640BC}"/>
          </ac:spMkLst>
        </pc:spChg>
        <pc:spChg chg="mod">
          <ac:chgData name="Muterspaw, Kristin" userId="4a7de1cd-ac65-4615-96ad-56ea6574a9fb" providerId="ADAL" clId="{95158394-6663-F844-BABF-71CD1EFA191C}" dt="2021-04-01T19:15:38.270" v="36" actId="12789"/>
          <ac:spMkLst>
            <pc:docMk/>
            <pc:sldMk cId="2814166891" sldId="1723"/>
            <ac:spMk id="118" creationId="{C56D44E6-9E59-0448-AC39-6FBF60736CAC}"/>
          </ac:spMkLst>
        </pc:spChg>
        <pc:spChg chg="mod">
          <ac:chgData name="Muterspaw, Kristin" userId="4a7de1cd-ac65-4615-96ad-56ea6574a9fb" providerId="ADAL" clId="{95158394-6663-F844-BABF-71CD1EFA191C}" dt="2021-04-01T19:15:38.270" v="36" actId="12789"/>
          <ac:spMkLst>
            <pc:docMk/>
            <pc:sldMk cId="2814166891" sldId="1723"/>
            <ac:spMk id="119" creationId="{5EABD445-F9E8-204C-8735-EEFB3690E75D}"/>
          </ac:spMkLst>
        </pc:spChg>
        <pc:spChg chg="mod">
          <ac:chgData name="Muterspaw, Kristin" userId="4a7de1cd-ac65-4615-96ad-56ea6574a9fb" providerId="ADAL" clId="{95158394-6663-F844-BABF-71CD1EFA191C}" dt="2021-04-01T19:15:38.270" v="36" actId="12789"/>
          <ac:spMkLst>
            <pc:docMk/>
            <pc:sldMk cId="2814166891" sldId="1723"/>
            <ac:spMk id="151" creationId="{C1B747B8-7FBF-FC49-804C-DC3090411323}"/>
          </ac:spMkLst>
        </pc:spChg>
        <pc:spChg chg="mod">
          <ac:chgData name="Muterspaw, Kristin" userId="4a7de1cd-ac65-4615-96ad-56ea6574a9fb" providerId="ADAL" clId="{95158394-6663-F844-BABF-71CD1EFA191C}" dt="2021-04-01T19:15:38.270" v="36" actId="12789"/>
          <ac:spMkLst>
            <pc:docMk/>
            <pc:sldMk cId="2814166891" sldId="1723"/>
            <ac:spMk id="153" creationId="{9C2F277D-D717-FE4B-92F9-C0173BE6098C}"/>
          </ac:spMkLst>
        </pc:spChg>
        <pc:spChg chg="mod">
          <ac:chgData name="Muterspaw, Kristin" userId="4a7de1cd-ac65-4615-96ad-56ea6574a9fb" providerId="ADAL" clId="{95158394-6663-F844-BABF-71CD1EFA191C}" dt="2021-04-01T19:15:47.306" v="38" actId="12789"/>
          <ac:spMkLst>
            <pc:docMk/>
            <pc:sldMk cId="2814166891" sldId="1723"/>
            <ac:spMk id="155" creationId="{E950DAA1-5E85-F64E-922C-ACDDCCC4EE1F}"/>
          </ac:spMkLst>
        </pc:spChg>
        <pc:spChg chg="mod">
          <ac:chgData name="Muterspaw, Kristin" userId="4a7de1cd-ac65-4615-96ad-56ea6574a9fb" providerId="ADAL" clId="{95158394-6663-F844-BABF-71CD1EFA191C}" dt="2021-04-01T19:15:47.306" v="38" actId="12789"/>
          <ac:spMkLst>
            <pc:docMk/>
            <pc:sldMk cId="2814166891" sldId="1723"/>
            <ac:spMk id="158" creationId="{0FA30662-DCBE-6C43-A4AE-1E9CB653C2D8}"/>
          </ac:spMkLst>
        </pc:spChg>
        <pc:spChg chg="mod">
          <ac:chgData name="Muterspaw, Kristin" userId="4a7de1cd-ac65-4615-96ad-56ea6574a9fb" providerId="ADAL" clId="{95158394-6663-F844-BABF-71CD1EFA191C}" dt="2021-04-01T19:15:47.306" v="38" actId="12789"/>
          <ac:spMkLst>
            <pc:docMk/>
            <pc:sldMk cId="2814166891" sldId="1723"/>
            <ac:spMk id="164" creationId="{B08DD7F7-C035-BA49-8195-FD761CA615A5}"/>
          </ac:spMkLst>
        </pc:spChg>
        <pc:grpChg chg="add mod">
          <ac:chgData name="Muterspaw, Kristin" userId="4a7de1cd-ac65-4615-96ad-56ea6574a9fb" providerId="ADAL" clId="{95158394-6663-F844-BABF-71CD1EFA191C}" dt="2021-04-02T11:47:06.367" v="183" actId="338"/>
          <ac:grpSpMkLst>
            <pc:docMk/>
            <pc:sldMk cId="2814166891" sldId="1723"/>
            <ac:grpSpMk id="5" creationId="{A82D2596-2A62-1C48-B001-6B6443C28461}"/>
          </ac:grpSpMkLst>
        </pc:grpChg>
        <pc:grpChg chg="add mod">
          <ac:chgData name="Muterspaw, Kristin" userId="4a7de1cd-ac65-4615-96ad-56ea6574a9fb" providerId="ADAL" clId="{95158394-6663-F844-BABF-71CD1EFA191C}" dt="2021-04-02T11:47:11.360" v="184" actId="338"/>
          <ac:grpSpMkLst>
            <pc:docMk/>
            <pc:sldMk cId="2814166891" sldId="1723"/>
            <ac:grpSpMk id="6" creationId="{754F7780-82B4-0543-9436-3CFDB36E5DEB}"/>
          </ac:grpSpMkLst>
        </pc:grpChg>
        <pc:grpChg chg="add mod">
          <ac:chgData name="Muterspaw, Kristin" userId="4a7de1cd-ac65-4615-96ad-56ea6574a9fb" providerId="ADAL" clId="{95158394-6663-F844-BABF-71CD1EFA191C}" dt="2021-04-02T11:47:16.351" v="185" actId="338"/>
          <ac:grpSpMkLst>
            <pc:docMk/>
            <pc:sldMk cId="2814166891" sldId="1723"/>
            <ac:grpSpMk id="7" creationId="{4978C691-F65C-7E4C-B604-2BB47AF8FBCB}"/>
          </ac:grpSpMkLst>
        </pc:grpChg>
        <pc:grpChg chg="add mod">
          <ac:chgData name="Muterspaw, Kristin" userId="4a7de1cd-ac65-4615-96ad-56ea6574a9fb" providerId="ADAL" clId="{95158394-6663-F844-BABF-71CD1EFA191C}" dt="2021-04-02T11:47:20.857" v="188" actId="164"/>
          <ac:grpSpMkLst>
            <pc:docMk/>
            <pc:sldMk cId="2814166891" sldId="1723"/>
            <ac:grpSpMk id="8" creationId="{0F582933-4C74-9747-8F00-6C3FA21BEE6B}"/>
          </ac:grpSpMkLst>
        </pc:grpChg>
        <pc:grpChg chg="del">
          <ac:chgData name="Muterspaw, Kristin" userId="4a7de1cd-ac65-4615-96ad-56ea6574a9fb" providerId="ADAL" clId="{95158394-6663-F844-BABF-71CD1EFA191C}" dt="2021-04-02T11:46:36.399" v="178" actId="165"/>
          <ac:grpSpMkLst>
            <pc:docMk/>
            <pc:sldMk cId="2814166891" sldId="1723"/>
            <ac:grpSpMk id="58" creationId="{08F3CE03-3553-D14F-9087-83CA63E5C39C}"/>
          </ac:grpSpMkLst>
        </pc:grpChg>
        <pc:grpChg chg="del">
          <ac:chgData name="Muterspaw, Kristin" userId="4a7de1cd-ac65-4615-96ad-56ea6574a9fb" providerId="ADAL" clId="{95158394-6663-F844-BABF-71CD1EFA191C}" dt="2021-04-02T11:46:39.203" v="179" actId="165"/>
          <ac:grpSpMkLst>
            <pc:docMk/>
            <pc:sldMk cId="2814166891" sldId="1723"/>
            <ac:grpSpMk id="61" creationId="{F1C39678-EFA0-214F-A9C6-7D4787298A91}"/>
          </ac:grpSpMkLst>
        </pc:grpChg>
        <pc:grpChg chg="del">
          <ac:chgData name="Muterspaw, Kristin" userId="4a7de1cd-ac65-4615-96ad-56ea6574a9fb" providerId="ADAL" clId="{95158394-6663-F844-BABF-71CD1EFA191C}" dt="2021-04-02T11:46:41.787" v="180" actId="165"/>
          <ac:grpSpMkLst>
            <pc:docMk/>
            <pc:sldMk cId="2814166891" sldId="1723"/>
            <ac:grpSpMk id="64" creationId="{387D7E53-35FE-434B-B7E5-7C36F414E999}"/>
          </ac:grpSpMkLst>
        </pc:grpChg>
        <pc:cxnChg chg="mod">
          <ac:chgData name="Muterspaw, Kristin" userId="4a7de1cd-ac65-4615-96ad-56ea6574a9fb" providerId="ADAL" clId="{95158394-6663-F844-BABF-71CD1EFA191C}" dt="2021-04-01T19:15:38.270" v="36" actId="12789"/>
          <ac:cxnSpMkLst>
            <pc:docMk/>
            <pc:sldMk cId="2814166891" sldId="1723"/>
            <ac:cxnSpMk id="150" creationId="{E91B9DA5-987F-764A-9E92-122218E8BD63}"/>
          </ac:cxnSpMkLst>
        </pc:cxnChg>
        <pc:cxnChg chg="mod">
          <ac:chgData name="Muterspaw, Kristin" userId="4a7de1cd-ac65-4615-96ad-56ea6574a9fb" providerId="ADAL" clId="{95158394-6663-F844-BABF-71CD1EFA191C}" dt="2021-04-01T19:15:38.270" v="36" actId="12789"/>
          <ac:cxnSpMkLst>
            <pc:docMk/>
            <pc:sldMk cId="2814166891" sldId="1723"/>
            <ac:cxnSpMk id="152" creationId="{74EF7C31-1916-4946-848B-743D3C8A2206}"/>
          </ac:cxnSpMkLst>
        </pc:cxnChg>
        <pc:cxnChg chg="mod">
          <ac:chgData name="Muterspaw, Kristin" userId="4a7de1cd-ac65-4615-96ad-56ea6574a9fb" providerId="ADAL" clId="{95158394-6663-F844-BABF-71CD1EFA191C}" dt="2021-04-01T19:15:38.270" v="36" actId="12789"/>
          <ac:cxnSpMkLst>
            <pc:docMk/>
            <pc:sldMk cId="2814166891" sldId="1723"/>
            <ac:cxnSpMk id="154" creationId="{373BD1E1-B42A-2542-AE45-9FA77B7D7B07}"/>
          </ac:cxnSpMkLst>
        </pc:cxnChg>
        <pc:cxnChg chg="mod">
          <ac:chgData name="Muterspaw, Kristin" userId="4a7de1cd-ac65-4615-96ad-56ea6574a9fb" providerId="ADAL" clId="{95158394-6663-F844-BABF-71CD1EFA191C}" dt="2021-04-01T19:15:38.270" v="36" actId="12789"/>
          <ac:cxnSpMkLst>
            <pc:docMk/>
            <pc:sldMk cId="2814166891" sldId="1723"/>
            <ac:cxnSpMk id="156" creationId="{A0BD0C4B-F7E0-0E42-AA61-E410AF16999C}"/>
          </ac:cxnSpMkLst>
        </pc:cxnChg>
        <pc:cxnChg chg="mod">
          <ac:chgData name="Muterspaw, Kristin" userId="4a7de1cd-ac65-4615-96ad-56ea6574a9fb" providerId="ADAL" clId="{95158394-6663-F844-BABF-71CD1EFA191C}" dt="2021-04-01T19:15:38.270" v="36" actId="12789"/>
          <ac:cxnSpMkLst>
            <pc:docMk/>
            <pc:sldMk cId="2814166891" sldId="1723"/>
            <ac:cxnSpMk id="157" creationId="{53DD9FF3-DDD6-A54D-B5B7-B44B7DC98A74}"/>
          </ac:cxnSpMkLst>
        </pc:cxnChg>
        <pc:cxnChg chg="mod">
          <ac:chgData name="Muterspaw, Kristin" userId="4a7de1cd-ac65-4615-96ad-56ea6574a9fb" providerId="ADAL" clId="{95158394-6663-F844-BABF-71CD1EFA191C}" dt="2021-04-01T19:15:47.306" v="38" actId="12789"/>
          <ac:cxnSpMkLst>
            <pc:docMk/>
            <pc:sldMk cId="2814166891" sldId="1723"/>
            <ac:cxnSpMk id="159" creationId="{D93DE573-43B9-3544-8647-BE2FC39A6D25}"/>
          </ac:cxnSpMkLst>
        </pc:cxnChg>
        <pc:cxnChg chg="mod">
          <ac:chgData name="Muterspaw, Kristin" userId="4a7de1cd-ac65-4615-96ad-56ea6574a9fb" providerId="ADAL" clId="{95158394-6663-F844-BABF-71CD1EFA191C}" dt="2021-04-01T19:16:01.480" v="42" actId="14100"/>
          <ac:cxnSpMkLst>
            <pc:docMk/>
            <pc:sldMk cId="2814166891" sldId="1723"/>
            <ac:cxnSpMk id="165" creationId="{0AFFF7B1-2004-9549-A9CD-11FB9BFE6CBA}"/>
          </ac:cxnSpMkLst>
        </pc:cxnChg>
        <pc:cxnChg chg="mod">
          <ac:chgData name="Muterspaw, Kristin" userId="4a7de1cd-ac65-4615-96ad-56ea6574a9fb" providerId="ADAL" clId="{95158394-6663-F844-BABF-71CD1EFA191C}" dt="2021-04-01T19:15:47.306" v="38" actId="12789"/>
          <ac:cxnSpMkLst>
            <pc:docMk/>
            <pc:sldMk cId="2814166891" sldId="1723"/>
            <ac:cxnSpMk id="166" creationId="{534E3EDB-AC43-C848-A4EF-9C95DA7ADE82}"/>
          </ac:cxnSpMkLst>
        </pc:cxnChg>
        <pc:cxnChg chg="mod">
          <ac:chgData name="Muterspaw, Kristin" userId="4a7de1cd-ac65-4615-96ad-56ea6574a9fb" providerId="ADAL" clId="{95158394-6663-F844-BABF-71CD1EFA191C}" dt="2021-04-01T19:15:47.306" v="38" actId="12789"/>
          <ac:cxnSpMkLst>
            <pc:docMk/>
            <pc:sldMk cId="2814166891" sldId="1723"/>
            <ac:cxnSpMk id="172" creationId="{0084A0F3-7F3D-5447-94B7-F3367FB835A9}"/>
          </ac:cxnSpMkLst>
        </pc:cxnChg>
      </pc:sldChg>
      <pc:sldChg chg="addSp delSp modSp mod">
        <pc:chgData name="Muterspaw, Kristin" userId="4a7de1cd-ac65-4615-96ad-56ea6574a9fb" providerId="ADAL" clId="{95158394-6663-F844-BABF-71CD1EFA191C}" dt="2021-04-02T12:03:30.168" v="296" actId="14100"/>
        <pc:sldMkLst>
          <pc:docMk/>
          <pc:sldMk cId="1307733305" sldId="1726"/>
        </pc:sldMkLst>
        <pc:spChg chg="add del mod">
          <ac:chgData name="Muterspaw, Kristin" userId="4a7de1cd-ac65-4615-96ad-56ea6574a9fb" providerId="ADAL" clId="{95158394-6663-F844-BABF-71CD1EFA191C}" dt="2021-04-02T12:02:19.173" v="280" actId="767"/>
          <ac:spMkLst>
            <pc:docMk/>
            <pc:sldMk cId="1307733305" sldId="1726"/>
            <ac:spMk id="20" creationId="{C94538A0-0196-2849-89AA-196C036285C7}"/>
          </ac:spMkLst>
        </pc:spChg>
        <pc:spChg chg="mod">
          <ac:chgData name="Muterspaw, Kristin" userId="4a7de1cd-ac65-4615-96ad-56ea6574a9fb" providerId="ADAL" clId="{95158394-6663-F844-BABF-71CD1EFA191C}" dt="2021-04-02T12:02:58.488" v="289" actId="14100"/>
          <ac:spMkLst>
            <pc:docMk/>
            <pc:sldMk cId="1307733305" sldId="1726"/>
            <ac:spMk id="38" creationId="{05632F35-8B59-8140-B651-8565E2392470}"/>
          </ac:spMkLst>
        </pc:spChg>
        <pc:spChg chg="mod">
          <ac:chgData name="Muterspaw, Kristin" userId="4a7de1cd-ac65-4615-96ad-56ea6574a9fb" providerId="ADAL" clId="{95158394-6663-F844-BABF-71CD1EFA191C}" dt="2021-04-02T12:02:09.751" v="278" actId="1076"/>
          <ac:spMkLst>
            <pc:docMk/>
            <pc:sldMk cId="1307733305" sldId="1726"/>
            <ac:spMk id="42" creationId="{4025E3F6-FC87-D64A-8D31-EBA48BFCCD26}"/>
          </ac:spMkLst>
        </pc:spChg>
        <pc:spChg chg="mod">
          <ac:chgData name="Muterspaw, Kristin" userId="4a7de1cd-ac65-4615-96ad-56ea6574a9fb" providerId="ADAL" clId="{95158394-6663-F844-BABF-71CD1EFA191C}" dt="2021-04-02T12:02:24.572" v="281" actId="1076"/>
          <ac:spMkLst>
            <pc:docMk/>
            <pc:sldMk cId="1307733305" sldId="1726"/>
            <ac:spMk id="43" creationId="{AB89DE2C-954E-C54A-A829-04E6448EEF89}"/>
          </ac:spMkLst>
        </pc:spChg>
        <pc:grpChg chg="mod">
          <ac:chgData name="Muterspaw, Kristin" userId="4a7de1cd-ac65-4615-96ad-56ea6574a9fb" providerId="ADAL" clId="{95158394-6663-F844-BABF-71CD1EFA191C}" dt="2021-04-02T12:01:45.499" v="273" actId="1076"/>
          <ac:grpSpMkLst>
            <pc:docMk/>
            <pc:sldMk cId="1307733305" sldId="1726"/>
            <ac:grpSpMk id="26" creationId="{73EB0A19-1DA8-3B47-BAA6-7E1DFD11CEE1}"/>
          </ac:grpSpMkLst>
        </pc:grpChg>
        <pc:grpChg chg="mod">
          <ac:chgData name="Muterspaw, Kristin" userId="4a7de1cd-ac65-4615-96ad-56ea6574a9fb" providerId="ADAL" clId="{95158394-6663-F844-BABF-71CD1EFA191C}" dt="2021-04-02T12:02:24.572" v="281" actId="1076"/>
          <ac:grpSpMkLst>
            <pc:docMk/>
            <pc:sldMk cId="1307733305" sldId="1726"/>
            <ac:grpSpMk id="93" creationId="{E7507E48-1EC6-A74E-B5B3-D51BE79E95E3}"/>
          </ac:grpSpMkLst>
        </pc:grpChg>
        <pc:grpChg chg="mod">
          <ac:chgData name="Muterspaw, Kristin" userId="4a7de1cd-ac65-4615-96ad-56ea6574a9fb" providerId="ADAL" clId="{95158394-6663-F844-BABF-71CD1EFA191C}" dt="2021-04-02T12:02:02.582" v="276" actId="1076"/>
          <ac:grpSpMkLst>
            <pc:docMk/>
            <pc:sldMk cId="1307733305" sldId="1726"/>
            <ac:grpSpMk id="100" creationId="{8B75060A-E87F-3349-86A0-8FB90B41FBC4}"/>
          </ac:grpSpMkLst>
        </pc:grpChg>
        <pc:grpChg chg="mod">
          <ac:chgData name="Muterspaw, Kristin" userId="4a7de1cd-ac65-4615-96ad-56ea6574a9fb" providerId="ADAL" clId="{95158394-6663-F844-BABF-71CD1EFA191C}" dt="2021-04-02T12:01:36.929" v="272" actId="1076"/>
          <ac:grpSpMkLst>
            <pc:docMk/>
            <pc:sldMk cId="1307733305" sldId="1726"/>
            <ac:grpSpMk id="217" creationId="{0BD10D0E-3A96-F647-96AA-29093CAD9B9A}"/>
          </ac:grpSpMkLst>
        </pc:grpChg>
        <pc:cxnChg chg="mod">
          <ac:chgData name="Muterspaw, Kristin" userId="4a7de1cd-ac65-4615-96ad-56ea6574a9fb" providerId="ADAL" clId="{95158394-6663-F844-BABF-71CD1EFA191C}" dt="2021-04-02T12:02:06.535" v="277" actId="14100"/>
          <ac:cxnSpMkLst>
            <pc:docMk/>
            <pc:sldMk cId="1307733305" sldId="1726"/>
            <ac:cxnSpMk id="39" creationId="{F00F5ECB-AAE7-1849-87EF-D0E66D1EF98E}"/>
          </ac:cxnSpMkLst>
        </pc:cxnChg>
        <pc:cxnChg chg="mod">
          <ac:chgData name="Muterspaw, Kristin" userId="4a7de1cd-ac65-4615-96ad-56ea6574a9fb" providerId="ADAL" clId="{95158394-6663-F844-BABF-71CD1EFA191C}" dt="2021-04-02T12:03:02.171" v="290" actId="14100"/>
          <ac:cxnSpMkLst>
            <pc:docMk/>
            <pc:sldMk cId="1307733305" sldId="1726"/>
            <ac:cxnSpMk id="40" creationId="{EC6536AC-6994-D54A-A083-FDC11AEFBA6C}"/>
          </ac:cxnSpMkLst>
        </pc:cxnChg>
        <pc:cxnChg chg="mod">
          <ac:chgData name="Muterspaw, Kristin" userId="4a7de1cd-ac65-4615-96ad-56ea6574a9fb" providerId="ADAL" clId="{95158394-6663-F844-BABF-71CD1EFA191C}" dt="2021-04-02T12:03:09.486" v="292" actId="14100"/>
          <ac:cxnSpMkLst>
            <pc:docMk/>
            <pc:sldMk cId="1307733305" sldId="1726"/>
            <ac:cxnSpMk id="49" creationId="{E14F4660-17A3-E742-BB6A-13B7C45FBF98}"/>
          </ac:cxnSpMkLst>
        </pc:cxnChg>
        <pc:cxnChg chg="mod">
          <ac:chgData name="Muterspaw, Kristin" userId="4a7de1cd-ac65-4615-96ad-56ea6574a9fb" providerId="ADAL" clId="{95158394-6663-F844-BABF-71CD1EFA191C}" dt="2021-04-02T12:02:44.034" v="285" actId="14100"/>
          <ac:cxnSpMkLst>
            <pc:docMk/>
            <pc:sldMk cId="1307733305" sldId="1726"/>
            <ac:cxnSpMk id="58" creationId="{BAFCF1B3-B8AB-9742-A7F3-2C821440AD39}"/>
          </ac:cxnSpMkLst>
        </pc:cxnChg>
        <pc:cxnChg chg="mod">
          <ac:chgData name="Muterspaw, Kristin" userId="4a7de1cd-ac65-4615-96ad-56ea6574a9fb" providerId="ADAL" clId="{95158394-6663-F844-BABF-71CD1EFA191C}" dt="2021-04-02T12:02:33.268" v="282" actId="14100"/>
          <ac:cxnSpMkLst>
            <pc:docMk/>
            <pc:sldMk cId="1307733305" sldId="1726"/>
            <ac:cxnSpMk id="131" creationId="{D3E2A471-3B6C-3A42-B4B9-024EB09DB3DC}"/>
          </ac:cxnSpMkLst>
        </pc:cxnChg>
        <pc:cxnChg chg="mod">
          <ac:chgData name="Muterspaw, Kristin" userId="4a7de1cd-ac65-4615-96ad-56ea6574a9fb" providerId="ADAL" clId="{95158394-6663-F844-BABF-71CD1EFA191C}" dt="2021-04-02T12:02:46.455" v="286" actId="14100"/>
          <ac:cxnSpMkLst>
            <pc:docMk/>
            <pc:sldMk cId="1307733305" sldId="1726"/>
            <ac:cxnSpMk id="188" creationId="{7E777A89-9EE6-0E4A-8E2B-57D0F12227C5}"/>
          </ac:cxnSpMkLst>
        </pc:cxnChg>
        <pc:cxnChg chg="mod">
          <ac:chgData name="Muterspaw, Kristin" userId="4a7de1cd-ac65-4615-96ad-56ea6574a9fb" providerId="ADAL" clId="{95158394-6663-F844-BABF-71CD1EFA191C}" dt="2021-04-02T12:03:30.168" v="296" actId="14100"/>
          <ac:cxnSpMkLst>
            <pc:docMk/>
            <pc:sldMk cId="1307733305" sldId="1726"/>
            <ac:cxnSpMk id="243" creationId="{980390F2-0A3C-894F-B7C6-5C7DA81DAF81}"/>
          </ac:cxnSpMkLst>
        </pc:cxnChg>
        <pc:cxnChg chg="mod">
          <ac:chgData name="Muterspaw, Kristin" userId="4a7de1cd-ac65-4615-96ad-56ea6574a9fb" providerId="ADAL" clId="{95158394-6663-F844-BABF-71CD1EFA191C}" dt="2021-04-02T12:03:27.580" v="295" actId="14100"/>
          <ac:cxnSpMkLst>
            <pc:docMk/>
            <pc:sldMk cId="1307733305" sldId="1726"/>
            <ac:cxnSpMk id="245" creationId="{8294B859-91F1-1743-8497-ED0BA5FCC5B2}"/>
          </ac:cxnSpMkLst>
        </pc:cxnChg>
      </pc:sldChg>
      <pc:sldChg chg="addSp delSp modSp mod">
        <pc:chgData name="Muterspaw, Kristin" userId="4a7de1cd-ac65-4615-96ad-56ea6574a9fb" providerId="ADAL" clId="{95158394-6663-F844-BABF-71CD1EFA191C}" dt="2021-04-02T11:59:40.551" v="250" actId="14100"/>
        <pc:sldMkLst>
          <pc:docMk/>
          <pc:sldMk cId="1362641955" sldId="1727"/>
        </pc:sldMkLst>
        <pc:spChg chg="add del mod">
          <ac:chgData name="Muterspaw, Kristin" userId="4a7de1cd-ac65-4615-96ad-56ea6574a9fb" providerId="ADAL" clId="{95158394-6663-F844-BABF-71CD1EFA191C}" dt="2021-04-02T11:50:48.468" v="190" actId="767"/>
          <ac:spMkLst>
            <pc:docMk/>
            <pc:sldMk cId="1362641955" sldId="1727"/>
            <ac:spMk id="3" creationId="{436D67FB-3244-9D49-B7D4-4A3F80591429}"/>
          </ac:spMkLst>
        </pc:spChg>
        <pc:spChg chg="add del mod">
          <ac:chgData name="Muterspaw, Kristin" userId="4a7de1cd-ac65-4615-96ad-56ea6574a9fb" providerId="ADAL" clId="{95158394-6663-F844-BABF-71CD1EFA191C}" dt="2021-04-02T11:50:51.889" v="193" actId="478"/>
          <ac:spMkLst>
            <pc:docMk/>
            <pc:sldMk cId="1362641955" sldId="1727"/>
            <ac:spMk id="4" creationId="{26CB3D40-A83F-1443-8D7B-C9FB50177A0C}"/>
          </ac:spMkLst>
        </pc:spChg>
        <pc:spChg chg="mod">
          <ac:chgData name="Muterspaw, Kristin" userId="4a7de1cd-ac65-4615-96ad-56ea6574a9fb" providerId="ADAL" clId="{95158394-6663-F844-BABF-71CD1EFA191C}" dt="2021-04-02T11:53:09.710" v="216" actId="164"/>
          <ac:spMkLst>
            <pc:docMk/>
            <pc:sldMk cId="1362641955" sldId="1727"/>
            <ac:spMk id="12" creationId="{B24D2EA9-B4BA-C44C-BBD9-871E4F776C46}"/>
          </ac:spMkLst>
        </pc:spChg>
        <pc:spChg chg="mod">
          <ac:chgData name="Muterspaw, Kristin" userId="4a7de1cd-ac65-4615-96ad-56ea6574a9fb" providerId="ADAL" clId="{95158394-6663-F844-BABF-71CD1EFA191C}" dt="2021-04-02T11:53:40.902" v="222" actId="164"/>
          <ac:spMkLst>
            <pc:docMk/>
            <pc:sldMk cId="1362641955" sldId="1727"/>
            <ac:spMk id="13" creationId="{E0B97D4E-C4BE-1749-B3F7-68D38FFAE9A9}"/>
          </ac:spMkLst>
        </pc:spChg>
        <pc:spChg chg="mod">
          <ac:chgData name="Muterspaw, Kristin" userId="4a7de1cd-ac65-4615-96ad-56ea6574a9fb" providerId="ADAL" clId="{95158394-6663-F844-BABF-71CD1EFA191C}" dt="2021-04-02T11:52:59.487" v="214" actId="164"/>
          <ac:spMkLst>
            <pc:docMk/>
            <pc:sldMk cId="1362641955" sldId="1727"/>
            <ac:spMk id="14" creationId="{725AB122-3F17-634A-BAA9-8677BB6423F3}"/>
          </ac:spMkLst>
        </pc:spChg>
        <pc:spChg chg="mod">
          <ac:chgData name="Muterspaw, Kristin" userId="4a7de1cd-ac65-4615-96ad-56ea6574a9fb" providerId="ADAL" clId="{95158394-6663-F844-BABF-71CD1EFA191C}" dt="2021-04-02T11:51:35.445" v="201" actId="164"/>
          <ac:spMkLst>
            <pc:docMk/>
            <pc:sldMk cId="1362641955" sldId="1727"/>
            <ac:spMk id="33" creationId="{8A8F0D33-172D-684A-9AA3-EA6A2A9BF505}"/>
          </ac:spMkLst>
        </pc:spChg>
        <pc:spChg chg="mod">
          <ac:chgData name="Muterspaw, Kristin" userId="4a7de1cd-ac65-4615-96ad-56ea6574a9fb" providerId="ADAL" clId="{95158394-6663-F844-BABF-71CD1EFA191C}" dt="2021-04-02T11:51:35.445" v="201" actId="164"/>
          <ac:spMkLst>
            <pc:docMk/>
            <pc:sldMk cId="1362641955" sldId="1727"/>
            <ac:spMk id="34" creationId="{57CECC1F-C01C-FE4D-890B-A99007DA0EF8}"/>
          </ac:spMkLst>
        </pc:spChg>
        <pc:spChg chg="mod">
          <ac:chgData name="Muterspaw, Kristin" userId="4a7de1cd-ac65-4615-96ad-56ea6574a9fb" providerId="ADAL" clId="{95158394-6663-F844-BABF-71CD1EFA191C}" dt="2021-04-02T11:51:35.445" v="201" actId="164"/>
          <ac:spMkLst>
            <pc:docMk/>
            <pc:sldMk cId="1362641955" sldId="1727"/>
            <ac:spMk id="35" creationId="{DD1545BD-B463-884E-AD33-0A4F12715F56}"/>
          </ac:spMkLst>
        </pc:spChg>
        <pc:spChg chg="mod">
          <ac:chgData name="Muterspaw, Kristin" userId="4a7de1cd-ac65-4615-96ad-56ea6574a9fb" providerId="ADAL" clId="{95158394-6663-F844-BABF-71CD1EFA191C}" dt="2021-04-02T11:51:35.445" v="201" actId="164"/>
          <ac:spMkLst>
            <pc:docMk/>
            <pc:sldMk cId="1362641955" sldId="1727"/>
            <ac:spMk id="36" creationId="{665DC303-7A7D-194F-8FCA-9C007C7E096A}"/>
          </ac:spMkLst>
        </pc:spChg>
        <pc:spChg chg="mod">
          <ac:chgData name="Muterspaw, Kristin" userId="4a7de1cd-ac65-4615-96ad-56ea6574a9fb" providerId="ADAL" clId="{95158394-6663-F844-BABF-71CD1EFA191C}" dt="2021-04-02T11:51:35.445" v="201" actId="164"/>
          <ac:spMkLst>
            <pc:docMk/>
            <pc:sldMk cId="1362641955" sldId="1727"/>
            <ac:spMk id="37" creationId="{CB5911B9-75B0-9F43-82A2-59989A76BE81}"/>
          </ac:spMkLst>
        </pc:spChg>
        <pc:spChg chg="mod">
          <ac:chgData name="Muterspaw, Kristin" userId="4a7de1cd-ac65-4615-96ad-56ea6574a9fb" providerId="ADAL" clId="{95158394-6663-F844-BABF-71CD1EFA191C}" dt="2021-04-02T11:51:35.445" v="201" actId="164"/>
          <ac:spMkLst>
            <pc:docMk/>
            <pc:sldMk cId="1362641955" sldId="1727"/>
            <ac:spMk id="38" creationId="{8BA574E8-FCE3-4345-9E41-DD86BF7BEF4B}"/>
          </ac:spMkLst>
        </pc:spChg>
        <pc:spChg chg="mod">
          <ac:chgData name="Muterspaw, Kristin" userId="4a7de1cd-ac65-4615-96ad-56ea6574a9fb" providerId="ADAL" clId="{95158394-6663-F844-BABF-71CD1EFA191C}" dt="2021-04-02T11:51:35.445" v="201" actId="164"/>
          <ac:spMkLst>
            <pc:docMk/>
            <pc:sldMk cId="1362641955" sldId="1727"/>
            <ac:spMk id="39" creationId="{E038E8DA-F784-6448-83E3-A8D31FBC35C7}"/>
          </ac:spMkLst>
        </pc:spChg>
        <pc:spChg chg="mod">
          <ac:chgData name="Muterspaw, Kristin" userId="4a7de1cd-ac65-4615-96ad-56ea6574a9fb" providerId="ADAL" clId="{95158394-6663-F844-BABF-71CD1EFA191C}" dt="2021-04-02T11:51:35.445" v="201" actId="164"/>
          <ac:spMkLst>
            <pc:docMk/>
            <pc:sldMk cId="1362641955" sldId="1727"/>
            <ac:spMk id="40" creationId="{373265B8-B917-2643-9637-820C2EBBCCBB}"/>
          </ac:spMkLst>
        </pc:spChg>
        <pc:spChg chg="mod">
          <ac:chgData name="Muterspaw, Kristin" userId="4a7de1cd-ac65-4615-96ad-56ea6574a9fb" providerId="ADAL" clId="{95158394-6663-F844-BABF-71CD1EFA191C}" dt="2021-04-02T11:52:03.313" v="205" actId="1076"/>
          <ac:spMkLst>
            <pc:docMk/>
            <pc:sldMk cId="1362641955" sldId="1727"/>
            <ac:spMk id="133" creationId="{7252FD64-39C3-9847-B96D-0ED10346D230}"/>
          </ac:spMkLst>
        </pc:spChg>
        <pc:spChg chg="mod">
          <ac:chgData name="Muterspaw, Kristin" userId="4a7de1cd-ac65-4615-96ad-56ea6574a9fb" providerId="ADAL" clId="{95158394-6663-F844-BABF-71CD1EFA191C}" dt="2021-04-02T11:53:30.167" v="220" actId="164"/>
          <ac:spMkLst>
            <pc:docMk/>
            <pc:sldMk cId="1362641955" sldId="1727"/>
            <ac:spMk id="144" creationId="{ABF20AC8-D4DC-3849-A277-8A2AA891298F}"/>
          </ac:spMkLst>
        </pc:spChg>
        <pc:spChg chg="mod">
          <ac:chgData name="Muterspaw, Kristin" userId="4a7de1cd-ac65-4615-96ad-56ea6574a9fb" providerId="ADAL" clId="{95158394-6663-F844-BABF-71CD1EFA191C}" dt="2021-04-02T11:53:23.605" v="219" actId="164"/>
          <ac:spMkLst>
            <pc:docMk/>
            <pc:sldMk cId="1362641955" sldId="1727"/>
            <ac:spMk id="147" creationId="{B2DDD099-BAF0-1B45-BA8E-9634A33AA6CC}"/>
          </ac:spMkLst>
        </pc:spChg>
        <pc:spChg chg="mod">
          <ac:chgData name="Muterspaw, Kristin" userId="4a7de1cd-ac65-4615-96ad-56ea6574a9fb" providerId="ADAL" clId="{95158394-6663-F844-BABF-71CD1EFA191C}" dt="2021-04-02T11:53:23.605" v="219" actId="164"/>
          <ac:spMkLst>
            <pc:docMk/>
            <pc:sldMk cId="1362641955" sldId="1727"/>
            <ac:spMk id="148" creationId="{ECFEBA60-B57F-9D4D-8CC8-C9AFB3E5E597}"/>
          </ac:spMkLst>
        </pc:spChg>
        <pc:spChg chg="mod">
          <ac:chgData name="Muterspaw, Kristin" userId="4a7de1cd-ac65-4615-96ad-56ea6574a9fb" providerId="ADAL" clId="{95158394-6663-F844-BABF-71CD1EFA191C}" dt="2021-04-02T11:53:23.605" v="219" actId="164"/>
          <ac:spMkLst>
            <pc:docMk/>
            <pc:sldMk cId="1362641955" sldId="1727"/>
            <ac:spMk id="149" creationId="{8FCE8ECC-4C0D-E547-86CC-15881F7E62C0}"/>
          </ac:spMkLst>
        </pc:spChg>
        <pc:grpChg chg="add mod">
          <ac:chgData name="Muterspaw, Kristin" userId="4a7de1cd-ac65-4615-96ad-56ea6574a9fb" providerId="ADAL" clId="{95158394-6663-F844-BABF-71CD1EFA191C}" dt="2021-04-02T11:51:35.445" v="201" actId="164"/>
          <ac:grpSpMkLst>
            <pc:docMk/>
            <pc:sldMk cId="1362641955" sldId="1727"/>
            <ac:grpSpMk id="6" creationId="{8025BBCF-7C78-7049-9609-D80FC7EC4DBC}"/>
          </ac:grpSpMkLst>
        </pc:grpChg>
        <pc:grpChg chg="mod">
          <ac:chgData name="Muterspaw, Kristin" userId="4a7de1cd-ac65-4615-96ad-56ea6574a9fb" providerId="ADAL" clId="{95158394-6663-F844-BABF-71CD1EFA191C}" dt="2021-04-02T11:52:59.487" v="214" actId="164"/>
          <ac:grpSpMkLst>
            <pc:docMk/>
            <pc:sldMk cId="1362641955" sldId="1727"/>
            <ac:grpSpMk id="31" creationId="{2F3D906C-AFBB-7348-8A54-99EF0C992060}"/>
          </ac:grpSpMkLst>
        </pc:grpChg>
        <pc:grpChg chg="mod">
          <ac:chgData name="Muterspaw, Kristin" userId="4a7de1cd-ac65-4615-96ad-56ea6574a9fb" providerId="ADAL" clId="{95158394-6663-F844-BABF-71CD1EFA191C}" dt="2021-04-02T11:51:35.445" v="201" actId="164"/>
          <ac:grpSpMkLst>
            <pc:docMk/>
            <pc:sldMk cId="1362641955" sldId="1727"/>
            <ac:grpSpMk id="32" creationId="{4F9E8741-7DDA-AA4D-8C93-1D3864611A3A}"/>
          </ac:grpSpMkLst>
        </pc:grpChg>
        <pc:grpChg chg="mod">
          <ac:chgData name="Muterspaw, Kristin" userId="4a7de1cd-ac65-4615-96ad-56ea6574a9fb" providerId="ADAL" clId="{95158394-6663-F844-BABF-71CD1EFA191C}" dt="2021-04-02T11:53:40.902" v="222" actId="164"/>
          <ac:grpSpMkLst>
            <pc:docMk/>
            <pc:sldMk cId="1362641955" sldId="1727"/>
            <ac:grpSpMk id="41" creationId="{49B363FA-D8EB-C642-BC19-991114E26C3C}"/>
          </ac:grpSpMkLst>
        </pc:grpChg>
        <pc:grpChg chg="mod">
          <ac:chgData name="Muterspaw, Kristin" userId="4a7de1cd-ac65-4615-96ad-56ea6574a9fb" providerId="ADAL" clId="{95158394-6663-F844-BABF-71CD1EFA191C}" dt="2021-04-02T11:53:09.710" v="216" actId="164"/>
          <ac:grpSpMkLst>
            <pc:docMk/>
            <pc:sldMk cId="1362641955" sldId="1727"/>
            <ac:grpSpMk id="46" creationId="{D86A6EB1-1919-824E-8613-31E89820AF4B}"/>
          </ac:grpSpMkLst>
        </pc:grpChg>
        <pc:grpChg chg="mod">
          <ac:chgData name="Muterspaw, Kristin" userId="4a7de1cd-ac65-4615-96ad-56ea6574a9fb" providerId="ADAL" clId="{95158394-6663-F844-BABF-71CD1EFA191C}" dt="2021-04-02T11:58:49.309" v="238" actId="12788"/>
          <ac:grpSpMkLst>
            <pc:docMk/>
            <pc:sldMk cId="1362641955" sldId="1727"/>
            <ac:grpSpMk id="74" creationId="{553796CC-D4F5-144D-950B-9993DCCBF232}"/>
          </ac:grpSpMkLst>
        </pc:grpChg>
        <pc:grpChg chg="add mod">
          <ac:chgData name="Muterspaw, Kristin" userId="4a7de1cd-ac65-4615-96ad-56ea6574a9fb" providerId="ADAL" clId="{95158394-6663-F844-BABF-71CD1EFA191C}" dt="2021-04-02T11:53:47.025" v="223" actId="12788"/>
          <ac:grpSpMkLst>
            <pc:docMk/>
            <pc:sldMk cId="1362641955" sldId="1727"/>
            <ac:grpSpMk id="85" creationId="{D0210733-427E-1E4B-90F3-B23B21ADEA4D}"/>
          </ac:grpSpMkLst>
        </pc:grpChg>
        <pc:grpChg chg="add mod">
          <ac:chgData name="Muterspaw, Kristin" userId="4a7de1cd-ac65-4615-96ad-56ea6574a9fb" providerId="ADAL" clId="{95158394-6663-F844-BABF-71CD1EFA191C}" dt="2021-04-02T11:53:47.025" v="223" actId="12788"/>
          <ac:grpSpMkLst>
            <pc:docMk/>
            <pc:sldMk cId="1362641955" sldId="1727"/>
            <ac:grpSpMk id="86" creationId="{173FC5CB-159E-BA46-A4C9-E65E0A5320A0}"/>
          </ac:grpSpMkLst>
        </pc:grpChg>
        <pc:grpChg chg="add mod">
          <ac:chgData name="Muterspaw, Kristin" userId="4a7de1cd-ac65-4615-96ad-56ea6574a9fb" providerId="ADAL" clId="{95158394-6663-F844-BABF-71CD1EFA191C}" dt="2021-04-02T11:53:23.605" v="219" actId="164"/>
          <ac:grpSpMkLst>
            <pc:docMk/>
            <pc:sldMk cId="1362641955" sldId="1727"/>
            <ac:grpSpMk id="87" creationId="{44DF25FB-E263-374E-A50D-0980C784F6CA}"/>
          </ac:grpSpMkLst>
        </pc:grpChg>
        <pc:grpChg chg="add mod">
          <ac:chgData name="Muterspaw, Kristin" userId="4a7de1cd-ac65-4615-96ad-56ea6574a9fb" providerId="ADAL" clId="{95158394-6663-F844-BABF-71CD1EFA191C}" dt="2021-04-02T11:53:47.025" v="223" actId="12788"/>
          <ac:grpSpMkLst>
            <pc:docMk/>
            <pc:sldMk cId="1362641955" sldId="1727"/>
            <ac:grpSpMk id="88" creationId="{D21AAAF1-1AC0-B24C-8936-EBEBE03311D5}"/>
          </ac:grpSpMkLst>
        </pc:grpChg>
        <pc:grpChg chg="add mod">
          <ac:chgData name="Muterspaw, Kristin" userId="4a7de1cd-ac65-4615-96ad-56ea6574a9fb" providerId="ADAL" clId="{95158394-6663-F844-BABF-71CD1EFA191C}" dt="2021-04-02T11:53:47.025" v="223" actId="12788"/>
          <ac:grpSpMkLst>
            <pc:docMk/>
            <pc:sldMk cId="1362641955" sldId="1727"/>
            <ac:grpSpMk id="89" creationId="{0794266F-74DD-1F43-BE62-888229E70569}"/>
          </ac:grpSpMkLst>
        </pc:grpChg>
        <pc:grpChg chg="mod">
          <ac:chgData name="Muterspaw, Kristin" userId="4a7de1cd-ac65-4615-96ad-56ea6574a9fb" providerId="ADAL" clId="{95158394-6663-F844-BABF-71CD1EFA191C}" dt="2021-04-02T11:59:00.455" v="239" actId="12789"/>
          <ac:grpSpMkLst>
            <pc:docMk/>
            <pc:sldMk cId="1362641955" sldId="1727"/>
            <ac:grpSpMk id="95" creationId="{D17EBC14-703D-F749-835D-51ED6E31BEAA}"/>
          </ac:grpSpMkLst>
        </pc:grpChg>
        <pc:grpChg chg="mod">
          <ac:chgData name="Muterspaw, Kristin" userId="4a7de1cd-ac65-4615-96ad-56ea6574a9fb" providerId="ADAL" clId="{95158394-6663-F844-BABF-71CD1EFA191C}" dt="2021-04-02T11:51:44.988" v="202" actId="12789"/>
          <ac:grpSpMkLst>
            <pc:docMk/>
            <pc:sldMk cId="1362641955" sldId="1727"/>
            <ac:grpSpMk id="134" creationId="{AD4D2857-EAED-364B-9D80-27CA2EDC7838}"/>
          </ac:grpSpMkLst>
        </pc:grpChg>
        <pc:grpChg chg="mod">
          <ac:chgData name="Muterspaw, Kristin" userId="4a7de1cd-ac65-4615-96ad-56ea6574a9fb" providerId="ADAL" clId="{95158394-6663-F844-BABF-71CD1EFA191C}" dt="2021-04-02T11:53:30.167" v="220" actId="164"/>
          <ac:grpSpMkLst>
            <pc:docMk/>
            <pc:sldMk cId="1362641955" sldId="1727"/>
            <ac:grpSpMk id="145" creationId="{4529B496-F6E4-5A48-9016-804ED07AC3A2}"/>
          </ac:grpSpMkLst>
        </pc:grpChg>
        <pc:grpChg chg="mod">
          <ac:chgData name="Muterspaw, Kristin" userId="4a7de1cd-ac65-4615-96ad-56ea6574a9fb" providerId="ADAL" clId="{95158394-6663-F844-BABF-71CD1EFA191C}" dt="2021-04-02T11:53:23.605" v="219" actId="164"/>
          <ac:grpSpMkLst>
            <pc:docMk/>
            <pc:sldMk cId="1362641955" sldId="1727"/>
            <ac:grpSpMk id="146" creationId="{098DE2E9-0874-9049-A149-886D76A4A650}"/>
          </ac:grpSpMkLst>
        </pc:grpChg>
        <pc:grpChg chg="mod">
          <ac:chgData name="Muterspaw, Kristin" userId="4a7de1cd-ac65-4615-96ad-56ea6574a9fb" providerId="ADAL" clId="{95158394-6663-F844-BABF-71CD1EFA191C}" dt="2021-04-02T11:59:00.455" v="239" actId="12789"/>
          <ac:grpSpMkLst>
            <pc:docMk/>
            <pc:sldMk cId="1362641955" sldId="1727"/>
            <ac:grpSpMk id="164" creationId="{EBD0048B-8C56-A04A-A0DD-3B569BBFEEAD}"/>
          </ac:grpSpMkLst>
        </pc:grpChg>
        <pc:grpChg chg="mod">
          <ac:chgData name="Muterspaw, Kristin" userId="4a7de1cd-ac65-4615-96ad-56ea6574a9fb" providerId="ADAL" clId="{95158394-6663-F844-BABF-71CD1EFA191C}" dt="2021-04-02T11:59:00.455" v="239" actId="12789"/>
          <ac:grpSpMkLst>
            <pc:docMk/>
            <pc:sldMk cId="1362641955" sldId="1727"/>
            <ac:grpSpMk id="169" creationId="{F35F79A1-9FCC-114B-95E5-B5B175BEECB7}"/>
          </ac:grpSpMkLst>
        </pc:grpChg>
        <pc:cxnChg chg="mod">
          <ac:chgData name="Muterspaw, Kristin" userId="4a7de1cd-ac65-4615-96ad-56ea6574a9fb" providerId="ADAL" clId="{95158394-6663-F844-BABF-71CD1EFA191C}" dt="2021-04-02T11:52:42.465" v="212" actId="14100"/>
          <ac:cxnSpMkLst>
            <pc:docMk/>
            <pc:sldMk cId="1362641955" sldId="1727"/>
            <ac:cxnSpMk id="9" creationId="{2FFBA4E3-AE8C-5342-B216-F42005224839}"/>
          </ac:cxnSpMkLst>
        </pc:cxnChg>
        <pc:cxnChg chg="mod">
          <ac:chgData name="Muterspaw, Kristin" userId="4a7de1cd-ac65-4615-96ad-56ea6574a9fb" providerId="ADAL" clId="{95158394-6663-F844-BABF-71CD1EFA191C}" dt="2021-04-02T11:52:38.418" v="211" actId="14100"/>
          <ac:cxnSpMkLst>
            <pc:docMk/>
            <pc:sldMk cId="1362641955" sldId="1727"/>
            <ac:cxnSpMk id="10" creationId="{2CD82536-A722-E842-85D8-9256B9AD823B}"/>
          </ac:cxnSpMkLst>
        </pc:cxnChg>
        <pc:cxnChg chg="mod">
          <ac:chgData name="Muterspaw, Kristin" userId="4a7de1cd-ac65-4615-96ad-56ea6574a9fb" providerId="ADAL" clId="{95158394-6663-F844-BABF-71CD1EFA191C}" dt="2021-04-02T11:51:17.321" v="198" actId="14100"/>
          <ac:cxnSpMkLst>
            <pc:docMk/>
            <pc:sldMk cId="1362641955" sldId="1727"/>
            <ac:cxnSpMk id="19" creationId="{8A4FCCDE-CB6D-E94F-A9EB-69B5CAE7AD90}"/>
          </ac:cxnSpMkLst>
        </pc:cxnChg>
        <pc:cxnChg chg="mod">
          <ac:chgData name="Muterspaw, Kristin" userId="4a7de1cd-ac65-4615-96ad-56ea6574a9fb" providerId="ADAL" clId="{95158394-6663-F844-BABF-71CD1EFA191C}" dt="2021-04-02T11:59:05.890" v="240" actId="14100"/>
          <ac:cxnSpMkLst>
            <pc:docMk/>
            <pc:sldMk cId="1362641955" sldId="1727"/>
            <ac:cxnSpMk id="23" creationId="{53147BF0-5701-B845-9BEC-3E8C7D6B2F98}"/>
          </ac:cxnSpMkLst>
        </pc:cxnChg>
        <pc:cxnChg chg="mod">
          <ac:chgData name="Muterspaw, Kristin" userId="4a7de1cd-ac65-4615-96ad-56ea6574a9fb" providerId="ADAL" clId="{95158394-6663-F844-BABF-71CD1EFA191C}" dt="2021-04-02T11:53:23.605" v="219" actId="164"/>
          <ac:cxnSpMkLst>
            <pc:docMk/>
            <pc:sldMk cId="1362641955" sldId="1727"/>
            <ac:cxnSpMk id="128" creationId="{22E85E68-9BDB-E548-BA7C-01D66F019B29}"/>
          </ac:cxnSpMkLst>
        </pc:cxnChg>
        <pc:cxnChg chg="mod">
          <ac:chgData name="Muterspaw, Kristin" userId="4a7de1cd-ac65-4615-96ad-56ea6574a9fb" providerId="ADAL" clId="{95158394-6663-F844-BABF-71CD1EFA191C}" dt="2021-04-02T11:58:29.806" v="235" actId="14100"/>
          <ac:cxnSpMkLst>
            <pc:docMk/>
            <pc:sldMk cId="1362641955" sldId="1727"/>
            <ac:cxnSpMk id="157" creationId="{0029DF17-CE61-5048-A433-02C68BD693BD}"/>
          </ac:cxnSpMkLst>
        </pc:cxnChg>
        <pc:cxnChg chg="mod">
          <ac:chgData name="Muterspaw, Kristin" userId="4a7de1cd-ac65-4615-96ad-56ea6574a9fb" providerId="ADAL" clId="{95158394-6663-F844-BABF-71CD1EFA191C}" dt="2021-04-02T11:59:40.551" v="250" actId="14100"/>
          <ac:cxnSpMkLst>
            <pc:docMk/>
            <pc:sldMk cId="1362641955" sldId="1727"/>
            <ac:cxnSpMk id="200" creationId="{F7AF3958-0BDF-E54D-80DE-861FD73B7711}"/>
          </ac:cxnSpMkLst>
        </pc:cxnChg>
        <pc:cxnChg chg="mod">
          <ac:chgData name="Muterspaw, Kristin" userId="4a7de1cd-ac65-4615-96ad-56ea6574a9fb" providerId="ADAL" clId="{95158394-6663-F844-BABF-71CD1EFA191C}" dt="2021-04-02T11:58:38.948" v="236" actId="33986"/>
          <ac:cxnSpMkLst>
            <pc:docMk/>
            <pc:sldMk cId="1362641955" sldId="1727"/>
            <ac:cxnSpMk id="204" creationId="{3B928737-DDD7-D441-947C-83B4202A10D6}"/>
          </ac:cxnSpMkLst>
        </pc:cxnChg>
      </pc:sldChg>
      <pc:sldChg chg="modSp mod">
        <pc:chgData name="Muterspaw, Kristin" userId="4a7de1cd-ac65-4615-96ad-56ea6574a9fb" providerId="ADAL" clId="{95158394-6663-F844-BABF-71CD1EFA191C}" dt="2021-04-01T19:23:06.782" v="117" actId="20577"/>
        <pc:sldMkLst>
          <pc:docMk/>
          <pc:sldMk cId="3709941382" sldId="1729"/>
        </pc:sldMkLst>
        <pc:spChg chg="mod">
          <ac:chgData name="Muterspaw, Kristin" userId="4a7de1cd-ac65-4615-96ad-56ea6574a9fb" providerId="ADAL" clId="{95158394-6663-F844-BABF-71CD1EFA191C}" dt="2021-04-01T19:23:06.782" v="117" actId="20577"/>
          <ac:spMkLst>
            <pc:docMk/>
            <pc:sldMk cId="3709941382" sldId="1729"/>
            <ac:spMk id="3" creationId="{3F1BAA32-0BA2-5E4B-ACA1-4B56F6F61121}"/>
          </ac:spMkLst>
        </pc:spChg>
      </pc:sldChg>
    </pc:docChg>
  </pc:docChgLst>
  <pc:docChgLst>
    <pc:chgData name="Lamb, Ben" userId="88a6f5f3-f9e5-47eb-a109-670a0c68440d" providerId="ADAL" clId="{C1A9CD1E-484C-8543-958C-513D2519A024}"/>
    <pc:docChg chg="undo custSel addSld modSld">
      <pc:chgData name="Lamb, Ben" userId="88a6f5f3-f9e5-47eb-a109-670a0c68440d" providerId="ADAL" clId="{C1A9CD1E-484C-8543-958C-513D2519A024}" dt="2021-07-20T16:24:34.879" v="423" actId="14100"/>
      <pc:docMkLst>
        <pc:docMk/>
      </pc:docMkLst>
      <pc:sldChg chg="modSp mod">
        <pc:chgData name="Lamb, Ben" userId="88a6f5f3-f9e5-47eb-a109-670a0c68440d" providerId="ADAL" clId="{C1A9CD1E-484C-8543-958C-513D2519A024}" dt="2021-07-20T15:41:42.181" v="10" actId="20577"/>
        <pc:sldMkLst>
          <pc:docMk/>
          <pc:sldMk cId="1553481733" sldId="1715"/>
        </pc:sldMkLst>
        <pc:spChg chg="mod">
          <ac:chgData name="Lamb, Ben" userId="88a6f5f3-f9e5-47eb-a109-670a0c68440d" providerId="ADAL" clId="{C1A9CD1E-484C-8543-958C-513D2519A024}" dt="2021-07-20T15:31:26.292" v="9" actId="20577"/>
          <ac:spMkLst>
            <pc:docMk/>
            <pc:sldMk cId="1553481733" sldId="1715"/>
            <ac:spMk id="14" creationId="{D9574139-CC82-2D45-8309-DFE356415800}"/>
          </ac:spMkLst>
        </pc:spChg>
        <pc:spChg chg="mod">
          <ac:chgData name="Lamb, Ben" userId="88a6f5f3-f9e5-47eb-a109-670a0c68440d" providerId="ADAL" clId="{C1A9CD1E-484C-8543-958C-513D2519A024}" dt="2021-07-20T15:41:42.181" v="10" actId="20577"/>
          <ac:spMkLst>
            <pc:docMk/>
            <pc:sldMk cId="1553481733" sldId="1715"/>
            <ac:spMk id="48" creationId="{0CDBCF5C-8275-A441-AB68-45A14058D188}"/>
          </ac:spMkLst>
        </pc:spChg>
      </pc:sldChg>
      <pc:sldChg chg="modSp mod">
        <pc:chgData name="Lamb, Ben" userId="88a6f5f3-f9e5-47eb-a109-670a0c68440d" providerId="ADAL" clId="{C1A9CD1E-484C-8543-958C-513D2519A024}" dt="2021-07-20T16:14:30.377" v="335" actId="14100"/>
        <pc:sldMkLst>
          <pc:docMk/>
          <pc:sldMk cId="1362641955" sldId="1727"/>
        </pc:sldMkLst>
        <pc:cxnChg chg="mod">
          <ac:chgData name="Lamb, Ben" userId="88a6f5f3-f9e5-47eb-a109-670a0c68440d" providerId="ADAL" clId="{C1A9CD1E-484C-8543-958C-513D2519A024}" dt="2021-07-20T16:14:30.377" v="335" actId="14100"/>
          <ac:cxnSpMkLst>
            <pc:docMk/>
            <pc:sldMk cId="1362641955" sldId="1727"/>
            <ac:cxnSpMk id="9" creationId="{2FFBA4E3-AE8C-5342-B216-F42005224839}"/>
          </ac:cxnSpMkLst>
        </pc:cxnChg>
      </pc:sldChg>
      <pc:sldChg chg="modSp mod">
        <pc:chgData name="Lamb, Ben" userId="88a6f5f3-f9e5-47eb-a109-670a0c68440d" providerId="ADAL" clId="{C1A9CD1E-484C-8543-958C-513D2519A024}" dt="2021-06-23T16:55:13.633" v="1" actId="1076"/>
        <pc:sldMkLst>
          <pc:docMk/>
          <pc:sldMk cId="2854242103" sldId="5542"/>
        </pc:sldMkLst>
        <pc:picChg chg="mod">
          <ac:chgData name="Lamb, Ben" userId="88a6f5f3-f9e5-47eb-a109-670a0c68440d" providerId="ADAL" clId="{C1A9CD1E-484C-8543-958C-513D2519A024}" dt="2021-06-23T16:55:13.633" v="1" actId="1076"/>
          <ac:picMkLst>
            <pc:docMk/>
            <pc:sldMk cId="2854242103" sldId="5542"/>
            <ac:picMk id="12" creationId="{2A3621AC-5FB1-4318-AD27-76DF9B576106}"/>
          </ac:picMkLst>
        </pc:picChg>
      </pc:sldChg>
      <pc:sldChg chg="addSp modSp add mod">
        <pc:chgData name="Lamb, Ben" userId="88a6f5f3-f9e5-47eb-a109-670a0c68440d" providerId="ADAL" clId="{C1A9CD1E-484C-8543-958C-513D2519A024}" dt="2021-07-20T15:53:23.487" v="97" actId="1076"/>
        <pc:sldMkLst>
          <pc:docMk/>
          <pc:sldMk cId="2240699833" sldId="5547"/>
        </pc:sldMkLst>
        <pc:spChg chg="mod">
          <ac:chgData name="Lamb, Ben" userId="88a6f5f3-f9e5-47eb-a109-670a0c68440d" providerId="ADAL" clId="{C1A9CD1E-484C-8543-958C-513D2519A024}" dt="2021-07-20T15:51:04.062" v="15" actId="14100"/>
          <ac:spMkLst>
            <pc:docMk/>
            <pc:sldMk cId="2240699833" sldId="5547"/>
            <ac:spMk id="2" creationId="{6803BF32-346D-D848-BCA0-2E76713755FF}"/>
          </ac:spMkLst>
        </pc:spChg>
        <pc:spChg chg="add mod">
          <ac:chgData name="Lamb, Ben" userId="88a6f5f3-f9e5-47eb-a109-670a0c68440d" providerId="ADAL" clId="{C1A9CD1E-484C-8543-958C-513D2519A024}" dt="2021-07-20T15:51:57.098" v="37" actId="1076"/>
          <ac:spMkLst>
            <pc:docMk/>
            <pc:sldMk cId="2240699833" sldId="5547"/>
            <ac:spMk id="49" creationId="{F8AB5E2A-D519-AB4A-AEB8-0EDB32D738EB}"/>
          </ac:spMkLst>
        </pc:spChg>
        <pc:spChg chg="add mod">
          <ac:chgData name="Lamb, Ben" userId="88a6f5f3-f9e5-47eb-a109-670a0c68440d" providerId="ADAL" clId="{C1A9CD1E-484C-8543-958C-513D2519A024}" dt="2021-07-20T15:51:57.098" v="37" actId="1076"/>
          <ac:spMkLst>
            <pc:docMk/>
            <pc:sldMk cId="2240699833" sldId="5547"/>
            <ac:spMk id="51" creationId="{F61E58ED-0972-CE47-8795-854FB5A2A880}"/>
          </ac:spMkLst>
        </pc:spChg>
        <pc:spChg chg="add mod">
          <ac:chgData name="Lamb, Ben" userId="88a6f5f3-f9e5-47eb-a109-670a0c68440d" providerId="ADAL" clId="{C1A9CD1E-484C-8543-958C-513D2519A024}" dt="2021-07-20T15:52:02.677" v="44" actId="207"/>
          <ac:spMkLst>
            <pc:docMk/>
            <pc:sldMk cId="2240699833" sldId="5547"/>
            <ac:spMk id="52" creationId="{97CE9080-D9F2-C240-852D-523ACBD7DD1A}"/>
          </ac:spMkLst>
        </pc:spChg>
        <pc:spChg chg="add mod">
          <ac:chgData name="Lamb, Ben" userId="88a6f5f3-f9e5-47eb-a109-670a0c68440d" providerId="ADAL" clId="{C1A9CD1E-484C-8543-958C-513D2519A024}" dt="2021-07-20T15:52:23.234" v="54" actId="20577"/>
          <ac:spMkLst>
            <pc:docMk/>
            <pc:sldMk cId="2240699833" sldId="5547"/>
            <ac:spMk id="54" creationId="{7F8761F4-C364-EC4B-BD93-2391200BFA15}"/>
          </ac:spMkLst>
        </pc:spChg>
        <pc:spChg chg="add mod">
          <ac:chgData name="Lamb, Ben" userId="88a6f5f3-f9e5-47eb-a109-670a0c68440d" providerId="ADAL" clId="{C1A9CD1E-484C-8543-958C-513D2519A024}" dt="2021-07-20T15:52:44.803" v="80" actId="20577"/>
          <ac:spMkLst>
            <pc:docMk/>
            <pc:sldMk cId="2240699833" sldId="5547"/>
            <ac:spMk id="56" creationId="{5E5655DF-E432-E041-A745-F26B4C9971C8}"/>
          </ac:spMkLst>
        </pc:spChg>
        <pc:spChg chg="add mod">
          <ac:chgData name="Lamb, Ben" userId="88a6f5f3-f9e5-47eb-a109-670a0c68440d" providerId="ADAL" clId="{C1A9CD1E-484C-8543-958C-513D2519A024}" dt="2021-07-20T15:53:23.487" v="97" actId="1076"/>
          <ac:spMkLst>
            <pc:docMk/>
            <pc:sldMk cId="2240699833" sldId="5547"/>
            <ac:spMk id="57" creationId="{079931E4-C9EE-E54D-9A80-1206C2A45AAF}"/>
          </ac:spMkLst>
        </pc:spChg>
        <pc:picChg chg="add mod">
          <ac:chgData name="Lamb, Ben" userId="88a6f5f3-f9e5-47eb-a109-670a0c68440d" providerId="ADAL" clId="{C1A9CD1E-484C-8543-958C-513D2519A024}" dt="2021-07-20T15:51:57.098" v="37" actId="1076"/>
          <ac:picMkLst>
            <pc:docMk/>
            <pc:sldMk cId="2240699833" sldId="5547"/>
            <ac:picMk id="50" creationId="{720988B3-2E56-6B4E-A450-C5F92276A403}"/>
          </ac:picMkLst>
        </pc:picChg>
        <pc:picChg chg="add mod">
          <ac:chgData name="Lamb, Ben" userId="88a6f5f3-f9e5-47eb-a109-670a0c68440d" providerId="ADAL" clId="{C1A9CD1E-484C-8543-958C-513D2519A024}" dt="2021-07-20T15:52:13.703" v="46" actId="1076"/>
          <ac:picMkLst>
            <pc:docMk/>
            <pc:sldMk cId="2240699833" sldId="5547"/>
            <ac:picMk id="55" creationId="{0B9BE3D6-506C-7548-9AED-43C0F67DE306}"/>
          </ac:picMkLst>
        </pc:picChg>
      </pc:sldChg>
      <pc:sldChg chg="addSp delSp modSp add mod">
        <pc:chgData name="Lamb, Ben" userId="88a6f5f3-f9e5-47eb-a109-670a0c68440d" providerId="ADAL" clId="{C1A9CD1E-484C-8543-958C-513D2519A024}" dt="2021-07-20T16:15:22.371" v="344" actId="20577"/>
        <pc:sldMkLst>
          <pc:docMk/>
          <pc:sldMk cId="2523633047" sldId="5548"/>
        </pc:sldMkLst>
        <pc:spChg chg="mod">
          <ac:chgData name="Lamb, Ben" userId="88a6f5f3-f9e5-47eb-a109-670a0c68440d" providerId="ADAL" clId="{C1A9CD1E-484C-8543-958C-513D2519A024}" dt="2021-07-20T16:15:22.371" v="344" actId="20577"/>
          <ac:spMkLst>
            <pc:docMk/>
            <pc:sldMk cId="2523633047" sldId="5548"/>
            <ac:spMk id="2" creationId="{E4576F96-D6BB-DD40-AD3C-8C50B0DFF80B}"/>
          </ac:spMkLst>
        </pc:spChg>
        <pc:spChg chg="add mod">
          <ac:chgData name="Lamb, Ben" userId="88a6f5f3-f9e5-47eb-a109-670a0c68440d" providerId="ADAL" clId="{C1A9CD1E-484C-8543-958C-513D2519A024}" dt="2021-07-20T16:06:58.136" v="286" actId="1582"/>
          <ac:spMkLst>
            <pc:docMk/>
            <pc:sldMk cId="2523633047" sldId="5548"/>
            <ac:spMk id="10" creationId="{BF644C12-42B7-0045-9345-AADF56401F20}"/>
          </ac:spMkLst>
        </pc:spChg>
        <pc:spChg chg="del mod">
          <ac:chgData name="Lamb, Ben" userId="88a6f5f3-f9e5-47eb-a109-670a0c68440d" providerId="ADAL" clId="{C1A9CD1E-484C-8543-958C-513D2519A024}" dt="2021-07-20T16:05:39.320" v="281" actId="478"/>
          <ac:spMkLst>
            <pc:docMk/>
            <pc:sldMk cId="2523633047" sldId="5548"/>
            <ac:spMk id="26" creationId="{93975108-787E-DC47-A436-53E74110C775}"/>
          </ac:spMkLst>
        </pc:spChg>
        <pc:spChg chg="mod">
          <ac:chgData name="Lamb, Ben" userId="88a6f5f3-f9e5-47eb-a109-670a0c68440d" providerId="ADAL" clId="{C1A9CD1E-484C-8543-958C-513D2519A024}" dt="2021-07-20T15:56:49.584" v="129" actId="5793"/>
          <ac:spMkLst>
            <pc:docMk/>
            <pc:sldMk cId="2523633047" sldId="5548"/>
            <ac:spMk id="27" creationId="{E49F03CE-6668-424E-9DE7-E6EC9AD65113}"/>
          </ac:spMkLst>
        </pc:spChg>
        <pc:spChg chg="mod">
          <ac:chgData name="Lamb, Ben" userId="88a6f5f3-f9e5-47eb-a109-670a0c68440d" providerId="ADAL" clId="{C1A9CD1E-484C-8543-958C-513D2519A024}" dt="2021-07-20T16:05:36.104" v="280" actId="1076"/>
          <ac:spMkLst>
            <pc:docMk/>
            <pc:sldMk cId="2523633047" sldId="5548"/>
            <ac:spMk id="32" creationId="{7C6E2905-E8DA-B34B-8CBD-B671DDCA5FAD}"/>
          </ac:spMkLst>
        </pc:spChg>
        <pc:spChg chg="mod">
          <ac:chgData name="Lamb, Ben" userId="88a6f5f3-f9e5-47eb-a109-670a0c68440d" providerId="ADAL" clId="{C1A9CD1E-484C-8543-958C-513D2519A024}" dt="2021-07-20T16:01:17.212" v="171" actId="20578"/>
          <ac:spMkLst>
            <pc:docMk/>
            <pc:sldMk cId="2523633047" sldId="5548"/>
            <ac:spMk id="34" creationId="{FBC804E9-8A3A-7F4E-B5A9-5332205D75C2}"/>
          </ac:spMkLst>
        </pc:spChg>
        <pc:spChg chg="mod">
          <ac:chgData name="Lamb, Ben" userId="88a6f5f3-f9e5-47eb-a109-670a0c68440d" providerId="ADAL" clId="{C1A9CD1E-484C-8543-958C-513D2519A024}" dt="2021-07-20T16:01:49.425" v="191" actId="20577"/>
          <ac:spMkLst>
            <pc:docMk/>
            <pc:sldMk cId="2523633047" sldId="5548"/>
            <ac:spMk id="35" creationId="{18F1E03E-8F87-0942-A540-F5199939F3BB}"/>
          </ac:spMkLst>
        </pc:spChg>
        <pc:spChg chg="del mod">
          <ac:chgData name="Lamb, Ben" userId="88a6f5f3-f9e5-47eb-a109-670a0c68440d" providerId="ADAL" clId="{C1A9CD1E-484C-8543-958C-513D2519A024}" dt="2021-07-20T16:05:39.320" v="281" actId="478"/>
          <ac:spMkLst>
            <pc:docMk/>
            <pc:sldMk cId="2523633047" sldId="5548"/>
            <ac:spMk id="36" creationId="{BA1568D4-8A30-B142-B13B-D1EC69C36E1C}"/>
          </ac:spMkLst>
        </pc:spChg>
        <pc:spChg chg="mod">
          <ac:chgData name="Lamb, Ben" userId="88a6f5f3-f9e5-47eb-a109-670a0c68440d" providerId="ADAL" clId="{C1A9CD1E-484C-8543-958C-513D2519A024}" dt="2021-07-20T16:10:36.807" v="328"/>
          <ac:spMkLst>
            <pc:docMk/>
            <pc:sldMk cId="2523633047" sldId="5548"/>
            <ac:spMk id="39" creationId="{B5BB4F0D-D387-3340-BDD7-443EAA32B857}"/>
          </ac:spMkLst>
        </pc:spChg>
        <pc:spChg chg="mod">
          <ac:chgData name="Lamb, Ben" userId="88a6f5f3-f9e5-47eb-a109-670a0c68440d" providerId="ADAL" clId="{C1A9CD1E-484C-8543-958C-513D2519A024}" dt="2021-07-20T16:10:29.281" v="327" actId="14100"/>
          <ac:spMkLst>
            <pc:docMk/>
            <pc:sldMk cId="2523633047" sldId="5548"/>
            <ac:spMk id="42" creationId="{E8FB0E9D-0207-FE44-921D-3A04E3ACE183}"/>
          </ac:spMkLst>
        </pc:spChg>
        <pc:spChg chg="del mod">
          <ac:chgData name="Lamb, Ben" userId="88a6f5f3-f9e5-47eb-a109-670a0c68440d" providerId="ADAL" clId="{C1A9CD1E-484C-8543-958C-513D2519A024}" dt="2021-07-20T16:05:39.320" v="281" actId="478"/>
          <ac:spMkLst>
            <pc:docMk/>
            <pc:sldMk cId="2523633047" sldId="5548"/>
            <ac:spMk id="43" creationId="{1B7DB2FC-A67C-5443-992C-979AF20593A8}"/>
          </ac:spMkLst>
        </pc:spChg>
        <pc:spChg chg="add mod">
          <ac:chgData name="Lamb, Ben" userId="88a6f5f3-f9e5-47eb-a109-670a0c68440d" providerId="ADAL" clId="{C1A9CD1E-484C-8543-958C-513D2519A024}" dt="2021-07-20T16:07:18.298" v="293" actId="14100"/>
          <ac:spMkLst>
            <pc:docMk/>
            <pc:sldMk cId="2523633047" sldId="5548"/>
            <ac:spMk id="119" creationId="{3E976D16-CF3F-4F42-8C28-854F0E1BF427}"/>
          </ac:spMkLst>
        </pc:spChg>
        <pc:spChg chg="del mod">
          <ac:chgData name="Lamb, Ben" userId="88a6f5f3-f9e5-47eb-a109-670a0c68440d" providerId="ADAL" clId="{C1A9CD1E-484C-8543-958C-513D2519A024}" dt="2021-07-20T16:05:39.320" v="281" actId="478"/>
          <ac:spMkLst>
            <pc:docMk/>
            <pc:sldMk cId="2523633047" sldId="5548"/>
            <ac:spMk id="149" creationId="{F1E33AC7-7008-9F44-A3F2-CBBDA6453551}"/>
          </ac:spMkLst>
        </pc:spChg>
        <pc:spChg chg="mod topLvl">
          <ac:chgData name="Lamb, Ben" userId="88a6f5f3-f9e5-47eb-a109-670a0c68440d" providerId="ADAL" clId="{C1A9CD1E-484C-8543-958C-513D2519A024}" dt="2021-07-20T16:07:49.876" v="304" actId="207"/>
          <ac:spMkLst>
            <pc:docMk/>
            <pc:sldMk cId="2523633047" sldId="5548"/>
            <ac:spMk id="157" creationId="{4AF849C0-4D67-0D40-8F9A-046F645AD847}"/>
          </ac:spMkLst>
        </pc:spChg>
        <pc:spChg chg="del mod topLvl">
          <ac:chgData name="Lamb, Ben" userId="88a6f5f3-f9e5-47eb-a109-670a0c68440d" providerId="ADAL" clId="{C1A9CD1E-484C-8543-958C-513D2519A024}" dt="2021-07-20T16:07:40.375" v="302" actId="478"/>
          <ac:spMkLst>
            <pc:docMk/>
            <pc:sldMk cId="2523633047" sldId="5548"/>
            <ac:spMk id="158" creationId="{45538BC3-E0A7-544D-AD90-1700A29610F7}"/>
          </ac:spMkLst>
        </pc:spChg>
        <pc:spChg chg="add mod">
          <ac:chgData name="Lamb, Ben" userId="88a6f5f3-f9e5-47eb-a109-670a0c68440d" providerId="ADAL" clId="{C1A9CD1E-484C-8543-958C-513D2519A024}" dt="2021-07-20T16:10:57.298" v="334" actId="1076"/>
          <ac:spMkLst>
            <pc:docMk/>
            <pc:sldMk cId="2523633047" sldId="5548"/>
            <ac:spMk id="159" creationId="{73A2C1FB-29AB-334D-AF26-90E302245B20}"/>
          </ac:spMkLst>
        </pc:spChg>
        <pc:spChg chg="add mod">
          <ac:chgData name="Lamb, Ben" userId="88a6f5f3-f9e5-47eb-a109-670a0c68440d" providerId="ADAL" clId="{C1A9CD1E-484C-8543-958C-513D2519A024}" dt="2021-07-20T16:08:37.332" v="319" actId="207"/>
          <ac:spMkLst>
            <pc:docMk/>
            <pc:sldMk cId="2523633047" sldId="5548"/>
            <ac:spMk id="160" creationId="{F4C50FA6-CAEF-6A45-A73D-6A52596D0E72}"/>
          </ac:spMkLst>
        </pc:spChg>
        <pc:grpChg chg="del mod">
          <ac:chgData name="Lamb, Ben" userId="88a6f5f3-f9e5-47eb-a109-670a0c68440d" providerId="ADAL" clId="{C1A9CD1E-484C-8543-958C-513D2519A024}" dt="2021-07-20T16:05:28.002" v="277" actId="478"/>
          <ac:grpSpMkLst>
            <pc:docMk/>
            <pc:sldMk cId="2523633047" sldId="5548"/>
            <ac:grpSpMk id="61" creationId="{F1C39678-EFA0-214F-A9C6-7D4787298A91}"/>
          </ac:grpSpMkLst>
        </pc:grpChg>
        <pc:grpChg chg="mod">
          <ac:chgData name="Lamb, Ben" userId="88a6f5f3-f9e5-47eb-a109-670a0c68440d" providerId="ADAL" clId="{C1A9CD1E-484C-8543-958C-513D2519A024}" dt="2021-07-20T16:05:25.681" v="276" actId="1076"/>
          <ac:grpSpMkLst>
            <pc:docMk/>
            <pc:sldMk cId="2523633047" sldId="5548"/>
            <ac:grpSpMk id="64" creationId="{387D7E53-35FE-434B-B7E5-7C36F414E999}"/>
          </ac:grpSpMkLst>
        </pc:grpChg>
        <pc:grpChg chg="del mod">
          <ac:chgData name="Lamb, Ben" userId="88a6f5f3-f9e5-47eb-a109-670a0c68440d" providerId="ADAL" clId="{C1A9CD1E-484C-8543-958C-513D2519A024}" dt="2021-07-20T16:05:39.320" v="281" actId="478"/>
          <ac:grpSpMkLst>
            <pc:docMk/>
            <pc:sldMk cId="2523633047" sldId="5548"/>
            <ac:grpSpMk id="117" creationId="{F53857B4-CCD6-CE46-84BF-05B52B348D44}"/>
          </ac:grpSpMkLst>
        </pc:grpChg>
        <pc:grpChg chg="del mod">
          <ac:chgData name="Lamb, Ben" userId="88a6f5f3-f9e5-47eb-a109-670a0c68440d" providerId="ADAL" clId="{C1A9CD1E-484C-8543-958C-513D2519A024}" dt="2021-07-20T16:05:39.320" v="281" actId="478"/>
          <ac:grpSpMkLst>
            <pc:docMk/>
            <pc:sldMk cId="2523633047" sldId="5548"/>
            <ac:grpSpMk id="124" creationId="{47EF67BB-1D55-4D45-B281-5302F400BAED}"/>
          </ac:grpSpMkLst>
        </pc:grpChg>
        <pc:grpChg chg="del mod">
          <ac:chgData name="Lamb, Ben" userId="88a6f5f3-f9e5-47eb-a109-670a0c68440d" providerId="ADAL" clId="{C1A9CD1E-484C-8543-958C-513D2519A024}" dt="2021-07-20T16:05:39.320" v="281" actId="478"/>
          <ac:grpSpMkLst>
            <pc:docMk/>
            <pc:sldMk cId="2523633047" sldId="5548"/>
            <ac:grpSpMk id="127" creationId="{A48F1CD5-CF01-B642-9A4B-60021964915E}"/>
          </ac:grpSpMkLst>
        </pc:grpChg>
        <pc:grpChg chg="mod">
          <ac:chgData name="Lamb, Ben" userId="88a6f5f3-f9e5-47eb-a109-670a0c68440d" providerId="ADAL" clId="{C1A9CD1E-484C-8543-958C-513D2519A024}" dt="2021-07-20T16:04:18.971" v="250" actId="1076"/>
          <ac:grpSpMkLst>
            <pc:docMk/>
            <pc:sldMk cId="2523633047" sldId="5548"/>
            <ac:grpSpMk id="130" creationId="{D1AA21A9-F33C-2A47-B748-32707F5146A1}"/>
          </ac:grpSpMkLst>
        </pc:grpChg>
        <pc:grpChg chg="mod">
          <ac:chgData name="Lamb, Ben" userId="88a6f5f3-f9e5-47eb-a109-670a0c68440d" providerId="ADAL" clId="{C1A9CD1E-484C-8543-958C-513D2519A024}" dt="2021-07-20T16:04:02.481" v="248" actId="1076"/>
          <ac:grpSpMkLst>
            <pc:docMk/>
            <pc:sldMk cId="2523633047" sldId="5548"/>
            <ac:grpSpMk id="141" creationId="{87E719C2-58C3-3A48-9E2C-9FC4EEA91294}"/>
          </ac:grpSpMkLst>
        </pc:grpChg>
        <pc:grpChg chg="add del mod">
          <ac:chgData name="Lamb, Ben" userId="88a6f5f3-f9e5-47eb-a109-670a0c68440d" providerId="ADAL" clId="{C1A9CD1E-484C-8543-958C-513D2519A024}" dt="2021-07-20T16:07:40.375" v="302" actId="478"/>
          <ac:grpSpMkLst>
            <pc:docMk/>
            <pc:sldMk cId="2523633047" sldId="5548"/>
            <ac:grpSpMk id="156" creationId="{10679401-48EC-2348-8770-1A3A06C91529}"/>
          </ac:grpSpMkLst>
        </pc:grpChg>
        <pc:cxnChg chg="mod">
          <ac:chgData name="Lamb, Ben" userId="88a6f5f3-f9e5-47eb-a109-670a0c68440d" providerId="ADAL" clId="{C1A9CD1E-484C-8543-958C-513D2519A024}" dt="2021-07-20T16:04:08.216" v="249" actId="14100"/>
          <ac:cxnSpMkLst>
            <pc:docMk/>
            <pc:sldMk cId="2523633047" sldId="5548"/>
            <ac:cxnSpMk id="40" creationId="{AE58ACAE-3FFA-6446-ABD8-F1FB5F1A6A87}"/>
          </ac:cxnSpMkLst>
        </pc:cxnChg>
        <pc:cxnChg chg="del mod">
          <ac:chgData name="Lamb, Ben" userId="88a6f5f3-f9e5-47eb-a109-670a0c68440d" providerId="ADAL" clId="{C1A9CD1E-484C-8543-958C-513D2519A024}" dt="2021-07-20T16:05:29.791" v="278" actId="478"/>
          <ac:cxnSpMkLst>
            <pc:docMk/>
            <pc:sldMk cId="2523633047" sldId="5548"/>
            <ac:cxnSpMk id="41" creationId="{DD270770-EFB9-A047-BB47-A52E2392C9EB}"/>
          </ac:cxnSpMkLst>
        </pc:cxnChg>
        <pc:cxnChg chg="mod">
          <ac:chgData name="Lamb, Ben" userId="88a6f5f3-f9e5-47eb-a109-670a0c68440d" providerId="ADAL" clId="{C1A9CD1E-484C-8543-958C-513D2519A024}" dt="2021-07-20T16:03:29.891" v="224" actId="14100"/>
          <ac:cxnSpMkLst>
            <pc:docMk/>
            <pc:sldMk cId="2523633047" sldId="5548"/>
            <ac:cxnSpMk id="44" creationId="{7CE34008-E192-7F46-BF25-65E836794896}"/>
          </ac:cxnSpMkLst>
        </pc:cxnChg>
        <pc:cxnChg chg="del mod">
          <ac:chgData name="Lamb, Ben" userId="88a6f5f3-f9e5-47eb-a109-670a0c68440d" providerId="ADAL" clId="{C1A9CD1E-484C-8543-958C-513D2519A024}" dt="2021-07-20T16:05:29.791" v="278" actId="478"/>
          <ac:cxnSpMkLst>
            <pc:docMk/>
            <pc:sldMk cId="2523633047" sldId="5548"/>
            <ac:cxnSpMk id="46" creationId="{15406969-C55E-324A-85C9-7DF283F91F15}"/>
          </ac:cxnSpMkLst>
        </pc:cxnChg>
        <pc:cxnChg chg="del mod">
          <ac:chgData name="Lamb, Ben" userId="88a6f5f3-f9e5-47eb-a109-670a0c68440d" providerId="ADAL" clId="{C1A9CD1E-484C-8543-958C-513D2519A024}" dt="2021-07-20T16:05:29.791" v="278" actId="478"/>
          <ac:cxnSpMkLst>
            <pc:docMk/>
            <pc:sldMk cId="2523633047" sldId="5548"/>
            <ac:cxnSpMk id="47" creationId="{3D6AE52C-8458-4147-AA66-8DF1B4C59007}"/>
          </ac:cxnSpMkLst>
        </pc:cxnChg>
        <pc:cxnChg chg="add mod">
          <ac:chgData name="Lamb, Ben" userId="88a6f5f3-f9e5-47eb-a109-670a0c68440d" providerId="ADAL" clId="{C1A9CD1E-484C-8543-958C-513D2519A024}" dt="2021-07-20T16:04:52.133" v="273" actId="14100"/>
          <ac:cxnSpMkLst>
            <pc:docMk/>
            <pc:sldMk cId="2523633047" sldId="5548"/>
            <ac:cxnSpMk id="118" creationId="{0FE8ED28-68C7-1345-AACB-DA8E4507B406}"/>
          </ac:cxnSpMkLst>
        </pc:cxnChg>
      </pc:sldChg>
      <pc:sldChg chg="addSp delSp modSp add mod">
        <pc:chgData name="Lamb, Ben" userId="88a6f5f3-f9e5-47eb-a109-670a0c68440d" providerId="ADAL" clId="{C1A9CD1E-484C-8543-958C-513D2519A024}" dt="2021-07-20T16:24:34.879" v="423" actId="14100"/>
        <pc:sldMkLst>
          <pc:docMk/>
          <pc:sldMk cId="846163186" sldId="5549"/>
        </pc:sldMkLst>
        <pc:spChg chg="mod">
          <ac:chgData name="Lamb, Ben" userId="88a6f5f3-f9e5-47eb-a109-670a0c68440d" providerId="ADAL" clId="{C1A9CD1E-484C-8543-958C-513D2519A024}" dt="2021-07-20T16:15:52.397" v="346" actId="20577"/>
          <ac:spMkLst>
            <pc:docMk/>
            <pc:sldMk cId="846163186" sldId="5549"/>
            <ac:spMk id="2" creationId="{E4576F96-D6BB-DD40-AD3C-8C50B0DFF80B}"/>
          </ac:spMkLst>
        </pc:spChg>
        <pc:spChg chg="del">
          <ac:chgData name="Lamb, Ben" userId="88a6f5f3-f9e5-47eb-a109-670a0c68440d" providerId="ADAL" clId="{C1A9CD1E-484C-8543-958C-513D2519A024}" dt="2021-07-20T16:18:30.014" v="351" actId="478"/>
          <ac:spMkLst>
            <pc:docMk/>
            <pc:sldMk cId="846163186" sldId="5549"/>
            <ac:spMk id="3" creationId="{55A542F2-16B2-CA4B-B517-41841A0589DB}"/>
          </ac:spMkLst>
        </pc:spChg>
        <pc:spChg chg="add del mod">
          <ac:chgData name="Lamb, Ben" userId="88a6f5f3-f9e5-47eb-a109-670a0c68440d" providerId="ADAL" clId="{C1A9CD1E-484C-8543-958C-513D2519A024}" dt="2021-07-20T16:19:10.321" v="372" actId="478"/>
          <ac:spMkLst>
            <pc:docMk/>
            <pc:sldMk cId="846163186" sldId="5549"/>
            <ac:spMk id="6" creationId="{EA70532A-E908-2443-8A15-04FA198F7648}"/>
          </ac:spMkLst>
        </pc:spChg>
        <pc:spChg chg="mod">
          <ac:chgData name="Lamb, Ben" userId="88a6f5f3-f9e5-47eb-a109-670a0c68440d" providerId="ADAL" clId="{C1A9CD1E-484C-8543-958C-513D2519A024}" dt="2021-07-20T16:18:35.834" v="353" actId="14100"/>
          <ac:spMkLst>
            <pc:docMk/>
            <pc:sldMk cId="846163186" sldId="5549"/>
            <ac:spMk id="10" creationId="{BF644C12-42B7-0045-9345-AADF56401F20}"/>
          </ac:spMkLst>
        </pc:spChg>
        <pc:spChg chg="add mod">
          <ac:chgData name="Lamb, Ben" userId="88a6f5f3-f9e5-47eb-a109-670a0c68440d" providerId="ADAL" clId="{C1A9CD1E-484C-8543-958C-513D2519A024}" dt="2021-07-20T16:19:31.527" v="373" actId="1076"/>
          <ac:spMkLst>
            <pc:docMk/>
            <pc:sldMk cId="846163186" sldId="5549"/>
            <ac:spMk id="101" creationId="{CB5FC961-83C9-2B42-BF0F-34AB419EC287}"/>
          </ac:spMkLst>
        </pc:spChg>
        <pc:spChg chg="add mod">
          <ac:chgData name="Lamb, Ben" userId="88a6f5f3-f9e5-47eb-a109-670a0c68440d" providerId="ADAL" clId="{C1A9CD1E-484C-8543-958C-513D2519A024}" dt="2021-07-20T16:19:31.527" v="373" actId="1076"/>
          <ac:spMkLst>
            <pc:docMk/>
            <pc:sldMk cId="846163186" sldId="5549"/>
            <ac:spMk id="109" creationId="{C9CDBF9E-DC05-BB43-AAC6-25A18FA8F2F9}"/>
          </ac:spMkLst>
        </pc:spChg>
        <pc:spChg chg="mod">
          <ac:chgData name="Lamb, Ben" userId="88a6f5f3-f9e5-47eb-a109-670a0c68440d" providerId="ADAL" clId="{C1A9CD1E-484C-8543-958C-513D2519A024}" dt="2021-07-20T16:24:34.879" v="423" actId="14100"/>
          <ac:spMkLst>
            <pc:docMk/>
            <pc:sldMk cId="846163186" sldId="5549"/>
            <ac:spMk id="119" creationId="{3E976D16-CF3F-4F42-8C28-854F0E1BF427}"/>
          </ac:spMkLst>
        </pc:spChg>
        <pc:spChg chg="mod">
          <ac:chgData name="Lamb, Ben" userId="88a6f5f3-f9e5-47eb-a109-670a0c68440d" providerId="ADAL" clId="{C1A9CD1E-484C-8543-958C-513D2519A024}" dt="2021-07-20T16:17:40.650" v="347"/>
          <ac:spMkLst>
            <pc:docMk/>
            <pc:sldMk cId="846163186" sldId="5549"/>
            <ac:spMk id="122" creationId="{8566A5B9-976E-9D4D-8D63-E6C11BCDA678}"/>
          </ac:spMkLst>
        </pc:spChg>
        <pc:spChg chg="mod">
          <ac:chgData name="Lamb, Ben" userId="88a6f5f3-f9e5-47eb-a109-670a0c68440d" providerId="ADAL" clId="{C1A9CD1E-484C-8543-958C-513D2519A024}" dt="2021-07-20T16:17:40.650" v="347"/>
          <ac:spMkLst>
            <pc:docMk/>
            <pc:sldMk cId="846163186" sldId="5549"/>
            <ac:spMk id="123" creationId="{035564A6-56F7-614F-94D6-377F187331AD}"/>
          </ac:spMkLst>
        </pc:spChg>
        <pc:spChg chg="mod">
          <ac:chgData name="Lamb, Ben" userId="88a6f5f3-f9e5-47eb-a109-670a0c68440d" providerId="ADAL" clId="{C1A9CD1E-484C-8543-958C-513D2519A024}" dt="2021-07-20T16:17:40.650" v="347"/>
          <ac:spMkLst>
            <pc:docMk/>
            <pc:sldMk cId="846163186" sldId="5549"/>
            <ac:spMk id="124" creationId="{20194804-799A-CF4C-A503-FCD2096899ED}"/>
          </ac:spMkLst>
        </pc:spChg>
        <pc:spChg chg="mod">
          <ac:chgData name="Lamb, Ben" userId="88a6f5f3-f9e5-47eb-a109-670a0c68440d" providerId="ADAL" clId="{C1A9CD1E-484C-8543-958C-513D2519A024}" dt="2021-07-20T16:17:40.650" v="347"/>
          <ac:spMkLst>
            <pc:docMk/>
            <pc:sldMk cId="846163186" sldId="5549"/>
            <ac:spMk id="126" creationId="{7FC9E492-E323-844D-AAE9-65FD90BD66CE}"/>
          </ac:spMkLst>
        </pc:spChg>
        <pc:spChg chg="mod">
          <ac:chgData name="Lamb, Ben" userId="88a6f5f3-f9e5-47eb-a109-670a0c68440d" providerId="ADAL" clId="{C1A9CD1E-484C-8543-958C-513D2519A024}" dt="2021-07-20T16:17:40.650" v="347"/>
          <ac:spMkLst>
            <pc:docMk/>
            <pc:sldMk cId="846163186" sldId="5549"/>
            <ac:spMk id="127" creationId="{856F7A29-C751-7A40-A7CE-187690F7FB76}"/>
          </ac:spMkLst>
        </pc:spChg>
        <pc:spChg chg="mod">
          <ac:chgData name="Lamb, Ben" userId="88a6f5f3-f9e5-47eb-a109-670a0c68440d" providerId="ADAL" clId="{C1A9CD1E-484C-8543-958C-513D2519A024}" dt="2021-07-20T16:17:40.650" v="347"/>
          <ac:spMkLst>
            <pc:docMk/>
            <pc:sldMk cId="846163186" sldId="5549"/>
            <ac:spMk id="129" creationId="{436BBC48-7CBA-C340-8E4C-6CB3ED130BEA}"/>
          </ac:spMkLst>
        </pc:spChg>
        <pc:spChg chg="mod">
          <ac:chgData name="Lamb, Ben" userId="88a6f5f3-f9e5-47eb-a109-670a0c68440d" providerId="ADAL" clId="{C1A9CD1E-484C-8543-958C-513D2519A024}" dt="2021-07-20T16:17:40.650" v="347"/>
          <ac:spMkLst>
            <pc:docMk/>
            <pc:sldMk cId="846163186" sldId="5549"/>
            <ac:spMk id="149" creationId="{007BB8F1-0733-8349-816A-81D41B53BAFE}"/>
          </ac:spMkLst>
        </pc:spChg>
        <pc:spChg chg="add mod">
          <ac:chgData name="Lamb, Ben" userId="88a6f5f3-f9e5-47eb-a109-670a0c68440d" providerId="ADAL" clId="{C1A9CD1E-484C-8543-958C-513D2519A024}" dt="2021-07-20T16:19:31.527" v="373" actId="1076"/>
          <ac:spMkLst>
            <pc:docMk/>
            <pc:sldMk cId="846163186" sldId="5549"/>
            <ac:spMk id="156" creationId="{D94AABBD-F35F-6248-B6C9-F11F2BED06C3}"/>
          </ac:spMkLst>
        </pc:spChg>
        <pc:spChg chg="mod">
          <ac:chgData name="Lamb, Ben" userId="88a6f5f3-f9e5-47eb-a109-670a0c68440d" providerId="ADAL" clId="{C1A9CD1E-484C-8543-958C-513D2519A024}" dt="2021-07-20T16:18:33.315" v="352" actId="1076"/>
          <ac:spMkLst>
            <pc:docMk/>
            <pc:sldMk cId="846163186" sldId="5549"/>
            <ac:spMk id="157" creationId="{4AF849C0-4D67-0D40-8F9A-046F645AD847}"/>
          </ac:spMkLst>
        </pc:spChg>
        <pc:spChg chg="mod">
          <ac:chgData name="Lamb, Ben" userId="88a6f5f3-f9e5-47eb-a109-670a0c68440d" providerId="ADAL" clId="{C1A9CD1E-484C-8543-958C-513D2519A024}" dt="2021-07-20T16:17:40.650" v="347"/>
          <ac:spMkLst>
            <pc:docMk/>
            <pc:sldMk cId="846163186" sldId="5549"/>
            <ac:spMk id="161" creationId="{DC52158C-DBC5-6A49-BD21-3C1324094BC0}"/>
          </ac:spMkLst>
        </pc:spChg>
        <pc:spChg chg="mod">
          <ac:chgData name="Lamb, Ben" userId="88a6f5f3-f9e5-47eb-a109-670a0c68440d" providerId="ADAL" clId="{C1A9CD1E-484C-8543-958C-513D2519A024}" dt="2021-07-20T16:17:40.650" v="347"/>
          <ac:spMkLst>
            <pc:docMk/>
            <pc:sldMk cId="846163186" sldId="5549"/>
            <ac:spMk id="162" creationId="{33C9309F-6EF5-9B4C-BEEF-7EF3D623696A}"/>
          </ac:spMkLst>
        </pc:spChg>
        <pc:spChg chg="mod">
          <ac:chgData name="Lamb, Ben" userId="88a6f5f3-f9e5-47eb-a109-670a0c68440d" providerId="ADAL" clId="{C1A9CD1E-484C-8543-958C-513D2519A024}" dt="2021-07-20T16:17:40.650" v="347"/>
          <ac:spMkLst>
            <pc:docMk/>
            <pc:sldMk cId="846163186" sldId="5549"/>
            <ac:spMk id="164" creationId="{AD9CCE98-1E6E-E14C-903A-6B8BDDD51224}"/>
          </ac:spMkLst>
        </pc:spChg>
        <pc:spChg chg="mod">
          <ac:chgData name="Lamb, Ben" userId="88a6f5f3-f9e5-47eb-a109-670a0c68440d" providerId="ADAL" clId="{C1A9CD1E-484C-8543-958C-513D2519A024}" dt="2021-07-20T16:17:40.650" v="347"/>
          <ac:spMkLst>
            <pc:docMk/>
            <pc:sldMk cId="846163186" sldId="5549"/>
            <ac:spMk id="165" creationId="{AAF48EAA-3DC8-AA4A-BFD8-2C93E8D1265C}"/>
          </ac:spMkLst>
        </pc:spChg>
        <pc:spChg chg="add mod">
          <ac:chgData name="Lamb, Ben" userId="88a6f5f3-f9e5-47eb-a109-670a0c68440d" providerId="ADAL" clId="{C1A9CD1E-484C-8543-958C-513D2519A024}" dt="2021-07-20T16:19:31.527" v="373" actId="1076"/>
          <ac:spMkLst>
            <pc:docMk/>
            <pc:sldMk cId="846163186" sldId="5549"/>
            <ac:spMk id="166" creationId="{8D88391F-40D2-9D47-9E20-95E70562DF33}"/>
          </ac:spMkLst>
        </pc:spChg>
        <pc:spChg chg="add mod">
          <ac:chgData name="Lamb, Ben" userId="88a6f5f3-f9e5-47eb-a109-670a0c68440d" providerId="ADAL" clId="{C1A9CD1E-484C-8543-958C-513D2519A024}" dt="2021-07-20T16:20:12.072" v="408" actId="14100"/>
          <ac:spMkLst>
            <pc:docMk/>
            <pc:sldMk cId="846163186" sldId="5549"/>
            <ac:spMk id="167" creationId="{F4AF10B7-DD82-FB48-9EB0-8AFF4A0072C0}"/>
          </ac:spMkLst>
        </pc:spChg>
        <pc:spChg chg="mod">
          <ac:chgData name="Lamb, Ben" userId="88a6f5f3-f9e5-47eb-a109-670a0c68440d" providerId="ADAL" clId="{C1A9CD1E-484C-8543-958C-513D2519A024}" dt="2021-07-20T16:17:40.650" v="347"/>
          <ac:spMkLst>
            <pc:docMk/>
            <pc:sldMk cId="846163186" sldId="5549"/>
            <ac:spMk id="170" creationId="{B2141B74-B63C-FD44-A742-DFCD9D52BCE9}"/>
          </ac:spMkLst>
        </pc:spChg>
        <pc:spChg chg="mod">
          <ac:chgData name="Lamb, Ben" userId="88a6f5f3-f9e5-47eb-a109-670a0c68440d" providerId="ADAL" clId="{C1A9CD1E-484C-8543-958C-513D2519A024}" dt="2021-07-20T16:17:40.650" v="347"/>
          <ac:spMkLst>
            <pc:docMk/>
            <pc:sldMk cId="846163186" sldId="5549"/>
            <ac:spMk id="171" creationId="{57560BC0-7057-4F40-82BA-DDA3D058B4A4}"/>
          </ac:spMkLst>
        </pc:spChg>
        <pc:spChg chg="mod">
          <ac:chgData name="Lamb, Ben" userId="88a6f5f3-f9e5-47eb-a109-670a0c68440d" providerId="ADAL" clId="{C1A9CD1E-484C-8543-958C-513D2519A024}" dt="2021-07-20T16:17:40.650" v="347"/>
          <ac:spMkLst>
            <pc:docMk/>
            <pc:sldMk cId="846163186" sldId="5549"/>
            <ac:spMk id="172" creationId="{4986A7C0-DDBF-A84F-A450-C5DD0B3FBE47}"/>
          </ac:spMkLst>
        </pc:spChg>
        <pc:spChg chg="mod">
          <ac:chgData name="Lamb, Ben" userId="88a6f5f3-f9e5-47eb-a109-670a0c68440d" providerId="ADAL" clId="{C1A9CD1E-484C-8543-958C-513D2519A024}" dt="2021-07-20T16:17:40.650" v="347"/>
          <ac:spMkLst>
            <pc:docMk/>
            <pc:sldMk cId="846163186" sldId="5549"/>
            <ac:spMk id="173" creationId="{E3440BC5-4D03-4743-A0FA-BF196967B2D4}"/>
          </ac:spMkLst>
        </pc:spChg>
        <pc:spChg chg="mod">
          <ac:chgData name="Lamb, Ben" userId="88a6f5f3-f9e5-47eb-a109-670a0c68440d" providerId="ADAL" clId="{C1A9CD1E-484C-8543-958C-513D2519A024}" dt="2021-07-20T16:17:40.650" v="347"/>
          <ac:spMkLst>
            <pc:docMk/>
            <pc:sldMk cId="846163186" sldId="5549"/>
            <ac:spMk id="174" creationId="{A7F27111-00A6-F74F-8EA9-D39FFECC8D87}"/>
          </ac:spMkLst>
        </pc:spChg>
        <pc:spChg chg="mod">
          <ac:chgData name="Lamb, Ben" userId="88a6f5f3-f9e5-47eb-a109-670a0c68440d" providerId="ADAL" clId="{C1A9CD1E-484C-8543-958C-513D2519A024}" dt="2021-07-20T16:17:40.650" v="347"/>
          <ac:spMkLst>
            <pc:docMk/>
            <pc:sldMk cId="846163186" sldId="5549"/>
            <ac:spMk id="175" creationId="{ED650607-8D7B-704B-972A-BE320E2932EB}"/>
          </ac:spMkLst>
        </pc:spChg>
        <pc:spChg chg="mod">
          <ac:chgData name="Lamb, Ben" userId="88a6f5f3-f9e5-47eb-a109-670a0c68440d" providerId="ADAL" clId="{C1A9CD1E-484C-8543-958C-513D2519A024}" dt="2021-07-20T16:17:40.650" v="347"/>
          <ac:spMkLst>
            <pc:docMk/>
            <pc:sldMk cId="846163186" sldId="5549"/>
            <ac:spMk id="176" creationId="{0F497E1D-75CD-4B41-99B3-D93EB3033A68}"/>
          </ac:spMkLst>
        </pc:spChg>
        <pc:spChg chg="add mod">
          <ac:chgData name="Lamb, Ben" userId="88a6f5f3-f9e5-47eb-a109-670a0c68440d" providerId="ADAL" clId="{C1A9CD1E-484C-8543-958C-513D2519A024}" dt="2021-07-20T16:19:31.527" v="373" actId="1076"/>
          <ac:spMkLst>
            <pc:docMk/>
            <pc:sldMk cId="846163186" sldId="5549"/>
            <ac:spMk id="178" creationId="{14B748AC-DF56-494C-9F7E-4992292B629E}"/>
          </ac:spMkLst>
        </pc:spChg>
        <pc:spChg chg="mod">
          <ac:chgData name="Lamb, Ben" userId="88a6f5f3-f9e5-47eb-a109-670a0c68440d" providerId="ADAL" clId="{C1A9CD1E-484C-8543-958C-513D2519A024}" dt="2021-07-20T16:18:45.321" v="355"/>
          <ac:spMkLst>
            <pc:docMk/>
            <pc:sldMk cId="846163186" sldId="5549"/>
            <ac:spMk id="181" creationId="{106469D3-3FF0-FD45-BEAD-4D6D617EE3D9}"/>
          </ac:spMkLst>
        </pc:spChg>
        <pc:spChg chg="mod">
          <ac:chgData name="Lamb, Ben" userId="88a6f5f3-f9e5-47eb-a109-670a0c68440d" providerId="ADAL" clId="{C1A9CD1E-484C-8543-958C-513D2519A024}" dt="2021-07-20T16:18:45.321" v="355"/>
          <ac:spMkLst>
            <pc:docMk/>
            <pc:sldMk cId="846163186" sldId="5549"/>
            <ac:spMk id="182" creationId="{97820022-E4F6-4F4E-92BB-AB37703AB3B0}"/>
          </ac:spMkLst>
        </pc:spChg>
        <pc:spChg chg="add mod">
          <ac:chgData name="Lamb, Ben" userId="88a6f5f3-f9e5-47eb-a109-670a0c68440d" providerId="ADAL" clId="{C1A9CD1E-484C-8543-958C-513D2519A024}" dt="2021-07-20T16:19:05.253" v="371" actId="20577"/>
          <ac:spMkLst>
            <pc:docMk/>
            <pc:sldMk cId="846163186" sldId="5549"/>
            <ac:spMk id="183" creationId="{2E859983-D7B8-EA4C-95B0-4DB3BC488B5B}"/>
          </ac:spMkLst>
        </pc:spChg>
        <pc:spChg chg="add del mod">
          <ac:chgData name="Lamb, Ben" userId="88a6f5f3-f9e5-47eb-a109-670a0c68440d" providerId="ADAL" clId="{C1A9CD1E-484C-8543-958C-513D2519A024}" dt="2021-07-20T16:21:15.571" v="419" actId="478"/>
          <ac:spMkLst>
            <pc:docMk/>
            <pc:sldMk cId="846163186" sldId="5549"/>
            <ac:spMk id="184" creationId="{F9C9D00C-750A-384B-934D-84C669F1F63A}"/>
          </ac:spMkLst>
        </pc:spChg>
        <pc:spChg chg="add del mod">
          <ac:chgData name="Lamb, Ben" userId="88a6f5f3-f9e5-47eb-a109-670a0c68440d" providerId="ADAL" clId="{C1A9CD1E-484C-8543-958C-513D2519A024}" dt="2021-07-20T16:21:15.571" v="419" actId="478"/>
          <ac:spMkLst>
            <pc:docMk/>
            <pc:sldMk cId="846163186" sldId="5549"/>
            <ac:spMk id="185" creationId="{8E55BE2E-6390-6E4F-BC63-37AB329E98B8}"/>
          </ac:spMkLst>
        </pc:spChg>
        <pc:spChg chg="mod">
          <ac:chgData name="Lamb, Ben" userId="88a6f5f3-f9e5-47eb-a109-670a0c68440d" providerId="ADAL" clId="{C1A9CD1E-484C-8543-958C-513D2519A024}" dt="2021-07-20T16:20:21.215" v="409"/>
          <ac:spMkLst>
            <pc:docMk/>
            <pc:sldMk cId="846163186" sldId="5549"/>
            <ac:spMk id="188" creationId="{0F265378-1778-E049-95D3-1CD0300B391F}"/>
          </ac:spMkLst>
        </pc:spChg>
        <pc:spChg chg="mod">
          <ac:chgData name="Lamb, Ben" userId="88a6f5f3-f9e5-47eb-a109-670a0c68440d" providerId="ADAL" clId="{C1A9CD1E-484C-8543-958C-513D2519A024}" dt="2021-07-20T16:20:21.215" v="409"/>
          <ac:spMkLst>
            <pc:docMk/>
            <pc:sldMk cId="846163186" sldId="5549"/>
            <ac:spMk id="189" creationId="{E512F20A-934A-7647-878C-EDDC66C38BF5}"/>
          </ac:spMkLst>
        </pc:spChg>
        <pc:spChg chg="mod">
          <ac:chgData name="Lamb, Ben" userId="88a6f5f3-f9e5-47eb-a109-670a0c68440d" providerId="ADAL" clId="{C1A9CD1E-484C-8543-958C-513D2519A024}" dt="2021-07-20T16:20:21.215" v="409"/>
          <ac:spMkLst>
            <pc:docMk/>
            <pc:sldMk cId="846163186" sldId="5549"/>
            <ac:spMk id="190" creationId="{3DC8EB90-DA16-8942-9356-A74A256AE8ED}"/>
          </ac:spMkLst>
        </pc:spChg>
        <pc:spChg chg="mod">
          <ac:chgData name="Lamb, Ben" userId="88a6f5f3-f9e5-47eb-a109-670a0c68440d" providerId="ADAL" clId="{C1A9CD1E-484C-8543-958C-513D2519A024}" dt="2021-07-20T16:20:21.215" v="409"/>
          <ac:spMkLst>
            <pc:docMk/>
            <pc:sldMk cId="846163186" sldId="5549"/>
            <ac:spMk id="191" creationId="{557A7105-4458-E843-A056-C27A92DB740B}"/>
          </ac:spMkLst>
        </pc:spChg>
        <pc:spChg chg="mod">
          <ac:chgData name="Lamb, Ben" userId="88a6f5f3-f9e5-47eb-a109-670a0c68440d" providerId="ADAL" clId="{C1A9CD1E-484C-8543-958C-513D2519A024}" dt="2021-07-20T16:20:21.215" v="409"/>
          <ac:spMkLst>
            <pc:docMk/>
            <pc:sldMk cId="846163186" sldId="5549"/>
            <ac:spMk id="192" creationId="{5E9B0410-5DDA-DB49-9D1C-6D7BDB5ED3E3}"/>
          </ac:spMkLst>
        </pc:spChg>
        <pc:spChg chg="mod">
          <ac:chgData name="Lamb, Ben" userId="88a6f5f3-f9e5-47eb-a109-670a0c68440d" providerId="ADAL" clId="{C1A9CD1E-484C-8543-958C-513D2519A024}" dt="2021-07-20T16:20:21.215" v="409"/>
          <ac:spMkLst>
            <pc:docMk/>
            <pc:sldMk cId="846163186" sldId="5549"/>
            <ac:spMk id="193" creationId="{FE3DF3D9-00BC-6B4A-AB4E-7DCAE21CF322}"/>
          </ac:spMkLst>
        </pc:spChg>
        <pc:spChg chg="mod">
          <ac:chgData name="Lamb, Ben" userId="88a6f5f3-f9e5-47eb-a109-670a0c68440d" providerId="ADAL" clId="{C1A9CD1E-484C-8543-958C-513D2519A024}" dt="2021-07-20T16:20:21.215" v="409"/>
          <ac:spMkLst>
            <pc:docMk/>
            <pc:sldMk cId="846163186" sldId="5549"/>
            <ac:spMk id="194" creationId="{72F820DA-FBBB-0145-BC1B-A4E2BA82C79D}"/>
          </ac:spMkLst>
        </pc:spChg>
        <pc:spChg chg="mod">
          <ac:chgData name="Lamb, Ben" userId="88a6f5f3-f9e5-47eb-a109-670a0c68440d" providerId="ADAL" clId="{C1A9CD1E-484C-8543-958C-513D2519A024}" dt="2021-07-20T16:20:21.215" v="409"/>
          <ac:spMkLst>
            <pc:docMk/>
            <pc:sldMk cId="846163186" sldId="5549"/>
            <ac:spMk id="195" creationId="{CD522277-EC9C-4447-9C1E-B8BD925BB0A6}"/>
          </ac:spMkLst>
        </pc:spChg>
        <pc:spChg chg="mod">
          <ac:chgData name="Lamb, Ben" userId="88a6f5f3-f9e5-47eb-a109-670a0c68440d" providerId="ADAL" clId="{C1A9CD1E-484C-8543-958C-513D2519A024}" dt="2021-07-20T16:20:21.215" v="409"/>
          <ac:spMkLst>
            <pc:docMk/>
            <pc:sldMk cId="846163186" sldId="5549"/>
            <ac:spMk id="196" creationId="{796A9417-69EB-0F46-8321-F28207D745C4}"/>
          </ac:spMkLst>
        </pc:spChg>
        <pc:spChg chg="add mod">
          <ac:chgData name="Lamb, Ben" userId="88a6f5f3-f9e5-47eb-a109-670a0c68440d" providerId="ADAL" clId="{C1A9CD1E-484C-8543-958C-513D2519A024}" dt="2021-07-20T16:24:21.866" v="421" actId="1076"/>
          <ac:spMkLst>
            <pc:docMk/>
            <pc:sldMk cId="846163186" sldId="5549"/>
            <ac:spMk id="199" creationId="{ABDEF298-71E1-4D4A-90FB-E1D17DE75C64}"/>
          </ac:spMkLst>
        </pc:spChg>
        <pc:grpChg chg="mod">
          <ac:chgData name="Lamb, Ben" userId="88a6f5f3-f9e5-47eb-a109-670a0c68440d" providerId="ADAL" clId="{C1A9CD1E-484C-8543-958C-513D2519A024}" dt="2021-07-20T16:18:40.246" v="354" actId="1076"/>
          <ac:grpSpMkLst>
            <pc:docMk/>
            <pc:sldMk cId="846163186" sldId="5549"/>
            <ac:grpSpMk id="58" creationId="{08F3CE03-3553-D14F-9087-83CA63E5C39C}"/>
          </ac:grpSpMkLst>
        </pc:grpChg>
        <pc:grpChg chg="add mod">
          <ac:chgData name="Lamb, Ben" userId="88a6f5f3-f9e5-47eb-a109-670a0c68440d" providerId="ADAL" clId="{C1A9CD1E-484C-8543-958C-513D2519A024}" dt="2021-07-20T16:19:31.527" v="373" actId="1076"/>
          <ac:grpSpMkLst>
            <pc:docMk/>
            <pc:sldMk cId="846163186" sldId="5549"/>
            <ac:grpSpMk id="120" creationId="{FD51AEEC-8636-3947-ADFE-1AF60941F191}"/>
          </ac:grpSpMkLst>
        </pc:grpChg>
        <pc:grpChg chg="mod">
          <ac:chgData name="Lamb, Ben" userId="88a6f5f3-f9e5-47eb-a109-670a0c68440d" providerId="ADAL" clId="{C1A9CD1E-484C-8543-958C-513D2519A024}" dt="2021-07-20T16:17:40.650" v="347"/>
          <ac:grpSpMkLst>
            <pc:docMk/>
            <pc:sldMk cId="846163186" sldId="5549"/>
            <ac:grpSpMk id="121" creationId="{A58C064C-8DEE-4641-BAA1-5E153B413452}"/>
          </ac:grpSpMkLst>
        </pc:grpChg>
        <pc:grpChg chg="add mod">
          <ac:chgData name="Lamb, Ben" userId="88a6f5f3-f9e5-47eb-a109-670a0c68440d" providerId="ADAL" clId="{C1A9CD1E-484C-8543-958C-513D2519A024}" dt="2021-07-20T16:19:31.527" v="373" actId="1076"/>
          <ac:grpSpMkLst>
            <pc:docMk/>
            <pc:sldMk cId="846163186" sldId="5549"/>
            <ac:grpSpMk id="125" creationId="{510AA2F5-4458-554C-8577-761E6E3DD807}"/>
          </ac:grpSpMkLst>
        </pc:grpChg>
        <pc:grpChg chg="add mod">
          <ac:chgData name="Lamb, Ben" userId="88a6f5f3-f9e5-47eb-a109-670a0c68440d" providerId="ADAL" clId="{C1A9CD1E-484C-8543-958C-513D2519A024}" dt="2021-07-20T16:19:31.527" v="373" actId="1076"/>
          <ac:grpSpMkLst>
            <pc:docMk/>
            <pc:sldMk cId="846163186" sldId="5549"/>
            <ac:grpSpMk id="128" creationId="{3E7E20C0-F064-2C41-9B1C-15D7D86308ED}"/>
          </ac:grpSpMkLst>
        </pc:grpChg>
        <pc:grpChg chg="add mod">
          <ac:chgData name="Lamb, Ben" userId="88a6f5f3-f9e5-47eb-a109-670a0c68440d" providerId="ADAL" clId="{C1A9CD1E-484C-8543-958C-513D2519A024}" dt="2021-07-20T16:19:31.527" v="373" actId="1076"/>
          <ac:grpSpMkLst>
            <pc:docMk/>
            <pc:sldMk cId="846163186" sldId="5549"/>
            <ac:grpSpMk id="158" creationId="{DE77C7B6-179E-8543-A598-BC5D601DE571}"/>
          </ac:grpSpMkLst>
        </pc:grpChg>
        <pc:grpChg chg="add mod">
          <ac:chgData name="Lamb, Ben" userId="88a6f5f3-f9e5-47eb-a109-670a0c68440d" providerId="ADAL" clId="{C1A9CD1E-484C-8543-958C-513D2519A024}" dt="2021-07-20T16:19:31.527" v="373" actId="1076"/>
          <ac:grpSpMkLst>
            <pc:docMk/>
            <pc:sldMk cId="846163186" sldId="5549"/>
            <ac:grpSpMk id="163" creationId="{AD57FEE1-1D9B-AA4D-BA81-4ACA7871F429}"/>
          </ac:grpSpMkLst>
        </pc:grpChg>
        <pc:grpChg chg="add mod">
          <ac:chgData name="Lamb, Ben" userId="88a6f5f3-f9e5-47eb-a109-670a0c68440d" providerId="ADAL" clId="{C1A9CD1E-484C-8543-958C-513D2519A024}" dt="2021-07-20T16:19:31.527" v="373" actId="1076"/>
          <ac:grpSpMkLst>
            <pc:docMk/>
            <pc:sldMk cId="846163186" sldId="5549"/>
            <ac:grpSpMk id="168" creationId="{52F02E7B-FEFE-A045-BC4C-2C5CAF856EC9}"/>
          </ac:grpSpMkLst>
        </pc:grpChg>
        <pc:grpChg chg="mod">
          <ac:chgData name="Lamb, Ben" userId="88a6f5f3-f9e5-47eb-a109-670a0c68440d" providerId="ADAL" clId="{C1A9CD1E-484C-8543-958C-513D2519A024}" dt="2021-07-20T16:17:40.650" v="347"/>
          <ac:grpSpMkLst>
            <pc:docMk/>
            <pc:sldMk cId="846163186" sldId="5549"/>
            <ac:grpSpMk id="169" creationId="{4FABCDDE-B39F-744E-B457-EA6E7A437F7C}"/>
          </ac:grpSpMkLst>
        </pc:grpChg>
        <pc:grpChg chg="add mod">
          <ac:chgData name="Lamb, Ben" userId="88a6f5f3-f9e5-47eb-a109-670a0c68440d" providerId="ADAL" clId="{C1A9CD1E-484C-8543-958C-513D2519A024}" dt="2021-07-20T16:18:49.403" v="356" actId="1076"/>
          <ac:grpSpMkLst>
            <pc:docMk/>
            <pc:sldMk cId="846163186" sldId="5549"/>
            <ac:grpSpMk id="180" creationId="{AC3CD442-E6DC-6B4D-AF51-A56A43DFF7F4}"/>
          </ac:grpSpMkLst>
        </pc:grpChg>
        <pc:grpChg chg="add del mod">
          <ac:chgData name="Lamb, Ben" userId="88a6f5f3-f9e5-47eb-a109-670a0c68440d" providerId="ADAL" clId="{C1A9CD1E-484C-8543-958C-513D2519A024}" dt="2021-07-20T16:21:15.571" v="419" actId="478"/>
          <ac:grpSpMkLst>
            <pc:docMk/>
            <pc:sldMk cId="846163186" sldId="5549"/>
            <ac:grpSpMk id="186" creationId="{146C64CF-45D0-2D4A-9FDE-845E60EFD4BE}"/>
          </ac:grpSpMkLst>
        </pc:grpChg>
        <pc:grpChg chg="mod">
          <ac:chgData name="Lamb, Ben" userId="88a6f5f3-f9e5-47eb-a109-670a0c68440d" providerId="ADAL" clId="{C1A9CD1E-484C-8543-958C-513D2519A024}" dt="2021-07-20T16:20:21.215" v="409"/>
          <ac:grpSpMkLst>
            <pc:docMk/>
            <pc:sldMk cId="846163186" sldId="5549"/>
            <ac:grpSpMk id="187" creationId="{6BC7A730-2094-F14B-81AF-1A4CD89AFB54}"/>
          </ac:grpSpMkLst>
        </pc:grpChg>
        <pc:cxnChg chg="add mod">
          <ac:chgData name="Lamb, Ben" userId="88a6f5f3-f9e5-47eb-a109-670a0c68440d" providerId="ADAL" clId="{C1A9CD1E-484C-8543-958C-513D2519A024}" dt="2021-07-20T16:19:31.527" v="373" actId="1076"/>
          <ac:cxnSpMkLst>
            <pc:docMk/>
            <pc:sldMk cId="846163186" sldId="5549"/>
            <ac:cxnSpMk id="111" creationId="{CECB1495-DB17-A541-80D7-598E396CA052}"/>
          </ac:cxnSpMkLst>
        </pc:cxnChg>
        <pc:cxnChg chg="add mod">
          <ac:chgData name="Lamb, Ben" userId="88a6f5f3-f9e5-47eb-a109-670a0c68440d" providerId="ADAL" clId="{C1A9CD1E-484C-8543-958C-513D2519A024}" dt="2021-07-20T16:19:31.527" v="373" actId="1076"/>
          <ac:cxnSpMkLst>
            <pc:docMk/>
            <pc:sldMk cId="846163186" sldId="5549"/>
            <ac:cxnSpMk id="117" creationId="{83A1EFA9-CD51-D44B-B2E1-8DA71902DE58}"/>
          </ac:cxnSpMkLst>
        </pc:cxnChg>
        <pc:cxnChg chg="add mod">
          <ac:chgData name="Lamb, Ben" userId="88a6f5f3-f9e5-47eb-a109-670a0c68440d" providerId="ADAL" clId="{C1A9CD1E-484C-8543-958C-513D2519A024}" dt="2021-07-20T16:19:31.527" v="373" actId="1076"/>
          <ac:cxnSpMkLst>
            <pc:docMk/>
            <pc:sldMk cId="846163186" sldId="5549"/>
            <ac:cxnSpMk id="177" creationId="{EE37CCA4-AF0E-7447-ABA7-BDEEA28F6AA8}"/>
          </ac:cxnSpMkLst>
        </pc:cxnChg>
        <pc:cxnChg chg="add mod">
          <ac:chgData name="Lamb, Ben" userId="88a6f5f3-f9e5-47eb-a109-670a0c68440d" providerId="ADAL" clId="{C1A9CD1E-484C-8543-958C-513D2519A024}" dt="2021-07-20T16:19:31.527" v="373" actId="1076"/>
          <ac:cxnSpMkLst>
            <pc:docMk/>
            <pc:sldMk cId="846163186" sldId="5549"/>
            <ac:cxnSpMk id="179" creationId="{92518A1E-A696-5D41-A9DC-9B29568D4578}"/>
          </ac:cxnSpMkLst>
        </pc:cxnChg>
        <pc:cxnChg chg="add mod">
          <ac:chgData name="Lamb, Ben" userId="88a6f5f3-f9e5-47eb-a109-670a0c68440d" providerId="ADAL" clId="{C1A9CD1E-484C-8543-958C-513D2519A024}" dt="2021-07-20T16:20:32.118" v="413" actId="14100"/>
          <ac:cxnSpMkLst>
            <pc:docMk/>
            <pc:sldMk cId="846163186" sldId="5549"/>
            <ac:cxnSpMk id="197" creationId="{C182C979-0B80-DC4F-BBFF-AFAE3D3A20A8}"/>
          </ac:cxnSpMkLst>
        </pc:cxnChg>
        <pc:cxnChg chg="add mod">
          <ac:chgData name="Lamb, Ben" userId="88a6f5f3-f9e5-47eb-a109-670a0c68440d" providerId="ADAL" clId="{C1A9CD1E-484C-8543-958C-513D2519A024}" dt="2021-07-20T16:21:12.588" v="418" actId="14100"/>
          <ac:cxnSpMkLst>
            <pc:docMk/>
            <pc:sldMk cId="846163186" sldId="5549"/>
            <ac:cxnSpMk id="198" creationId="{FD6E5473-568F-4145-B408-74CA9D792F86}"/>
          </ac:cxnSpMkLst>
        </pc:cxnChg>
      </pc:sldChg>
    </pc:docChg>
  </pc:docChgLst>
  <pc:docChgLst>
    <pc:chgData name="Lamb, Ben" userId="S::benlamb@deloitte.com::88a6f5f3-f9e5-47eb-a109-670a0c68440d" providerId="AD" clId="Web-{C184CECC-8745-48FA-8E77-5F61773BF684}"/>
    <pc:docChg chg="">
      <pc:chgData name="Lamb, Ben" userId="S::benlamb@deloitte.com::88a6f5f3-f9e5-47eb-a109-670a0c68440d" providerId="AD" clId="Web-{C184CECC-8745-48FA-8E77-5F61773BF684}" dt="2021-04-01T22:52:59.447" v="0"/>
      <pc:docMkLst>
        <pc:docMk/>
      </pc:docMkLst>
      <pc:sldChg chg="addCm">
        <pc:chgData name="Lamb, Ben" userId="S::benlamb@deloitte.com::88a6f5f3-f9e5-47eb-a109-670a0c68440d" providerId="AD" clId="Web-{C184CECC-8745-48FA-8E77-5F61773BF684}" dt="2021-04-01T22:52:59.447" v="0"/>
        <pc:sldMkLst>
          <pc:docMk/>
          <pc:sldMk cId="1362641955" sldId="1727"/>
        </pc:sldMkLst>
      </pc:sldChg>
    </pc:docChg>
  </pc:docChgLst>
  <pc:docChgLst>
    <pc:chgData name="Pandey, Himanshu" userId="3584c22b-b20a-47c8-aa2b-bb7a043a0b65" providerId="ADAL" clId="{DB2224AE-2BCA-4D27-80D4-721D0FA92B16}"/>
    <pc:docChg chg="undo custSel addSld modSld">
      <pc:chgData name="Pandey, Himanshu" userId="3584c22b-b20a-47c8-aa2b-bb7a043a0b65" providerId="ADAL" clId="{DB2224AE-2BCA-4D27-80D4-721D0FA92B16}" dt="2021-04-14T16:09:19.221" v="214" actId="478"/>
      <pc:docMkLst>
        <pc:docMk/>
      </pc:docMkLst>
      <pc:sldChg chg="modSp add">
        <pc:chgData name="Pandey, Himanshu" userId="3584c22b-b20a-47c8-aa2b-bb7a043a0b65" providerId="ADAL" clId="{DB2224AE-2BCA-4D27-80D4-721D0FA92B16}" dt="2021-04-06T14:10:36.877" v="144" actId="207"/>
        <pc:sldMkLst>
          <pc:docMk/>
          <pc:sldMk cId="1086272394" sldId="438"/>
        </pc:sldMkLst>
        <pc:spChg chg="mod">
          <ac:chgData name="Pandey, Himanshu" userId="3584c22b-b20a-47c8-aa2b-bb7a043a0b65" providerId="ADAL" clId="{DB2224AE-2BCA-4D27-80D4-721D0FA92B16}" dt="2021-04-06T14:10:36.877" v="144" actId="207"/>
          <ac:spMkLst>
            <pc:docMk/>
            <pc:sldMk cId="1086272394" sldId="438"/>
            <ac:spMk id="2" creationId="{DB208CFC-53A7-482A-A68A-4A132F661D04}"/>
          </ac:spMkLst>
        </pc:spChg>
      </pc:sldChg>
      <pc:sldChg chg="addSp delSp modSp">
        <pc:chgData name="Pandey, Himanshu" userId="3584c22b-b20a-47c8-aa2b-bb7a043a0b65" providerId="ADAL" clId="{DB2224AE-2BCA-4D27-80D4-721D0FA92B16}" dt="2021-04-14T16:09:19.221" v="214" actId="478"/>
        <pc:sldMkLst>
          <pc:docMk/>
          <pc:sldMk cId="1997701517" sldId="1722"/>
        </pc:sldMkLst>
        <pc:spChg chg="add del mod">
          <ac:chgData name="Pandey, Himanshu" userId="3584c22b-b20a-47c8-aa2b-bb7a043a0b65" providerId="ADAL" clId="{DB2224AE-2BCA-4D27-80D4-721D0FA92B16}" dt="2021-04-06T13:06:23.530" v="130" actId="478"/>
          <ac:spMkLst>
            <pc:docMk/>
            <pc:sldMk cId="1997701517" sldId="1722"/>
            <ac:spMk id="118" creationId="{B661D5A9-6398-43BC-BC78-3B8776B7054A}"/>
          </ac:spMkLst>
        </pc:spChg>
        <pc:spChg chg="add del mod">
          <ac:chgData name="Pandey, Himanshu" userId="3584c22b-b20a-47c8-aa2b-bb7a043a0b65" providerId="ADAL" clId="{DB2224AE-2BCA-4D27-80D4-721D0FA92B16}" dt="2021-04-14T16:09:19.221" v="214" actId="478"/>
          <ac:spMkLst>
            <pc:docMk/>
            <pc:sldMk cId="1997701517" sldId="1722"/>
            <ac:spMk id="119" creationId="{BA18BBDE-EDAB-43F0-BF46-781B01A6287E}"/>
          </ac:spMkLst>
        </pc:spChg>
        <pc:spChg chg="add del mod">
          <ac:chgData name="Pandey, Himanshu" userId="3584c22b-b20a-47c8-aa2b-bb7a043a0b65" providerId="ADAL" clId="{DB2224AE-2BCA-4D27-80D4-721D0FA92B16}" dt="2021-04-06T13:06:20.838" v="128" actId="478"/>
          <ac:spMkLst>
            <pc:docMk/>
            <pc:sldMk cId="1997701517" sldId="1722"/>
            <ac:spMk id="156" creationId="{D8BEEFF0-7232-4193-B3CC-B3112A9A4B63}"/>
          </ac:spMkLst>
        </pc:spChg>
        <pc:picChg chg="add del mod">
          <ac:chgData name="Pandey, Himanshu" userId="3584c22b-b20a-47c8-aa2b-bb7a043a0b65" providerId="ADAL" clId="{DB2224AE-2BCA-4D27-80D4-721D0FA92B16}" dt="2021-04-06T13:06:22.179" v="129" actId="478"/>
          <ac:picMkLst>
            <pc:docMk/>
            <pc:sldMk cId="1997701517" sldId="1722"/>
            <ac:picMk id="10242" creationId="{022AB2A2-D3B6-4A3E-B7A8-2E599426CA08}"/>
          </ac:picMkLst>
        </pc:picChg>
        <pc:picChg chg="add del mod">
          <ac:chgData name="Pandey, Himanshu" userId="3584c22b-b20a-47c8-aa2b-bb7a043a0b65" providerId="ADAL" clId="{DB2224AE-2BCA-4D27-80D4-721D0FA92B16}" dt="2021-04-06T13:06:24.418" v="131" actId="478"/>
          <ac:picMkLst>
            <pc:docMk/>
            <pc:sldMk cId="1997701517" sldId="1722"/>
            <ac:picMk id="10244" creationId="{419C594C-1EC5-4F4F-BCDC-2DC387AA76E9}"/>
          </ac:picMkLst>
        </pc:picChg>
        <pc:picChg chg="add del mod">
          <ac:chgData name="Pandey, Himanshu" userId="3584c22b-b20a-47c8-aa2b-bb7a043a0b65" providerId="ADAL" clId="{DB2224AE-2BCA-4D27-80D4-721D0FA92B16}" dt="2021-04-06T13:06:18.819" v="127" actId="478"/>
          <ac:picMkLst>
            <pc:docMk/>
            <pc:sldMk cId="1997701517" sldId="1722"/>
            <ac:picMk id="10246" creationId="{1EFAC39B-2F91-466A-91E6-57667B0BF7FC}"/>
          </ac:picMkLst>
        </pc:picChg>
      </pc:sldChg>
      <pc:sldChg chg="modSp">
        <pc:chgData name="Pandey, Himanshu" userId="3584c22b-b20a-47c8-aa2b-bb7a043a0b65" providerId="ADAL" clId="{DB2224AE-2BCA-4D27-80D4-721D0FA92B16}" dt="2021-04-02T14:00:01.425" v="0" actId="20577"/>
        <pc:sldMkLst>
          <pc:docMk/>
          <pc:sldMk cId="1307733305" sldId="1726"/>
        </pc:sldMkLst>
        <pc:spChg chg="mod">
          <ac:chgData name="Pandey, Himanshu" userId="3584c22b-b20a-47c8-aa2b-bb7a043a0b65" providerId="ADAL" clId="{DB2224AE-2BCA-4D27-80D4-721D0FA92B16}" dt="2021-04-02T14:00:01.425" v="0" actId="20577"/>
          <ac:spMkLst>
            <pc:docMk/>
            <pc:sldMk cId="1307733305" sldId="1726"/>
            <ac:spMk id="165" creationId="{1C29EA82-5F9C-2D45-9366-AE761B4CF763}"/>
          </ac:spMkLst>
        </pc:spChg>
      </pc:sldChg>
      <pc:sldChg chg="addSp delSp modSp">
        <pc:chgData name="Pandey, Himanshu" userId="3584c22b-b20a-47c8-aa2b-bb7a043a0b65" providerId="ADAL" clId="{DB2224AE-2BCA-4D27-80D4-721D0FA92B16}" dt="2021-04-06T20:40:56.676" v="155" actId="931"/>
        <pc:sldMkLst>
          <pc:docMk/>
          <pc:sldMk cId="3976708897" sldId="5541"/>
        </pc:sldMkLst>
        <pc:picChg chg="mod">
          <ac:chgData name="Pandey, Himanshu" userId="3584c22b-b20a-47c8-aa2b-bb7a043a0b65" providerId="ADAL" clId="{DB2224AE-2BCA-4D27-80D4-721D0FA92B16}" dt="2021-04-06T20:40:56.069" v="154" actId="1076"/>
          <ac:picMkLst>
            <pc:docMk/>
            <pc:sldMk cId="3976708897" sldId="5541"/>
            <ac:picMk id="7" creationId="{628F1372-C484-AC4E-B693-946405795047}"/>
          </ac:picMkLst>
        </pc:picChg>
        <pc:picChg chg="add del mod">
          <ac:chgData name="Pandey, Himanshu" userId="3584c22b-b20a-47c8-aa2b-bb7a043a0b65" providerId="ADAL" clId="{DB2224AE-2BCA-4D27-80D4-721D0FA92B16}" dt="2021-04-06T20:39:43.456" v="146" actId="478"/>
          <ac:picMkLst>
            <pc:docMk/>
            <pc:sldMk cId="3976708897" sldId="5541"/>
            <ac:picMk id="10" creationId="{9AD7E46F-240A-4A9C-A216-19FB1C963FA6}"/>
          </ac:picMkLst>
        </pc:picChg>
        <pc:picChg chg="add del mod">
          <ac:chgData name="Pandey, Himanshu" userId="3584c22b-b20a-47c8-aa2b-bb7a043a0b65" providerId="ADAL" clId="{DB2224AE-2BCA-4D27-80D4-721D0FA92B16}" dt="2021-04-06T20:40:56.676" v="155" actId="931"/>
          <ac:picMkLst>
            <pc:docMk/>
            <pc:sldMk cId="3976708897" sldId="5541"/>
            <ac:picMk id="48" creationId="{BDC263D2-BF9A-4BEA-86C9-DC645DD067FE}"/>
          </ac:picMkLst>
        </pc:picChg>
      </pc:sldChg>
      <pc:sldChg chg="addSp delSp modSp add">
        <pc:chgData name="Pandey, Himanshu" userId="3584c22b-b20a-47c8-aa2b-bb7a043a0b65" providerId="ADAL" clId="{DB2224AE-2BCA-4D27-80D4-721D0FA92B16}" dt="2021-04-08T13:40:30.419" v="213" actId="14826"/>
        <pc:sldMkLst>
          <pc:docMk/>
          <pc:sldMk cId="2854242103" sldId="5542"/>
        </pc:sldMkLst>
        <pc:spChg chg="mod">
          <ac:chgData name="Pandey, Himanshu" userId="3584c22b-b20a-47c8-aa2b-bb7a043a0b65" providerId="ADAL" clId="{DB2224AE-2BCA-4D27-80D4-721D0FA92B16}" dt="2021-04-07T16:00:55.572" v="200" actId="1076"/>
          <ac:spMkLst>
            <pc:docMk/>
            <pc:sldMk cId="2854242103" sldId="5542"/>
            <ac:spMk id="2" creationId="{DB208CFC-53A7-482A-A68A-4A132F661D04}"/>
          </ac:spMkLst>
        </pc:spChg>
        <pc:spChg chg="add del">
          <ac:chgData name="Pandey, Himanshu" userId="3584c22b-b20a-47c8-aa2b-bb7a043a0b65" providerId="ADAL" clId="{DB2224AE-2BCA-4D27-80D4-721D0FA92B16}" dt="2021-04-07T23:17:37.897" v="211" actId="478"/>
          <ac:spMkLst>
            <pc:docMk/>
            <pc:sldMk cId="2854242103" sldId="5542"/>
            <ac:spMk id="3" creationId="{4BA29769-27D1-4442-BF99-CC6D2D0C10CB}"/>
          </ac:spMkLst>
        </pc:spChg>
        <pc:spChg chg="mod">
          <ac:chgData name="Pandey, Himanshu" userId="3584c22b-b20a-47c8-aa2b-bb7a043a0b65" providerId="ADAL" clId="{DB2224AE-2BCA-4D27-80D4-721D0FA92B16}" dt="2021-04-06T21:04:39.841" v="180" actId="1076"/>
          <ac:spMkLst>
            <pc:docMk/>
            <pc:sldMk cId="2854242103" sldId="5542"/>
            <ac:spMk id="19" creationId="{BE3FCE27-3F4E-DF4C-91AF-3CC4F22BC61B}"/>
          </ac:spMkLst>
        </pc:spChg>
        <pc:spChg chg="del">
          <ac:chgData name="Pandey, Himanshu" userId="3584c22b-b20a-47c8-aa2b-bb7a043a0b65" providerId="ADAL" clId="{DB2224AE-2BCA-4D27-80D4-721D0FA92B16}" dt="2021-04-07T23:17:29.372" v="206" actId="478"/>
          <ac:spMkLst>
            <pc:docMk/>
            <pc:sldMk cId="2854242103" sldId="5542"/>
            <ac:spMk id="30" creationId="{6DD94297-970B-6042-B817-3E684DE56F9F}"/>
          </ac:spMkLst>
        </pc:spChg>
        <pc:spChg chg="del">
          <ac:chgData name="Pandey, Himanshu" userId="3584c22b-b20a-47c8-aa2b-bb7a043a0b65" providerId="ADAL" clId="{DB2224AE-2BCA-4D27-80D4-721D0FA92B16}" dt="2021-04-07T23:17:28.342" v="205" actId="478"/>
          <ac:spMkLst>
            <pc:docMk/>
            <pc:sldMk cId="2854242103" sldId="5542"/>
            <ac:spMk id="31" creationId="{8B4BB9D2-5F88-BD45-BCE8-060CD35D36B7}"/>
          </ac:spMkLst>
        </pc:spChg>
        <pc:spChg chg="del">
          <ac:chgData name="Pandey, Himanshu" userId="3584c22b-b20a-47c8-aa2b-bb7a043a0b65" providerId="ADAL" clId="{DB2224AE-2BCA-4D27-80D4-721D0FA92B16}" dt="2021-04-07T23:17:25.523" v="203" actId="478"/>
          <ac:spMkLst>
            <pc:docMk/>
            <pc:sldMk cId="2854242103" sldId="5542"/>
            <ac:spMk id="32" creationId="{D1A3A3E3-13E0-FB4D-BFAC-016195C17B88}"/>
          </ac:spMkLst>
        </pc:spChg>
        <pc:spChg chg="del">
          <ac:chgData name="Pandey, Himanshu" userId="3584c22b-b20a-47c8-aa2b-bb7a043a0b65" providerId="ADAL" clId="{DB2224AE-2BCA-4D27-80D4-721D0FA92B16}" dt="2021-04-07T23:17:26.954" v="204" actId="478"/>
          <ac:spMkLst>
            <pc:docMk/>
            <pc:sldMk cId="2854242103" sldId="5542"/>
            <ac:spMk id="33" creationId="{60693C52-6401-254F-A081-0BD9E094A6DC}"/>
          </ac:spMkLst>
        </pc:spChg>
        <pc:spChg chg="del">
          <ac:chgData name="Pandey, Himanshu" userId="3584c22b-b20a-47c8-aa2b-bb7a043a0b65" providerId="ADAL" clId="{DB2224AE-2BCA-4D27-80D4-721D0FA92B16}" dt="2021-04-07T23:17:19.149" v="202" actId="478"/>
          <ac:spMkLst>
            <pc:docMk/>
            <pc:sldMk cId="2854242103" sldId="5542"/>
            <ac:spMk id="34" creationId="{B90837BE-8DB7-9145-A844-2B2F7DAA8E94}"/>
          </ac:spMkLst>
        </pc:spChg>
        <pc:spChg chg="del">
          <ac:chgData name="Pandey, Himanshu" userId="3584c22b-b20a-47c8-aa2b-bb7a043a0b65" providerId="ADAL" clId="{DB2224AE-2BCA-4D27-80D4-721D0FA92B16}" dt="2021-04-08T13:39:43.269" v="212" actId="478"/>
          <ac:spMkLst>
            <pc:docMk/>
            <pc:sldMk cId="2854242103" sldId="5542"/>
            <ac:spMk id="35" creationId="{005C773B-D7D2-7148-B37B-8043A7FAB0EE}"/>
          </ac:spMkLst>
        </pc:spChg>
        <pc:spChg chg="mod">
          <ac:chgData name="Pandey, Himanshu" userId="3584c22b-b20a-47c8-aa2b-bb7a043a0b65" providerId="ADAL" clId="{DB2224AE-2BCA-4D27-80D4-721D0FA92B16}" dt="2021-04-06T21:06:28.759" v="189" actId="1076"/>
          <ac:spMkLst>
            <pc:docMk/>
            <pc:sldMk cId="2854242103" sldId="5542"/>
            <ac:spMk id="42" creationId="{B9573751-27E9-3448-9ABB-960C560E168F}"/>
          </ac:spMkLst>
        </pc:spChg>
        <pc:grpChg chg="mod">
          <ac:chgData name="Pandey, Himanshu" userId="3584c22b-b20a-47c8-aa2b-bb7a043a0b65" providerId="ADAL" clId="{DB2224AE-2BCA-4D27-80D4-721D0FA92B16}" dt="2021-04-06T21:06:40.069" v="191" actId="1076"/>
          <ac:grpSpMkLst>
            <pc:docMk/>
            <pc:sldMk cId="2854242103" sldId="5542"/>
            <ac:grpSpMk id="14" creationId="{51F997C5-6AFD-C941-BF20-B74BBD775F0D}"/>
          </ac:grpSpMkLst>
        </pc:grpChg>
        <pc:grpChg chg="mod">
          <ac:chgData name="Pandey, Himanshu" userId="3584c22b-b20a-47c8-aa2b-bb7a043a0b65" providerId="ADAL" clId="{DB2224AE-2BCA-4D27-80D4-721D0FA92B16}" dt="2021-04-06T21:07:01.221" v="196" actId="1038"/>
          <ac:grpSpMkLst>
            <pc:docMk/>
            <pc:sldMk cId="2854242103" sldId="5542"/>
            <ac:grpSpMk id="17" creationId="{0ED5E893-D1DA-384E-A53D-29B6E59E2CB4}"/>
          </ac:grpSpMkLst>
        </pc:grpChg>
        <pc:grpChg chg="mod">
          <ac:chgData name="Pandey, Himanshu" userId="3584c22b-b20a-47c8-aa2b-bb7a043a0b65" providerId="ADAL" clId="{DB2224AE-2BCA-4D27-80D4-721D0FA92B16}" dt="2021-04-06T21:06:52.340" v="194" actId="1038"/>
          <ac:grpSpMkLst>
            <pc:docMk/>
            <pc:sldMk cId="2854242103" sldId="5542"/>
            <ac:grpSpMk id="20" creationId="{30FDA194-81A5-074C-8CA2-5E858B824269}"/>
          </ac:grpSpMkLst>
        </pc:grpChg>
        <pc:grpChg chg="mod">
          <ac:chgData name="Pandey, Himanshu" userId="3584c22b-b20a-47c8-aa2b-bb7a043a0b65" providerId="ADAL" clId="{DB2224AE-2BCA-4D27-80D4-721D0FA92B16}" dt="2021-04-06T21:07:01.221" v="196" actId="1038"/>
          <ac:grpSpMkLst>
            <pc:docMk/>
            <pc:sldMk cId="2854242103" sldId="5542"/>
            <ac:grpSpMk id="23" creationId="{3BD1D5FD-B93A-194D-90FD-97BD2A218889}"/>
          </ac:grpSpMkLst>
        </pc:grpChg>
        <pc:grpChg chg="mod">
          <ac:chgData name="Pandey, Himanshu" userId="3584c22b-b20a-47c8-aa2b-bb7a043a0b65" providerId="ADAL" clId="{DB2224AE-2BCA-4D27-80D4-721D0FA92B16}" dt="2021-04-06T21:06:36.490" v="190" actId="1076"/>
          <ac:grpSpMkLst>
            <pc:docMk/>
            <pc:sldMk cId="2854242103" sldId="5542"/>
            <ac:grpSpMk id="41" creationId="{270BBF14-35BC-2049-B75E-0D75A0A0AFA2}"/>
          </ac:grpSpMkLst>
        </pc:grpChg>
        <pc:grpChg chg="mod">
          <ac:chgData name="Pandey, Himanshu" userId="3584c22b-b20a-47c8-aa2b-bb7a043a0b65" providerId="ADAL" clId="{DB2224AE-2BCA-4D27-80D4-721D0FA92B16}" dt="2021-04-06T21:07:01.221" v="196" actId="1038"/>
          <ac:grpSpMkLst>
            <pc:docMk/>
            <pc:sldMk cId="2854242103" sldId="5542"/>
            <ac:grpSpMk id="44" creationId="{5A318269-81B8-8941-BCC8-CCE20C68108F}"/>
          </ac:grpSpMkLst>
        </pc:grpChg>
        <pc:picChg chg="del">
          <ac:chgData name="Pandey, Himanshu" userId="3584c22b-b20a-47c8-aa2b-bb7a043a0b65" providerId="ADAL" clId="{DB2224AE-2BCA-4D27-80D4-721D0FA92B16}" dt="2021-04-06T20:41:03.970" v="157" actId="478"/>
          <ac:picMkLst>
            <pc:docMk/>
            <pc:sldMk cId="2854242103" sldId="5542"/>
            <ac:picMk id="7" creationId="{628F1372-C484-AC4E-B693-946405795047}"/>
          </ac:picMkLst>
        </pc:picChg>
        <pc:picChg chg="add del mod ord">
          <ac:chgData name="Pandey, Himanshu" userId="3584c22b-b20a-47c8-aa2b-bb7a043a0b65" providerId="ADAL" clId="{DB2224AE-2BCA-4D27-80D4-721D0FA92B16}" dt="2021-04-06T21:04:00.787" v="167" actId="478"/>
          <ac:picMkLst>
            <pc:docMk/>
            <pc:sldMk cId="2854242103" sldId="5542"/>
            <ac:picMk id="8" creationId="{ADFAFB5C-C823-4444-9FA7-555043F7DB1D}"/>
          </ac:picMkLst>
        </pc:picChg>
        <pc:picChg chg="add mod ord">
          <ac:chgData name="Pandey, Himanshu" userId="3584c22b-b20a-47c8-aa2b-bb7a043a0b65" providerId="ADAL" clId="{DB2224AE-2BCA-4D27-80D4-721D0FA92B16}" dt="2021-04-08T13:40:30.419" v="213" actId="14826"/>
          <ac:picMkLst>
            <pc:docMk/>
            <pc:sldMk cId="2854242103" sldId="5542"/>
            <ac:picMk id="12" creationId="{2A3621AC-5FB1-4318-AD27-76DF9B576106}"/>
          </ac:picMkLst>
        </pc:picChg>
        <pc:cxnChg chg="mod">
          <ac:chgData name="Pandey, Himanshu" userId="3584c22b-b20a-47c8-aa2b-bb7a043a0b65" providerId="ADAL" clId="{DB2224AE-2BCA-4D27-80D4-721D0FA92B16}" dt="2021-04-06T20:41:50.630" v="166" actId="14100"/>
          <ac:cxnSpMkLst>
            <pc:docMk/>
            <pc:sldMk cId="2854242103" sldId="5542"/>
            <ac:cxnSpMk id="9" creationId="{AC8DBCF2-287E-954B-B0D6-91CA4C7DD841}"/>
          </ac:cxnSpMkLst>
        </pc:cxnChg>
      </pc:sldChg>
    </pc:docChg>
  </pc:docChgLst>
  <pc:docChgLst>
    <pc:chgData name="Lamb, Ben" userId="S::benlamb@deloitte.com::88a6f5f3-f9e5-47eb-a109-670a0c68440d" providerId="AD" clId="Web-{DFFB2048-1FA8-4493-BD6F-4DB7F9C09A62}"/>
    <pc:docChg chg="modSld">
      <pc:chgData name="Lamb, Ben" userId="S::benlamb@deloitte.com::88a6f5f3-f9e5-47eb-a109-670a0c68440d" providerId="AD" clId="Web-{DFFB2048-1FA8-4493-BD6F-4DB7F9C09A62}" dt="2021-06-28T16:39:53.019" v="2" actId="1076"/>
      <pc:docMkLst>
        <pc:docMk/>
      </pc:docMkLst>
      <pc:sldChg chg="modSp">
        <pc:chgData name="Lamb, Ben" userId="S::benlamb@deloitte.com::88a6f5f3-f9e5-47eb-a109-670a0c68440d" providerId="AD" clId="Web-{DFFB2048-1FA8-4493-BD6F-4DB7F9C09A62}" dt="2021-06-28T16:39:53.019" v="2" actId="1076"/>
        <pc:sldMkLst>
          <pc:docMk/>
          <pc:sldMk cId="2854242103" sldId="5542"/>
        </pc:sldMkLst>
        <pc:picChg chg="mod">
          <ac:chgData name="Lamb, Ben" userId="S::benlamb@deloitte.com::88a6f5f3-f9e5-47eb-a109-670a0c68440d" providerId="AD" clId="Web-{DFFB2048-1FA8-4493-BD6F-4DB7F9C09A62}" dt="2021-06-28T16:39:53.019" v="2" actId="1076"/>
          <ac:picMkLst>
            <pc:docMk/>
            <pc:sldMk cId="2854242103" sldId="5542"/>
            <ac:picMk id="12" creationId="{2A3621AC-5FB1-4318-AD27-76DF9B576106}"/>
          </ac:picMkLst>
        </pc:picChg>
      </pc:sldChg>
    </pc:docChg>
  </pc:docChgLst>
  <pc:docChgLst>
    <pc:chgData name="Lamb, Ben" userId="S::benlamb@deloitte.com::88a6f5f3-f9e5-47eb-a109-670a0c68440d" providerId="AD" clId="Web-{6D94C911-170F-410E-AA07-CB1AD41766B3}"/>
    <pc:docChg chg="modSld">
      <pc:chgData name="Lamb, Ben" userId="S::benlamb@deloitte.com::88a6f5f3-f9e5-47eb-a109-670a0c68440d" providerId="AD" clId="Web-{6D94C911-170F-410E-AA07-CB1AD41766B3}" dt="2021-04-07T02:11:58.520" v="5" actId="20577"/>
      <pc:docMkLst>
        <pc:docMk/>
      </pc:docMkLst>
      <pc:sldChg chg="modSp">
        <pc:chgData name="Lamb, Ben" userId="S::benlamb@deloitte.com::88a6f5f3-f9e5-47eb-a109-670a0c68440d" providerId="AD" clId="Web-{6D94C911-170F-410E-AA07-CB1AD41766B3}" dt="2021-04-07T02:11:58.520" v="5" actId="20577"/>
        <pc:sldMkLst>
          <pc:docMk/>
          <pc:sldMk cId="2854242103" sldId="5542"/>
        </pc:sldMkLst>
        <pc:spChg chg="mod">
          <ac:chgData name="Lamb, Ben" userId="S::benlamb@deloitte.com::88a6f5f3-f9e5-47eb-a109-670a0c68440d" providerId="AD" clId="Web-{6D94C911-170F-410E-AA07-CB1AD41766B3}" dt="2021-04-07T02:11:58.520" v="5" actId="20577"/>
          <ac:spMkLst>
            <pc:docMk/>
            <pc:sldMk cId="2854242103" sldId="5542"/>
            <ac:spMk id="2" creationId="{DB208CFC-53A7-482A-A68A-4A132F661D04}"/>
          </ac:spMkLst>
        </pc:spChg>
      </pc:sldChg>
    </pc:docChg>
  </pc:docChgLst>
  <pc:docChgLst>
    <pc:chgData name="Lamb, Ben" userId="S::benlamb@deloitte.com::88a6f5f3-f9e5-47eb-a109-670a0c68440d" providerId="AD" clId="Web-{13EB2433-B3B0-4C24-8C79-58617BF20BE1}"/>
    <pc:docChg chg="modSld">
      <pc:chgData name="Lamb, Ben" userId="S::benlamb@deloitte.com::88a6f5f3-f9e5-47eb-a109-670a0c68440d" providerId="AD" clId="Web-{13EB2433-B3B0-4C24-8C79-58617BF20BE1}" dt="2021-04-01T18:39:33.446" v="4" actId="20577"/>
      <pc:docMkLst>
        <pc:docMk/>
      </pc:docMkLst>
      <pc:sldChg chg="modSp">
        <pc:chgData name="Lamb, Ben" userId="S::benlamb@deloitte.com::88a6f5f3-f9e5-47eb-a109-670a0c68440d" providerId="AD" clId="Web-{13EB2433-B3B0-4C24-8C79-58617BF20BE1}" dt="2021-04-01T18:39:33.446" v="4" actId="20577"/>
        <pc:sldMkLst>
          <pc:docMk/>
          <pc:sldMk cId="911343285" sldId="1714"/>
        </pc:sldMkLst>
        <pc:spChg chg="mod">
          <ac:chgData name="Lamb, Ben" userId="S::benlamb@deloitte.com::88a6f5f3-f9e5-47eb-a109-670a0c68440d" providerId="AD" clId="Web-{13EB2433-B3B0-4C24-8C79-58617BF20BE1}" dt="2021-04-01T18:39:33.446" v="4" actId="20577"/>
          <ac:spMkLst>
            <pc:docMk/>
            <pc:sldMk cId="911343285" sldId="1714"/>
            <ac:spMk id="5" creationId="{00000000-0000-0000-0000-000000000000}"/>
          </ac:spMkLst>
        </pc:spChg>
      </pc:sldChg>
    </pc:docChg>
  </pc:docChgLst>
  <pc:docChgLst>
    <pc:chgData name="Lamb, Ben" userId="S::benlamb@deloitte.com::88a6f5f3-f9e5-47eb-a109-670a0c68440d" providerId="AD" clId="Web-{776B18EC-AC9A-4D59-A9D9-4DE53ED41180}"/>
    <pc:docChg chg="addSld modSld">
      <pc:chgData name="Lamb, Ben" userId="S::benlamb@deloitte.com::88a6f5f3-f9e5-47eb-a109-670a0c68440d" providerId="AD" clId="Web-{776B18EC-AC9A-4D59-A9D9-4DE53ED41180}" dt="2021-03-19T18:38:29.987" v="1147" actId="20577"/>
      <pc:docMkLst>
        <pc:docMk/>
      </pc:docMkLst>
      <pc:sldChg chg="modSp">
        <pc:chgData name="Lamb, Ben" userId="S::benlamb@deloitte.com::88a6f5f3-f9e5-47eb-a109-670a0c68440d" providerId="AD" clId="Web-{776B18EC-AC9A-4D59-A9D9-4DE53ED41180}" dt="2021-03-19T18:09:28.448" v="40" actId="20577"/>
        <pc:sldMkLst>
          <pc:docMk/>
          <pc:sldMk cId="109857222" sldId="256"/>
        </pc:sldMkLst>
        <pc:spChg chg="mod">
          <ac:chgData name="Lamb, Ben" userId="S::benlamb@deloitte.com::88a6f5f3-f9e5-47eb-a109-670a0c68440d" providerId="AD" clId="Web-{776B18EC-AC9A-4D59-A9D9-4DE53ED41180}" dt="2021-03-19T18:09:26.152" v="39" actId="20577"/>
          <ac:spMkLst>
            <pc:docMk/>
            <pc:sldMk cId="109857222" sldId="256"/>
            <ac:spMk id="2" creationId="{00000000-0000-0000-0000-000000000000}"/>
          </ac:spMkLst>
        </pc:spChg>
        <pc:spChg chg="mod">
          <ac:chgData name="Lamb, Ben" userId="S::benlamb@deloitte.com::88a6f5f3-f9e5-47eb-a109-670a0c68440d" providerId="AD" clId="Web-{776B18EC-AC9A-4D59-A9D9-4DE53ED41180}" dt="2021-03-19T18:09:28.448" v="40" actId="20577"/>
          <ac:spMkLst>
            <pc:docMk/>
            <pc:sldMk cId="109857222" sldId="256"/>
            <ac:spMk id="3" creationId="{00000000-0000-0000-0000-000000000000}"/>
          </ac:spMkLst>
        </pc:spChg>
      </pc:sldChg>
      <pc:sldChg chg="modSp new">
        <pc:chgData name="Lamb, Ben" userId="S::benlamb@deloitte.com::88a6f5f3-f9e5-47eb-a109-670a0c68440d" providerId="AD" clId="Web-{776B18EC-AC9A-4D59-A9D9-4DE53ED41180}" dt="2021-03-19T18:20:19.842" v="458" actId="20577"/>
        <pc:sldMkLst>
          <pc:docMk/>
          <pc:sldMk cId="2364546764" sldId="257"/>
        </pc:sldMkLst>
        <pc:spChg chg="mod">
          <ac:chgData name="Lamb, Ben" userId="S::benlamb@deloitte.com::88a6f5f3-f9e5-47eb-a109-670a0c68440d" providerId="AD" clId="Web-{776B18EC-AC9A-4D59-A9D9-4DE53ED41180}" dt="2021-03-19T18:14:16.778" v="72" actId="20577"/>
          <ac:spMkLst>
            <pc:docMk/>
            <pc:sldMk cId="2364546764" sldId="257"/>
            <ac:spMk id="2" creationId="{DD15E65C-F4EF-44EB-82D7-0352E8A99F82}"/>
          </ac:spMkLst>
        </pc:spChg>
        <pc:spChg chg="mod">
          <ac:chgData name="Lamb, Ben" userId="S::benlamb@deloitte.com::88a6f5f3-f9e5-47eb-a109-670a0c68440d" providerId="AD" clId="Web-{776B18EC-AC9A-4D59-A9D9-4DE53ED41180}" dt="2021-03-19T18:20:19.842" v="458" actId="20577"/>
          <ac:spMkLst>
            <pc:docMk/>
            <pc:sldMk cId="2364546764" sldId="257"/>
            <ac:spMk id="3" creationId="{56305F7F-B15F-4260-A5C2-A47F64F85F05}"/>
          </ac:spMkLst>
        </pc:spChg>
        <pc:spChg chg="mod">
          <ac:chgData name="Lamb, Ben" userId="S::benlamb@deloitte.com::88a6f5f3-f9e5-47eb-a109-670a0c68440d" providerId="AD" clId="Web-{776B18EC-AC9A-4D59-A9D9-4DE53ED41180}" dt="2021-03-19T18:19:51.827" v="454" actId="20577"/>
          <ac:spMkLst>
            <pc:docMk/>
            <pc:sldMk cId="2364546764" sldId="257"/>
            <ac:spMk id="4" creationId="{F47F7DB1-81A3-4F3A-9DF6-7ABC8FB586DB}"/>
          </ac:spMkLst>
        </pc:spChg>
      </pc:sldChg>
      <pc:sldChg chg="modSp new">
        <pc:chgData name="Lamb, Ben" userId="S::benlamb@deloitte.com::88a6f5f3-f9e5-47eb-a109-670a0c68440d" providerId="AD" clId="Web-{776B18EC-AC9A-4D59-A9D9-4DE53ED41180}" dt="2021-03-19T18:15:22.716" v="142" actId="20577"/>
        <pc:sldMkLst>
          <pc:docMk/>
          <pc:sldMk cId="3111907793" sldId="258"/>
        </pc:sldMkLst>
        <pc:spChg chg="mod">
          <ac:chgData name="Lamb, Ben" userId="S::benlamb@deloitte.com::88a6f5f3-f9e5-47eb-a109-670a0c68440d" providerId="AD" clId="Web-{776B18EC-AC9A-4D59-A9D9-4DE53ED41180}" dt="2021-03-19T18:12:43.231" v="52" actId="20577"/>
          <ac:spMkLst>
            <pc:docMk/>
            <pc:sldMk cId="3111907793" sldId="258"/>
            <ac:spMk id="2" creationId="{E685D0D5-836E-4DDC-922A-828D0DD31F74}"/>
          </ac:spMkLst>
        </pc:spChg>
        <pc:spChg chg="mod">
          <ac:chgData name="Lamb, Ben" userId="S::benlamb@deloitte.com::88a6f5f3-f9e5-47eb-a109-670a0c68440d" providerId="AD" clId="Web-{776B18EC-AC9A-4D59-A9D9-4DE53ED41180}" dt="2021-03-19T18:15:22.716" v="142" actId="20577"/>
          <ac:spMkLst>
            <pc:docMk/>
            <pc:sldMk cId="3111907793" sldId="258"/>
            <ac:spMk id="3" creationId="{E764C15A-980C-4504-9BDC-4996EA1FED46}"/>
          </ac:spMkLst>
        </pc:spChg>
      </pc:sldChg>
      <pc:sldChg chg="modSp new">
        <pc:chgData name="Lamb, Ben" userId="S::benlamb@deloitte.com::88a6f5f3-f9e5-47eb-a109-670a0c68440d" providerId="AD" clId="Web-{776B18EC-AC9A-4D59-A9D9-4DE53ED41180}" dt="2021-03-19T18:34:39.205" v="864" actId="20577"/>
        <pc:sldMkLst>
          <pc:docMk/>
          <pc:sldMk cId="1715448322" sldId="259"/>
        </pc:sldMkLst>
        <pc:spChg chg="mod">
          <ac:chgData name="Lamb, Ben" userId="S::benlamb@deloitte.com::88a6f5f3-f9e5-47eb-a109-670a0c68440d" providerId="AD" clId="Web-{776B18EC-AC9A-4D59-A9D9-4DE53ED41180}" dt="2021-03-19T18:17:05.044" v="262" actId="20577"/>
          <ac:spMkLst>
            <pc:docMk/>
            <pc:sldMk cId="1715448322" sldId="259"/>
            <ac:spMk id="2" creationId="{325EEF4A-04AE-4407-9E95-999A01506E45}"/>
          </ac:spMkLst>
        </pc:spChg>
        <pc:spChg chg="mod">
          <ac:chgData name="Lamb, Ben" userId="S::benlamb@deloitte.com::88a6f5f3-f9e5-47eb-a109-670a0c68440d" providerId="AD" clId="Web-{776B18EC-AC9A-4D59-A9D9-4DE53ED41180}" dt="2021-03-19T18:34:39.205" v="864" actId="20577"/>
          <ac:spMkLst>
            <pc:docMk/>
            <pc:sldMk cId="1715448322" sldId="259"/>
            <ac:spMk id="3" creationId="{C8088DC6-B419-4263-AC95-E7F35F448779}"/>
          </ac:spMkLst>
        </pc:spChg>
        <pc:spChg chg="mod">
          <ac:chgData name="Lamb, Ben" userId="S::benlamb@deloitte.com::88a6f5f3-f9e5-47eb-a109-670a0c68440d" providerId="AD" clId="Web-{776B18EC-AC9A-4D59-A9D9-4DE53ED41180}" dt="2021-03-19T18:34:39.205" v="864" actId="20577"/>
          <ac:spMkLst>
            <pc:docMk/>
            <pc:sldMk cId="1715448322" sldId="259"/>
            <ac:spMk id="4" creationId="{980DF6B4-9BF5-442A-8A09-B39D49EDE075}"/>
          </ac:spMkLst>
        </pc:spChg>
      </pc:sldChg>
      <pc:sldChg chg="modSp new">
        <pc:chgData name="Lamb, Ben" userId="S::benlamb@deloitte.com::88a6f5f3-f9e5-47eb-a109-670a0c68440d" providerId="AD" clId="Web-{776B18EC-AC9A-4D59-A9D9-4DE53ED41180}" dt="2021-03-19T18:33:56.501" v="773" actId="20577"/>
        <pc:sldMkLst>
          <pc:docMk/>
          <pc:sldMk cId="3383281862" sldId="260"/>
        </pc:sldMkLst>
        <pc:spChg chg="mod">
          <ac:chgData name="Lamb, Ben" userId="S::benlamb@deloitte.com::88a6f5f3-f9e5-47eb-a109-670a0c68440d" providerId="AD" clId="Web-{776B18EC-AC9A-4D59-A9D9-4DE53ED41180}" dt="2021-03-19T18:26:24.046" v="576" actId="20577"/>
          <ac:spMkLst>
            <pc:docMk/>
            <pc:sldMk cId="3383281862" sldId="260"/>
            <ac:spMk id="2" creationId="{866854D0-FCB5-4D80-A1E4-D715E3B082A4}"/>
          </ac:spMkLst>
        </pc:spChg>
        <pc:spChg chg="mod">
          <ac:chgData name="Lamb, Ben" userId="S::benlamb@deloitte.com::88a6f5f3-f9e5-47eb-a109-670a0c68440d" providerId="AD" clId="Web-{776B18EC-AC9A-4D59-A9D9-4DE53ED41180}" dt="2021-03-19T18:33:56.501" v="773" actId="20577"/>
          <ac:spMkLst>
            <pc:docMk/>
            <pc:sldMk cId="3383281862" sldId="260"/>
            <ac:spMk id="3" creationId="{FCAAF10E-1C27-4D0E-BBF1-77B67261FAAD}"/>
          </ac:spMkLst>
        </pc:spChg>
      </pc:sldChg>
      <pc:sldChg chg="modSp new">
        <pc:chgData name="Lamb, Ben" userId="S::benlamb@deloitte.com::88a6f5f3-f9e5-47eb-a109-670a0c68440d" providerId="AD" clId="Web-{776B18EC-AC9A-4D59-A9D9-4DE53ED41180}" dt="2021-03-19T18:38:29.987" v="1147" actId="20577"/>
        <pc:sldMkLst>
          <pc:docMk/>
          <pc:sldMk cId="2963837874" sldId="261"/>
        </pc:sldMkLst>
        <pc:spChg chg="mod">
          <ac:chgData name="Lamb, Ben" userId="S::benlamb@deloitte.com::88a6f5f3-f9e5-47eb-a109-670a0c68440d" providerId="AD" clId="Web-{776B18EC-AC9A-4D59-A9D9-4DE53ED41180}" dt="2021-03-19T18:35:24.471" v="867" actId="20577"/>
          <ac:spMkLst>
            <pc:docMk/>
            <pc:sldMk cId="2963837874" sldId="261"/>
            <ac:spMk id="2" creationId="{AD644E64-F954-4288-A504-12E14B683D66}"/>
          </ac:spMkLst>
        </pc:spChg>
        <pc:spChg chg="mod">
          <ac:chgData name="Lamb, Ben" userId="S::benlamb@deloitte.com::88a6f5f3-f9e5-47eb-a109-670a0c68440d" providerId="AD" clId="Web-{776B18EC-AC9A-4D59-A9D9-4DE53ED41180}" dt="2021-03-19T18:38:29.987" v="1147" actId="20577"/>
          <ac:spMkLst>
            <pc:docMk/>
            <pc:sldMk cId="2963837874" sldId="261"/>
            <ac:spMk id="3" creationId="{C8870F36-A280-4200-985F-C925A84D9509}"/>
          </ac:spMkLst>
        </pc:spChg>
        <pc:spChg chg="mod">
          <ac:chgData name="Lamb, Ben" userId="S::benlamb@deloitte.com::88a6f5f3-f9e5-47eb-a109-670a0c68440d" providerId="AD" clId="Web-{776B18EC-AC9A-4D59-A9D9-4DE53ED41180}" dt="2021-03-19T18:37:45.737" v="1119" actId="20577"/>
          <ac:spMkLst>
            <pc:docMk/>
            <pc:sldMk cId="2963837874" sldId="261"/>
            <ac:spMk id="4" creationId="{BF431E6A-3F2C-4E6D-97AA-5E4342E036AB}"/>
          </ac:spMkLst>
        </pc:spChg>
      </pc:sldChg>
    </pc:docChg>
  </pc:docChgLst>
  <pc:docChgLst>
    <pc:chgData name="Lamb, Ben" userId="88a6f5f3-f9e5-47eb-a109-670a0c68440d" providerId="ADAL" clId="{61283625-AFAA-A843-B4D4-BB41EDC646A4}"/>
    <pc:docChg chg="undo redo custSel addSld delSld modSld sldOrd modMainMaster">
      <pc:chgData name="Lamb, Ben" userId="88a6f5f3-f9e5-47eb-a109-670a0c68440d" providerId="ADAL" clId="{61283625-AFAA-A843-B4D4-BB41EDC646A4}" dt="2021-04-01T18:04:23.749" v="16631" actId="20578"/>
      <pc:docMkLst>
        <pc:docMk/>
      </pc:docMkLst>
      <pc:sldChg chg="modSp del">
        <pc:chgData name="Lamb, Ben" userId="88a6f5f3-f9e5-47eb-a109-670a0c68440d" providerId="ADAL" clId="{61283625-AFAA-A843-B4D4-BB41EDC646A4}" dt="2021-03-25T18:16:06.380" v="145" actId="2696"/>
        <pc:sldMkLst>
          <pc:docMk/>
          <pc:sldMk cId="109857222" sldId="256"/>
        </pc:sldMkLst>
        <pc:spChg chg="mod">
          <ac:chgData name="Lamb, Ben" userId="88a6f5f3-f9e5-47eb-a109-670a0c68440d" providerId="ADAL" clId="{61283625-AFAA-A843-B4D4-BB41EDC646A4}" dt="2021-03-25T18:14:04.474" v="98"/>
          <ac:spMkLst>
            <pc:docMk/>
            <pc:sldMk cId="109857222" sldId="256"/>
            <ac:spMk id="2" creationId="{00000000-0000-0000-0000-000000000000}"/>
          </ac:spMkLst>
        </pc:spChg>
        <pc:spChg chg="mod">
          <ac:chgData name="Lamb, Ben" userId="88a6f5f3-f9e5-47eb-a109-670a0c68440d" providerId="ADAL" clId="{61283625-AFAA-A843-B4D4-BB41EDC646A4}" dt="2021-03-25T18:14:04.474" v="98"/>
          <ac:spMkLst>
            <pc:docMk/>
            <pc:sldMk cId="109857222" sldId="256"/>
            <ac:spMk id="3" creationId="{00000000-0000-0000-0000-000000000000}"/>
          </ac:spMkLst>
        </pc:spChg>
      </pc:sldChg>
      <pc:sldChg chg="addSp delSp modSp mod modClrScheme chgLayout">
        <pc:chgData name="Lamb, Ben" userId="88a6f5f3-f9e5-47eb-a109-670a0c68440d" providerId="ADAL" clId="{61283625-AFAA-A843-B4D4-BB41EDC646A4}" dt="2021-04-01T15:25:35.680" v="13987" actId="20577"/>
        <pc:sldMkLst>
          <pc:docMk/>
          <pc:sldMk cId="2364546764" sldId="257"/>
        </pc:sldMkLst>
        <pc:spChg chg="mod ord">
          <ac:chgData name="Lamb, Ben" userId="88a6f5f3-f9e5-47eb-a109-670a0c68440d" providerId="ADAL" clId="{61283625-AFAA-A843-B4D4-BB41EDC646A4}" dt="2021-04-01T15:25:12.713" v="13969" actId="27636"/>
          <ac:spMkLst>
            <pc:docMk/>
            <pc:sldMk cId="2364546764" sldId="257"/>
            <ac:spMk id="2" creationId="{DD15E65C-F4EF-44EB-82D7-0352E8A99F82}"/>
          </ac:spMkLst>
        </pc:spChg>
        <pc:spChg chg="mod ord">
          <ac:chgData name="Lamb, Ben" userId="88a6f5f3-f9e5-47eb-a109-670a0c68440d" providerId="ADAL" clId="{61283625-AFAA-A843-B4D4-BB41EDC646A4}" dt="2021-03-31T22:28:12.343" v="12117" actId="14100"/>
          <ac:spMkLst>
            <pc:docMk/>
            <pc:sldMk cId="2364546764" sldId="257"/>
            <ac:spMk id="3" creationId="{56305F7F-B15F-4260-A5C2-A47F64F85F05}"/>
          </ac:spMkLst>
        </pc:spChg>
        <pc:spChg chg="add del mod ord">
          <ac:chgData name="Lamb, Ben" userId="88a6f5f3-f9e5-47eb-a109-670a0c68440d" providerId="ADAL" clId="{61283625-AFAA-A843-B4D4-BB41EDC646A4}" dt="2021-03-30T16:39:11.301" v="4894" actId="700"/>
          <ac:spMkLst>
            <pc:docMk/>
            <pc:sldMk cId="2364546764" sldId="257"/>
            <ac:spMk id="4" creationId="{7812478A-1CFC-E94D-8CF6-01A1A4E7CF11}"/>
          </ac:spMkLst>
        </pc:spChg>
        <pc:spChg chg="del mod">
          <ac:chgData name="Lamb, Ben" userId="88a6f5f3-f9e5-47eb-a109-670a0c68440d" providerId="ADAL" clId="{61283625-AFAA-A843-B4D4-BB41EDC646A4}" dt="2021-03-26T18:05:41.719" v="1606" actId="478"/>
          <ac:spMkLst>
            <pc:docMk/>
            <pc:sldMk cId="2364546764" sldId="257"/>
            <ac:spMk id="4" creationId="{F47F7DB1-81A3-4F3A-9DF6-7ABC8FB586DB}"/>
          </ac:spMkLst>
        </pc:spChg>
        <pc:spChg chg="add mod ord">
          <ac:chgData name="Lamb, Ben" userId="88a6f5f3-f9e5-47eb-a109-670a0c68440d" providerId="ADAL" clId="{61283625-AFAA-A843-B4D4-BB41EDC646A4}" dt="2021-04-01T15:25:35.680" v="13987" actId="20577"/>
          <ac:spMkLst>
            <pc:docMk/>
            <pc:sldMk cId="2364546764" sldId="257"/>
            <ac:spMk id="5" creationId="{B4472F0F-057A-BB43-A51F-7C536E5DC033}"/>
          </ac:spMkLst>
        </pc:spChg>
        <pc:spChg chg="del mod topLvl">
          <ac:chgData name="Lamb, Ben" userId="88a6f5f3-f9e5-47eb-a109-670a0c68440d" providerId="ADAL" clId="{61283625-AFAA-A843-B4D4-BB41EDC646A4}" dt="2021-03-30T16:58:21.587" v="5448" actId="21"/>
          <ac:spMkLst>
            <pc:docMk/>
            <pc:sldMk cId="2364546764" sldId="257"/>
            <ac:spMk id="6" creationId="{20C16335-C81E-9D45-9679-384B0370F439}"/>
          </ac:spMkLst>
        </pc:spChg>
        <pc:spChg chg="add mod">
          <ac:chgData name="Lamb, Ben" userId="88a6f5f3-f9e5-47eb-a109-670a0c68440d" providerId="ADAL" clId="{61283625-AFAA-A843-B4D4-BB41EDC646A4}" dt="2021-04-01T15:24:58.284" v="13966" actId="1076"/>
          <ac:spMkLst>
            <pc:docMk/>
            <pc:sldMk cId="2364546764" sldId="257"/>
            <ac:spMk id="6" creationId="{55C0ADFB-C6DD-0B4A-97F2-6DE6F7CC0829}"/>
          </ac:spMkLst>
        </pc:spChg>
        <pc:spChg chg="del mod topLvl">
          <ac:chgData name="Lamb, Ben" userId="88a6f5f3-f9e5-47eb-a109-670a0c68440d" providerId="ADAL" clId="{61283625-AFAA-A843-B4D4-BB41EDC646A4}" dt="2021-03-30T16:58:21.587" v="5448" actId="21"/>
          <ac:spMkLst>
            <pc:docMk/>
            <pc:sldMk cId="2364546764" sldId="257"/>
            <ac:spMk id="7" creationId="{632E7446-0174-DC4A-A99A-BCB7B4C1AB4D}"/>
          </ac:spMkLst>
        </pc:spChg>
        <pc:spChg chg="add mod">
          <ac:chgData name="Lamb, Ben" userId="88a6f5f3-f9e5-47eb-a109-670a0c68440d" providerId="ADAL" clId="{61283625-AFAA-A843-B4D4-BB41EDC646A4}" dt="2021-04-01T15:24:52.249" v="13964" actId="20577"/>
          <ac:spMkLst>
            <pc:docMk/>
            <pc:sldMk cId="2364546764" sldId="257"/>
            <ac:spMk id="8" creationId="{5A2AA324-AED5-6D46-BFD5-168C00A39012}"/>
          </ac:spMkLst>
        </pc:spChg>
        <pc:spChg chg="del mod topLvl">
          <ac:chgData name="Lamb, Ben" userId="88a6f5f3-f9e5-47eb-a109-670a0c68440d" providerId="ADAL" clId="{61283625-AFAA-A843-B4D4-BB41EDC646A4}" dt="2021-03-26T18:28:29.949" v="2019" actId="478"/>
          <ac:spMkLst>
            <pc:docMk/>
            <pc:sldMk cId="2364546764" sldId="257"/>
            <ac:spMk id="8" creationId="{BAB323E7-1008-4648-B569-FA8A28D97A17}"/>
          </ac:spMkLst>
        </pc:spChg>
        <pc:spChg chg="del mod topLvl">
          <ac:chgData name="Lamb, Ben" userId="88a6f5f3-f9e5-47eb-a109-670a0c68440d" providerId="ADAL" clId="{61283625-AFAA-A843-B4D4-BB41EDC646A4}" dt="2021-03-26T18:26:59.147" v="1922" actId="478"/>
          <ac:spMkLst>
            <pc:docMk/>
            <pc:sldMk cId="2364546764" sldId="257"/>
            <ac:spMk id="9" creationId="{7D833F5C-198F-834E-997F-50933C2FE1EB}"/>
          </ac:spMkLst>
        </pc:spChg>
        <pc:spChg chg="add mod">
          <ac:chgData name="Lamb, Ben" userId="88a6f5f3-f9e5-47eb-a109-670a0c68440d" providerId="ADAL" clId="{61283625-AFAA-A843-B4D4-BB41EDC646A4}" dt="2021-04-01T15:25:32.660" v="13986" actId="20577"/>
          <ac:spMkLst>
            <pc:docMk/>
            <pc:sldMk cId="2364546764" sldId="257"/>
            <ac:spMk id="10" creationId="{8256B5A4-5537-4540-98B2-386976E562CD}"/>
          </ac:spMkLst>
        </pc:spChg>
        <pc:spChg chg="del mod topLvl">
          <ac:chgData name="Lamb, Ben" userId="88a6f5f3-f9e5-47eb-a109-670a0c68440d" providerId="ADAL" clId="{61283625-AFAA-A843-B4D4-BB41EDC646A4}" dt="2021-03-26T19:33:37.611" v="3712" actId="478"/>
          <ac:spMkLst>
            <pc:docMk/>
            <pc:sldMk cId="2364546764" sldId="257"/>
            <ac:spMk id="11" creationId="{4A3273C6-9FBF-AF40-8E75-5221E27BEB31}"/>
          </ac:spMkLst>
        </pc:spChg>
        <pc:spChg chg="del mod topLvl">
          <ac:chgData name="Lamb, Ben" userId="88a6f5f3-f9e5-47eb-a109-670a0c68440d" providerId="ADAL" clId="{61283625-AFAA-A843-B4D4-BB41EDC646A4}" dt="2021-03-30T16:58:21.587" v="5448" actId="21"/>
          <ac:spMkLst>
            <pc:docMk/>
            <pc:sldMk cId="2364546764" sldId="257"/>
            <ac:spMk id="12" creationId="{EA824697-A5D5-2845-BCDC-0450521A6658}"/>
          </ac:spMkLst>
        </pc:spChg>
        <pc:spChg chg="del mod topLvl">
          <ac:chgData name="Lamb, Ben" userId="88a6f5f3-f9e5-47eb-a109-670a0c68440d" providerId="ADAL" clId="{61283625-AFAA-A843-B4D4-BB41EDC646A4}" dt="2021-03-26T18:26:59.147" v="1922" actId="478"/>
          <ac:spMkLst>
            <pc:docMk/>
            <pc:sldMk cId="2364546764" sldId="257"/>
            <ac:spMk id="14" creationId="{2ADCA670-348C-6443-A42F-E0DDA11C7D5A}"/>
          </ac:spMkLst>
        </pc:spChg>
        <pc:spChg chg="del mod topLvl">
          <ac:chgData name="Lamb, Ben" userId="88a6f5f3-f9e5-47eb-a109-670a0c68440d" providerId="ADAL" clId="{61283625-AFAA-A843-B4D4-BB41EDC646A4}" dt="2021-03-30T16:58:21.587" v="5448" actId="21"/>
          <ac:spMkLst>
            <pc:docMk/>
            <pc:sldMk cId="2364546764" sldId="257"/>
            <ac:spMk id="15" creationId="{45DAF3C9-E9C2-2842-B3E0-8A1BDA539142}"/>
          </ac:spMkLst>
        </pc:spChg>
        <pc:spChg chg="del mod topLvl">
          <ac:chgData name="Lamb, Ben" userId="88a6f5f3-f9e5-47eb-a109-670a0c68440d" providerId="ADAL" clId="{61283625-AFAA-A843-B4D4-BB41EDC646A4}" dt="2021-03-26T18:24:18.363" v="1731" actId="478"/>
          <ac:spMkLst>
            <pc:docMk/>
            <pc:sldMk cId="2364546764" sldId="257"/>
            <ac:spMk id="17" creationId="{34EB116C-7D6D-BF45-8BE1-A87E7801F04D}"/>
          </ac:spMkLst>
        </pc:spChg>
        <pc:spChg chg="del mod topLvl">
          <ac:chgData name="Lamb, Ben" userId="88a6f5f3-f9e5-47eb-a109-670a0c68440d" providerId="ADAL" clId="{61283625-AFAA-A843-B4D4-BB41EDC646A4}" dt="2021-03-26T18:24:18.363" v="1731" actId="478"/>
          <ac:spMkLst>
            <pc:docMk/>
            <pc:sldMk cId="2364546764" sldId="257"/>
            <ac:spMk id="18" creationId="{B0A63DA7-6653-E540-8093-072645588E96}"/>
          </ac:spMkLst>
        </pc:spChg>
        <pc:spChg chg="del mod topLvl">
          <ac:chgData name="Lamb, Ben" userId="88a6f5f3-f9e5-47eb-a109-670a0c68440d" providerId="ADAL" clId="{61283625-AFAA-A843-B4D4-BB41EDC646A4}" dt="2021-03-30T16:58:21.587" v="5448" actId="21"/>
          <ac:spMkLst>
            <pc:docMk/>
            <pc:sldMk cId="2364546764" sldId="257"/>
            <ac:spMk id="19" creationId="{DE0B6E77-8468-B945-8323-5737BBA01E8E}"/>
          </ac:spMkLst>
        </pc:spChg>
        <pc:spChg chg="del mod topLvl">
          <ac:chgData name="Lamb, Ben" userId="88a6f5f3-f9e5-47eb-a109-670a0c68440d" providerId="ADAL" clId="{61283625-AFAA-A843-B4D4-BB41EDC646A4}" dt="2021-03-30T16:58:21.587" v="5448" actId="21"/>
          <ac:spMkLst>
            <pc:docMk/>
            <pc:sldMk cId="2364546764" sldId="257"/>
            <ac:spMk id="20" creationId="{3304B433-B9FB-DA4C-9FC8-F2A9C2234971}"/>
          </ac:spMkLst>
        </pc:spChg>
        <pc:spChg chg="del mod topLvl">
          <ac:chgData name="Lamb, Ben" userId="88a6f5f3-f9e5-47eb-a109-670a0c68440d" providerId="ADAL" clId="{61283625-AFAA-A843-B4D4-BB41EDC646A4}" dt="2021-03-30T16:58:21.587" v="5448" actId="21"/>
          <ac:spMkLst>
            <pc:docMk/>
            <pc:sldMk cId="2364546764" sldId="257"/>
            <ac:spMk id="21" creationId="{07987C12-113F-594A-A5EA-FEC10A9682F5}"/>
          </ac:spMkLst>
        </pc:spChg>
        <pc:spChg chg="del mod topLvl">
          <ac:chgData name="Lamb, Ben" userId="88a6f5f3-f9e5-47eb-a109-670a0c68440d" providerId="ADAL" clId="{61283625-AFAA-A843-B4D4-BB41EDC646A4}" dt="2021-03-30T16:58:21.587" v="5448" actId="21"/>
          <ac:spMkLst>
            <pc:docMk/>
            <pc:sldMk cId="2364546764" sldId="257"/>
            <ac:spMk id="22" creationId="{3C4DB53B-9EAB-7C42-B95A-046CB78D927B}"/>
          </ac:spMkLst>
        </pc:spChg>
        <pc:spChg chg="del mod topLvl">
          <ac:chgData name="Lamb, Ben" userId="88a6f5f3-f9e5-47eb-a109-670a0c68440d" providerId="ADAL" clId="{61283625-AFAA-A843-B4D4-BB41EDC646A4}" dt="2021-03-26T18:30:31.345" v="2142" actId="478"/>
          <ac:spMkLst>
            <pc:docMk/>
            <pc:sldMk cId="2364546764" sldId="257"/>
            <ac:spMk id="23" creationId="{F548C001-FAEB-654D-A80C-F1E0A01DD10B}"/>
          </ac:spMkLst>
        </pc:spChg>
        <pc:spChg chg="del mod topLvl">
          <ac:chgData name="Lamb, Ben" userId="88a6f5f3-f9e5-47eb-a109-670a0c68440d" providerId="ADAL" clId="{61283625-AFAA-A843-B4D4-BB41EDC646A4}" dt="2021-03-26T18:30:30.191" v="2141" actId="478"/>
          <ac:spMkLst>
            <pc:docMk/>
            <pc:sldMk cId="2364546764" sldId="257"/>
            <ac:spMk id="24" creationId="{CC69F5C3-422B-3A40-BA3B-73481FBDA173}"/>
          </ac:spMkLst>
        </pc:spChg>
        <pc:spChg chg="del mod topLvl">
          <ac:chgData name="Lamb, Ben" userId="88a6f5f3-f9e5-47eb-a109-670a0c68440d" providerId="ADAL" clId="{61283625-AFAA-A843-B4D4-BB41EDC646A4}" dt="2021-03-30T16:58:21.587" v="5448" actId="21"/>
          <ac:spMkLst>
            <pc:docMk/>
            <pc:sldMk cId="2364546764" sldId="257"/>
            <ac:spMk id="29" creationId="{9F415798-9997-BB44-97E8-C20B6543DE6B}"/>
          </ac:spMkLst>
        </pc:spChg>
        <pc:spChg chg="del mod topLvl">
          <ac:chgData name="Lamb, Ben" userId="88a6f5f3-f9e5-47eb-a109-670a0c68440d" providerId="ADAL" clId="{61283625-AFAA-A843-B4D4-BB41EDC646A4}" dt="2021-03-26T18:25:39.992" v="1806" actId="478"/>
          <ac:spMkLst>
            <pc:docMk/>
            <pc:sldMk cId="2364546764" sldId="257"/>
            <ac:spMk id="30" creationId="{1576293E-BFD1-7340-ACA8-C747E594A272}"/>
          </ac:spMkLst>
        </pc:spChg>
        <pc:spChg chg="del mod topLvl">
          <ac:chgData name="Lamb, Ben" userId="88a6f5f3-f9e5-47eb-a109-670a0c68440d" providerId="ADAL" clId="{61283625-AFAA-A843-B4D4-BB41EDC646A4}" dt="2021-03-26T18:27:21.462" v="1926" actId="478"/>
          <ac:spMkLst>
            <pc:docMk/>
            <pc:sldMk cId="2364546764" sldId="257"/>
            <ac:spMk id="38" creationId="{F37C5827-5F29-5244-8CE2-8ECAE5AB0837}"/>
          </ac:spMkLst>
        </pc:spChg>
        <pc:spChg chg="del mod topLvl">
          <ac:chgData name="Lamb, Ben" userId="88a6f5f3-f9e5-47eb-a109-670a0c68440d" providerId="ADAL" clId="{61283625-AFAA-A843-B4D4-BB41EDC646A4}" dt="2021-03-26T19:28:49.689" v="3644" actId="478"/>
          <ac:spMkLst>
            <pc:docMk/>
            <pc:sldMk cId="2364546764" sldId="257"/>
            <ac:spMk id="39" creationId="{97FF6A66-5E3F-304C-9BF0-E175C4A063E8}"/>
          </ac:spMkLst>
        </pc:spChg>
        <pc:spChg chg="mod">
          <ac:chgData name="Lamb, Ben" userId="88a6f5f3-f9e5-47eb-a109-670a0c68440d" providerId="ADAL" clId="{61283625-AFAA-A843-B4D4-BB41EDC646A4}" dt="2021-03-26T18:05:42.106" v="1607"/>
          <ac:spMkLst>
            <pc:docMk/>
            <pc:sldMk cId="2364546764" sldId="257"/>
            <ac:spMk id="40" creationId="{1E23B4E0-184E-7843-9FDC-77D2B75D0C86}"/>
          </ac:spMkLst>
        </pc:spChg>
        <pc:spChg chg="mod">
          <ac:chgData name="Lamb, Ben" userId="88a6f5f3-f9e5-47eb-a109-670a0c68440d" providerId="ADAL" clId="{61283625-AFAA-A843-B4D4-BB41EDC646A4}" dt="2021-03-26T18:05:42.106" v="1607"/>
          <ac:spMkLst>
            <pc:docMk/>
            <pc:sldMk cId="2364546764" sldId="257"/>
            <ac:spMk id="41" creationId="{883ADCFC-4C73-024D-A10D-5CC41BEF02FE}"/>
          </ac:spMkLst>
        </pc:spChg>
        <pc:spChg chg="mod">
          <ac:chgData name="Lamb, Ben" userId="88a6f5f3-f9e5-47eb-a109-670a0c68440d" providerId="ADAL" clId="{61283625-AFAA-A843-B4D4-BB41EDC646A4}" dt="2021-03-26T18:05:42.106" v="1607"/>
          <ac:spMkLst>
            <pc:docMk/>
            <pc:sldMk cId="2364546764" sldId="257"/>
            <ac:spMk id="42" creationId="{1EBE8557-5DEE-544C-AA0C-D5719CB1A414}"/>
          </ac:spMkLst>
        </pc:spChg>
        <pc:spChg chg="mod">
          <ac:chgData name="Lamb, Ben" userId="88a6f5f3-f9e5-47eb-a109-670a0c68440d" providerId="ADAL" clId="{61283625-AFAA-A843-B4D4-BB41EDC646A4}" dt="2021-03-26T18:05:42.106" v="1607"/>
          <ac:spMkLst>
            <pc:docMk/>
            <pc:sldMk cId="2364546764" sldId="257"/>
            <ac:spMk id="43" creationId="{09208158-C3D5-BE45-A689-31DAEF4B29A5}"/>
          </ac:spMkLst>
        </pc:spChg>
        <pc:spChg chg="mod">
          <ac:chgData name="Lamb, Ben" userId="88a6f5f3-f9e5-47eb-a109-670a0c68440d" providerId="ADAL" clId="{61283625-AFAA-A843-B4D4-BB41EDC646A4}" dt="2021-03-26T18:05:42.106" v="1607"/>
          <ac:spMkLst>
            <pc:docMk/>
            <pc:sldMk cId="2364546764" sldId="257"/>
            <ac:spMk id="44" creationId="{934FA1E4-EA66-9245-A5FF-611F28107D01}"/>
          </ac:spMkLst>
        </pc:spChg>
        <pc:spChg chg="add del mod">
          <ac:chgData name="Lamb, Ben" userId="88a6f5f3-f9e5-47eb-a109-670a0c68440d" providerId="ADAL" clId="{61283625-AFAA-A843-B4D4-BB41EDC646A4}" dt="2021-03-30T16:58:21.587" v="5448" actId="21"/>
          <ac:spMkLst>
            <pc:docMk/>
            <pc:sldMk cId="2364546764" sldId="257"/>
            <ac:spMk id="51" creationId="{4C79C4B0-4C2B-4646-B937-DA29712BE7F0}"/>
          </ac:spMkLst>
        </pc:spChg>
        <pc:spChg chg="add del mod">
          <ac:chgData name="Lamb, Ben" userId="88a6f5f3-f9e5-47eb-a109-670a0c68440d" providerId="ADAL" clId="{61283625-AFAA-A843-B4D4-BB41EDC646A4}" dt="2021-03-26T18:28:43.704" v="2026" actId="478"/>
          <ac:spMkLst>
            <pc:docMk/>
            <pc:sldMk cId="2364546764" sldId="257"/>
            <ac:spMk id="52" creationId="{4BFEA451-121B-7849-9037-D176289D521B}"/>
          </ac:spMkLst>
        </pc:spChg>
        <pc:spChg chg="add del mod">
          <ac:chgData name="Lamb, Ben" userId="88a6f5f3-f9e5-47eb-a109-670a0c68440d" providerId="ADAL" clId="{61283625-AFAA-A843-B4D4-BB41EDC646A4}" dt="2021-03-30T16:58:21.587" v="5448" actId="21"/>
          <ac:spMkLst>
            <pc:docMk/>
            <pc:sldMk cId="2364546764" sldId="257"/>
            <ac:spMk id="54" creationId="{F0963306-3EA7-C44F-A855-5DA75323F850}"/>
          </ac:spMkLst>
        </pc:spChg>
        <pc:spChg chg="add del mod">
          <ac:chgData name="Lamb, Ben" userId="88a6f5f3-f9e5-47eb-a109-670a0c68440d" providerId="ADAL" clId="{61283625-AFAA-A843-B4D4-BB41EDC646A4}" dt="2021-03-26T19:29:41.330" v="3696" actId="478"/>
          <ac:spMkLst>
            <pc:docMk/>
            <pc:sldMk cId="2364546764" sldId="257"/>
            <ac:spMk id="64" creationId="{3D73D338-0BAE-3447-A770-B71D79BF75A6}"/>
          </ac:spMkLst>
        </pc:spChg>
        <pc:spChg chg="add del mod">
          <ac:chgData name="Lamb, Ben" userId="88a6f5f3-f9e5-47eb-a109-670a0c68440d" providerId="ADAL" clId="{61283625-AFAA-A843-B4D4-BB41EDC646A4}" dt="2021-03-26T19:33:38.354" v="3714"/>
          <ac:spMkLst>
            <pc:docMk/>
            <pc:sldMk cId="2364546764" sldId="257"/>
            <ac:spMk id="72" creationId="{222EF2FE-7F71-364F-9DED-21EF590DE9CD}"/>
          </ac:spMkLst>
        </pc:spChg>
        <pc:grpChg chg="add del mod">
          <ac:chgData name="Lamb, Ben" userId="88a6f5f3-f9e5-47eb-a109-670a0c68440d" providerId="ADAL" clId="{61283625-AFAA-A843-B4D4-BB41EDC646A4}" dt="2021-03-26T18:06:13.118" v="1611" actId="165"/>
          <ac:grpSpMkLst>
            <pc:docMk/>
            <pc:sldMk cId="2364546764" sldId="257"/>
            <ac:grpSpMk id="5" creationId="{C0311C99-20F5-2E46-B201-CC85A052EAE9}"/>
          </ac:grpSpMkLst>
        </pc:grpChg>
        <pc:grpChg chg="del mod topLvl">
          <ac:chgData name="Lamb, Ben" userId="88a6f5f3-f9e5-47eb-a109-670a0c68440d" providerId="ADAL" clId="{61283625-AFAA-A843-B4D4-BB41EDC646A4}" dt="2021-03-26T18:26:59.147" v="1922" actId="478"/>
          <ac:grpSpMkLst>
            <pc:docMk/>
            <pc:sldMk cId="2364546764" sldId="257"/>
            <ac:grpSpMk id="10" creationId="{528D0B4B-3399-BF46-9C51-2C9297987788}"/>
          </ac:grpSpMkLst>
        </pc:grpChg>
        <pc:grpChg chg="del mod topLvl">
          <ac:chgData name="Lamb, Ben" userId="88a6f5f3-f9e5-47eb-a109-670a0c68440d" providerId="ADAL" clId="{61283625-AFAA-A843-B4D4-BB41EDC646A4}" dt="2021-03-26T18:26:59.147" v="1922" actId="478"/>
          <ac:grpSpMkLst>
            <pc:docMk/>
            <pc:sldMk cId="2364546764" sldId="257"/>
            <ac:grpSpMk id="13" creationId="{1FF8CC18-F54D-6E45-A0B8-CC9A44BD0C2D}"/>
          </ac:grpSpMkLst>
        </pc:grpChg>
        <pc:grpChg chg="del mod topLvl">
          <ac:chgData name="Lamb, Ben" userId="88a6f5f3-f9e5-47eb-a109-670a0c68440d" providerId="ADAL" clId="{61283625-AFAA-A843-B4D4-BB41EDC646A4}" dt="2021-03-26T18:27:21.462" v="1926" actId="478"/>
          <ac:grpSpMkLst>
            <pc:docMk/>
            <pc:sldMk cId="2364546764" sldId="257"/>
            <ac:grpSpMk id="31" creationId="{4B26C905-14B7-CD47-AA45-D012B099898D}"/>
          </ac:grpSpMkLst>
        </pc:grpChg>
        <pc:graphicFrameChg chg="add mod modGraphic">
          <ac:chgData name="Lamb, Ben" userId="88a6f5f3-f9e5-47eb-a109-670a0c68440d" providerId="ADAL" clId="{61283625-AFAA-A843-B4D4-BB41EDC646A4}" dt="2021-03-31T22:44:18.212" v="12926" actId="207"/>
          <ac:graphicFrameMkLst>
            <pc:docMk/>
            <pc:sldMk cId="2364546764" sldId="257"/>
            <ac:graphicFrameMk id="73" creationId="{289A4272-FF58-1F43-BA08-E1E4F503ED91}"/>
          </ac:graphicFrameMkLst>
        </pc:graphicFrameChg>
        <pc:cxnChg chg="add mod">
          <ac:chgData name="Lamb, Ben" userId="88a6f5f3-f9e5-47eb-a109-670a0c68440d" providerId="ADAL" clId="{61283625-AFAA-A843-B4D4-BB41EDC646A4}" dt="2021-04-01T15:24:47.653" v="13946" actId="1076"/>
          <ac:cxnSpMkLst>
            <pc:docMk/>
            <pc:sldMk cId="2364546764" sldId="257"/>
            <ac:cxnSpMk id="7" creationId="{D297C212-BE28-8A47-914B-FEEF927A03D8}"/>
          </ac:cxnSpMkLst>
        </pc:cxnChg>
        <pc:cxnChg chg="add mod">
          <ac:chgData name="Lamb, Ben" userId="88a6f5f3-f9e5-47eb-a109-670a0c68440d" providerId="ADAL" clId="{61283625-AFAA-A843-B4D4-BB41EDC646A4}" dt="2021-04-01T15:25:26.939" v="13973" actId="1076"/>
          <ac:cxnSpMkLst>
            <pc:docMk/>
            <pc:sldMk cId="2364546764" sldId="257"/>
            <ac:cxnSpMk id="9" creationId="{F20CF589-00E6-5A4F-826F-7EAE7ADC1FAA}"/>
          </ac:cxnSpMkLst>
        </pc:cxnChg>
        <pc:cxnChg chg="del mod topLvl">
          <ac:chgData name="Lamb, Ben" userId="88a6f5f3-f9e5-47eb-a109-670a0c68440d" providerId="ADAL" clId="{61283625-AFAA-A843-B4D4-BB41EDC646A4}" dt="2021-03-26T19:28:50.877" v="3645" actId="478"/>
          <ac:cxnSpMkLst>
            <pc:docMk/>
            <pc:sldMk cId="2364546764" sldId="257"/>
            <ac:cxnSpMk id="16" creationId="{2BC9720E-EF13-C84C-813F-40D3A5C7E818}"/>
          </ac:cxnSpMkLst>
        </pc:cxnChg>
        <pc:cxnChg chg="del mod topLvl">
          <ac:chgData name="Lamb, Ben" userId="88a6f5f3-f9e5-47eb-a109-670a0c68440d" providerId="ADAL" clId="{61283625-AFAA-A843-B4D4-BB41EDC646A4}" dt="2021-03-30T16:58:21.587" v="5448" actId="21"/>
          <ac:cxnSpMkLst>
            <pc:docMk/>
            <pc:sldMk cId="2364546764" sldId="257"/>
            <ac:cxnSpMk id="25" creationId="{260AD1A0-0D15-6F46-AD7B-0C27BC80219B}"/>
          </ac:cxnSpMkLst>
        </pc:cxnChg>
        <pc:cxnChg chg="del mod topLvl">
          <ac:chgData name="Lamb, Ben" userId="88a6f5f3-f9e5-47eb-a109-670a0c68440d" providerId="ADAL" clId="{61283625-AFAA-A843-B4D4-BB41EDC646A4}" dt="2021-03-26T19:29:51.154" v="3698" actId="478"/>
          <ac:cxnSpMkLst>
            <pc:docMk/>
            <pc:sldMk cId="2364546764" sldId="257"/>
            <ac:cxnSpMk id="26" creationId="{9BC59904-2295-FE48-9565-69234EDDE502}"/>
          </ac:cxnSpMkLst>
        </pc:cxnChg>
        <pc:cxnChg chg="del mod topLvl">
          <ac:chgData name="Lamb, Ben" userId="88a6f5f3-f9e5-47eb-a109-670a0c68440d" providerId="ADAL" clId="{61283625-AFAA-A843-B4D4-BB41EDC646A4}" dt="2021-03-26T18:26:59.147" v="1922" actId="478"/>
          <ac:cxnSpMkLst>
            <pc:docMk/>
            <pc:sldMk cId="2364546764" sldId="257"/>
            <ac:cxnSpMk id="27" creationId="{1621C99D-A092-2F4A-A74E-B7062D137C11}"/>
          </ac:cxnSpMkLst>
        </pc:cxnChg>
        <pc:cxnChg chg="del mod topLvl">
          <ac:chgData name="Lamb, Ben" userId="88a6f5f3-f9e5-47eb-a109-670a0c68440d" providerId="ADAL" clId="{61283625-AFAA-A843-B4D4-BB41EDC646A4}" dt="2021-03-26T18:26:59.147" v="1922" actId="478"/>
          <ac:cxnSpMkLst>
            <pc:docMk/>
            <pc:sldMk cId="2364546764" sldId="257"/>
            <ac:cxnSpMk id="28" creationId="{CE547F69-08FC-7040-A1E7-E287468B6ED2}"/>
          </ac:cxnSpMkLst>
        </pc:cxnChg>
        <pc:cxnChg chg="del mod topLvl">
          <ac:chgData name="Lamb, Ben" userId="88a6f5f3-f9e5-47eb-a109-670a0c68440d" providerId="ADAL" clId="{61283625-AFAA-A843-B4D4-BB41EDC646A4}" dt="2021-03-26T18:26:59.147" v="1922" actId="478"/>
          <ac:cxnSpMkLst>
            <pc:docMk/>
            <pc:sldMk cId="2364546764" sldId="257"/>
            <ac:cxnSpMk id="32" creationId="{6A290AC5-23FB-4641-9CB6-F1CEB8ED090C}"/>
          </ac:cxnSpMkLst>
        </pc:cxnChg>
        <pc:cxnChg chg="del mod topLvl">
          <ac:chgData name="Lamb, Ben" userId="88a6f5f3-f9e5-47eb-a109-670a0c68440d" providerId="ADAL" clId="{61283625-AFAA-A843-B4D4-BB41EDC646A4}" dt="2021-03-26T18:27:23.800" v="1927" actId="478"/>
          <ac:cxnSpMkLst>
            <pc:docMk/>
            <pc:sldMk cId="2364546764" sldId="257"/>
            <ac:cxnSpMk id="33" creationId="{E16761D1-73E3-5C44-93B1-AE08764089C3}"/>
          </ac:cxnSpMkLst>
        </pc:cxnChg>
        <pc:cxnChg chg="del mod topLvl">
          <ac:chgData name="Lamb, Ben" userId="88a6f5f3-f9e5-47eb-a109-670a0c68440d" providerId="ADAL" clId="{61283625-AFAA-A843-B4D4-BB41EDC646A4}" dt="2021-03-26T18:28:33.473" v="2021" actId="478"/>
          <ac:cxnSpMkLst>
            <pc:docMk/>
            <pc:sldMk cId="2364546764" sldId="257"/>
            <ac:cxnSpMk id="34" creationId="{C04001E0-7806-7A42-9D92-B0D6CD7C25C7}"/>
          </ac:cxnSpMkLst>
        </pc:cxnChg>
        <pc:cxnChg chg="del mod topLvl">
          <ac:chgData name="Lamb, Ben" userId="88a6f5f3-f9e5-47eb-a109-670a0c68440d" providerId="ADAL" clId="{61283625-AFAA-A843-B4D4-BB41EDC646A4}" dt="2021-03-30T16:58:21.587" v="5448" actId="21"/>
          <ac:cxnSpMkLst>
            <pc:docMk/>
            <pc:sldMk cId="2364546764" sldId="257"/>
            <ac:cxnSpMk id="35" creationId="{AF253FF5-1C7F-3A46-A16A-7D338E9EB2AD}"/>
          </ac:cxnSpMkLst>
        </pc:cxnChg>
        <pc:cxnChg chg="del mod topLvl">
          <ac:chgData name="Lamb, Ben" userId="88a6f5f3-f9e5-47eb-a109-670a0c68440d" providerId="ADAL" clId="{61283625-AFAA-A843-B4D4-BB41EDC646A4}" dt="2021-03-30T16:58:21.587" v="5448" actId="21"/>
          <ac:cxnSpMkLst>
            <pc:docMk/>
            <pc:sldMk cId="2364546764" sldId="257"/>
            <ac:cxnSpMk id="36" creationId="{9272E390-C2F3-0A44-A7BB-4F91C305395E}"/>
          </ac:cxnSpMkLst>
        </pc:cxnChg>
        <pc:cxnChg chg="del mod topLvl">
          <ac:chgData name="Lamb, Ben" userId="88a6f5f3-f9e5-47eb-a109-670a0c68440d" providerId="ADAL" clId="{61283625-AFAA-A843-B4D4-BB41EDC646A4}" dt="2021-03-26T18:27:33.881" v="1929" actId="478"/>
          <ac:cxnSpMkLst>
            <pc:docMk/>
            <pc:sldMk cId="2364546764" sldId="257"/>
            <ac:cxnSpMk id="37" creationId="{AF042037-1240-9C49-ABE9-DA58A81F8088}"/>
          </ac:cxnSpMkLst>
        </pc:cxnChg>
        <pc:cxnChg chg="add del mod">
          <ac:chgData name="Lamb, Ben" userId="88a6f5f3-f9e5-47eb-a109-670a0c68440d" providerId="ADAL" clId="{61283625-AFAA-A843-B4D4-BB41EDC646A4}" dt="2021-03-30T16:58:21.587" v="5448" actId="21"/>
          <ac:cxnSpMkLst>
            <pc:docMk/>
            <pc:sldMk cId="2364546764" sldId="257"/>
            <ac:cxnSpMk id="60" creationId="{97D39DE2-201C-664E-8CAB-6BFE357E9760}"/>
          </ac:cxnSpMkLst>
        </pc:cxnChg>
      </pc:sldChg>
      <pc:sldChg chg="modSp mod">
        <pc:chgData name="Lamb, Ben" userId="88a6f5f3-f9e5-47eb-a109-670a0c68440d" providerId="ADAL" clId="{61283625-AFAA-A843-B4D4-BB41EDC646A4}" dt="2021-03-31T16:42:07.610" v="10261" actId="20577"/>
        <pc:sldMkLst>
          <pc:docMk/>
          <pc:sldMk cId="3111907793" sldId="258"/>
        </pc:sldMkLst>
        <pc:spChg chg="mod">
          <ac:chgData name="Lamb, Ben" userId="88a6f5f3-f9e5-47eb-a109-670a0c68440d" providerId="ADAL" clId="{61283625-AFAA-A843-B4D4-BB41EDC646A4}" dt="2021-03-30T16:39:39.795" v="4895"/>
          <ac:spMkLst>
            <pc:docMk/>
            <pc:sldMk cId="3111907793" sldId="258"/>
            <ac:spMk id="2" creationId="{E685D0D5-836E-4DDC-922A-828D0DD31F74}"/>
          </ac:spMkLst>
        </pc:spChg>
        <pc:spChg chg="mod">
          <ac:chgData name="Lamb, Ben" userId="88a6f5f3-f9e5-47eb-a109-670a0c68440d" providerId="ADAL" clId="{61283625-AFAA-A843-B4D4-BB41EDC646A4}" dt="2021-03-31T16:42:07.610" v="10261" actId="20577"/>
          <ac:spMkLst>
            <pc:docMk/>
            <pc:sldMk cId="3111907793" sldId="258"/>
            <ac:spMk id="3" creationId="{E764C15A-980C-4504-9BDC-4996EA1FED46}"/>
          </ac:spMkLst>
        </pc:spChg>
      </pc:sldChg>
      <pc:sldChg chg="modSp mod ord">
        <pc:chgData name="Lamb, Ben" userId="88a6f5f3-f9e5-47eb-a109-670a0c68440d" providerId="ADAL" clId="{61283625-AFAA-A843-B4D4-BB41EDC646A4}" dt="2021-04-01T18:04:23.749" v="16631" actId="20578"/>
        <pc:sldMkLst>
          <pc:docMk/>
          <pc:sldMk cId="1715448322" sldId="259"/>
        </pc:sldMkLst>
        <pc:spChg chg="mod">
          <ac:chgData name="Lamb, Ben" userId="88a6f5f3-f9e5-47eb-a109-670a0c68440d" providerId="ADAL" clId="{61283625-AFAA-A843-B4D4-BB41EDC646A4}" dt="2021-03-30T16:39:39.795" v="4895"/>
          <ac:spMkLst>
            <pc:docMk/>
            <pc:sldMk cId="1715448322" sldId="259"/>
            <ac:spMk id="2" creationId="{325EEF4A-04AE-4407-9E95-999A01506E45}"/>
          </ac:spMkLst>
        </pc:spChg>
        <pc:spChg chg="mod">
          <ac:chgData name="Lamb, Ben" userId="88a6f5f3-f9e5-47eb-a109-670a0c68440d" providerId="ADAL" clId="{61283625-AFAA-A843-B4D4-BB41EDC646A4}" dt="2021-04-01T16:46:04.513" v="15635" actId="404"/>
          <ac:spMkLst>
            <pc:docMk/>
            <pc:sldMk cId="1715448322" sldId="259"/>
            <ac:spMk id="3" creationId="{C8088DC6-B419-4263-AC95-E7F35F448779}"/>
          </ac:spMkLst>
        </pc:spChg>
        <pc:spChg chg="mod">
          <ac:chgData name="Lamb, Ben" userId="88a6f5f3-f9e5-47eb-a109-670a0c68440d" providerId="ADAL" clId="{61283625-AFAA-A843-B4D4-BB41EDC646A4}" dt="2021-03-30T16:39:39.795" v="4895"/>
          <ac:spMkLst>
            <pc:docMk/>
            <pc:sldMk cId="1715448322" sldId="259"/>
            <ac:spMk id="4" creationId="{980DF6B4-9BF5-442A-8A09-B39D49EDE075}"/>
          </ac:spMkLst>
        </pc:spChg>
      </pc:sldChg>
      <pc:sldChg chg="add">
        <pc:chgData name="Lamb, Ben" userId="88a6f5f3-f9e5-47eb-a109-670a0c68440d" providerId="ADAL" clId="{61283625-AFAA-A843-B4D4-BB41EDC646A4}" dt="2021-04-01T18:02:20.826" v="16602"/>
        <pc:sldMkLst>
          <pc:docMk/>
          <pc:sldMk cId="2824742617" sldId="260"/>
        </pc:sldMkLst>
      </pc:sldChg>
      <pc:sldChg chg="modSp del mod">
        <pc:chgData name="Lamb, Ben" userId="88a6f5f3-f9e5-47eb-a109-670a0c68440d" providerId="ADAL" clId="{61283625-AFAA-A843-B4D4-BB41EDC646A4}" dt="2021-04-01T18:02:16.016" v="16601" actId="2696"/>
        <pc:sldMkLst>
          <pc:docMk/>
          <pc:sldMk cId="3383281862" sldId="260"/>
        </pc:sldMkLst>
        <pc:spChg chg="mod">
          <ac:chgData name="Lamb, Ben" userId="88a6f5f3-f9e5-47eb-a109-670a0c68440d" providerId="ADAL" clId="{61283625-AFAA-A843-B4D4-BB41EDC646A4}" dt="2021-03-30T16:39:39.795" v="4895"/>
          <ac:spMkLst>
            <pc:docMk/>
            <pc:sldMk cId="3383281862" sldId="260"/>
            <ac:spMk id="2" creationId="{866854D0-FCB5-4D80-A1E4-D715E3B082A4}"/>
          </ac:spMkLst>
        </pc:spChg>
        <pc:spChg chg="mod">
          <ac:chgData name="Lamb, Ben" userId="88a6f5f3-f9e5-47eb-a109-670a0c68440d" providerId="ADAL" clId="{61283625-AFAA-A843-B4D4-BB41EDC646A4}" dt="2021-03-30T16:39:40.541" v="4899" actId="27636"/>
          <ac:spMkLst>
            <pc:docMk/>
            <pc:sldMk cId="3383281862" sldId="260"/>
            <ac:spMk id="3" creationId="{FCAAF10E-1C27-4D0E-BBF1-77B67261FAAD}"/>
          </ac:spMkLst>
        </pc:spChg>
        <pc:spChg chg="mod">
          <ac:chgData name="Lamb, Ben" userId="88a6f5f3-f9e5-47eb-a109-670a0c68440d" providerId="ADAL" clId="{61283625-AFAA-A843-B4D4-BB41EDC646A4}" dt="2021-03-30T16:39:40.539" v="4898" actId="27636"/>
          <ac:spMkLst>
            <pc:docMk/>
            <pc:sldMk cId="3383281862" sldId="260"/>
            <ac:spMk id="4" creationId="{411D8D10-9715-422E-94DE-41E1C2659267}"/>
          </ac:spMkLst>
        </pc:spChg>
      </pc:sldChg>
      <pc:sldChg chg="add">
        <pc:chgData name="Lamb, Ben" userId="88a6f5f3-f9e5-47eb-a109-670a0c68440d" providerId="ADAL" clId="{61283625-AFAA-A843-B4D4-BB41EDC646A4}" dt="2021-04-01T18:02:04.638" v="16600"/>
        <pc:sldMkLst>
          <pc:docMk/>
          <pc:sldMk cId="1599225802" sldId="261"/>
        </pc:sldMkLst>
      </pc:sldChg>
      <pc:sldChg chg="modSp del mod">
        <pc:chgData name="Lamb, Ben" userId="88a6f5f3-f9e5-47eb-a109-670a0c68440d" providerId="ADAL" clId="{61283625-AFAA-A843-B4D4-BB41EDC646A4}" dt="2021-04-01T18:01:59.826" v="16599" actId="2696"/>
        <pc:sldMkLst>
          <pc:docMk/>
          <pc:sldMk cId="2963837874" sldId="261"/>
        </pc:sldMkLst>
        <pc:spChg chg="mod">
          <ac:chgData name="Lamb, Ben" userId="88a6f5f3-f9e5-47eb-a109-670a0c68440d" providerId="ADAL" clId="{61283625-AFAA-A843-B4D4-BB41EDC646A4}" dt="2021-04-01T16:17:59.279" v="14974" actId="404"/>
          <ac:spMkLst>
            <pc:docMk/>
            <pc:sldMk cId="2963837874" sldId="261"/>
            <ac:spMk id="2" creationId="{AD644E64-F954-4288-A504-12E14B683D66}"/>
          </ac:spMkLst>
        </pc:spChg>
        <pc:spChg chg="mod">
          <ac:chgData name="Lamb, Ben" userId="88a6f5f3-f9e5-47eb-a109-670a0c68440d" providerId="ADAL" clId="{61283625-AFAA-A843-B4D4-BB41EDC646A4}" dt="2021-04-01T16:18:04.151" v="14977" actId="27636"/>
          <ac:spMkLst>
            <pc:docMk/>
            <pc:sldMk cId="2963837874" sldId="261"/>
            <ac:spMk id="3" creationId="{C8870F36-A280-4200-985F-C925A84D9509}"/>
          </ac:spMkLst>
        </pc:spChg>
        <pc:spChg chg="mod">
          <ac:chgData name="Lamb, Ben" userId="88a6f5f3-f9e5-47eb-a109-670a0c68440d" providerId="ADAL" clId="{61283625-AFAA-A843-B4D4-BB41EDC646A4}" dt="2021-04-01T16:18:04.150" v="14976" actId="27636"/>
          <ac:spMkLst>
            <pc:docMk/>
            <pc:sldMk cId="2963837874" sldId="261"/>
            <ac:spMk id="4" creationId="{BF431E6A-3F2C-4E6D-97AA-5E4342E036AB}"/>
          </ac:spMkLst>
        </pc:spChg>
      </pc:sldChg>
      <pc:sldChg chg="modSp mod">
        <pc:chgData name="Lamb, Ben" userId="88a6f5f3-f9e5-47eb-a109-670a0c68440d" providerId="ADAL" clId="{61283625-AFAA-A843-B4D4-BB41EDC646A4}" dt="2021-03-30T16:39:39.795" v="4895"/>
        <pc:sldMkLst>
          <pc:docMk/>
          <pc:sldMk cId="3197646421" sldId="262"/>
        </pc:sldMkLst>
        <pc:spChg chg="mod">
          <ac:chgData name="Lamb, Ben" userId="88a6f5f3-f9e5-47eb-a109-670a0c68440d" providerId="ADAL" clId="{61283625-AFAA-A843-B4D4-BB41EDC646A4}" dt="2021-03-30T16:39:39.795" v="4895"/>
          <ac:spMkLst>
            <pc:docMk/>
            <pc:sldMk cId="3197646421" sldId="262"/>
            <ac:spMk id="2" creationId="{D9760897-CEF9-224B-A21E-B924D239D1DE}"/>
          </ac:spMkLst>
        </pc:spChg>
        <pc:spChg chg="mod">
          <ac:chgData name="Lamb, Ben" userId="88a6f5f3-f9e5-47eb-a109-670a0c68440d" providerId="ADAL" clId="{61283625-AFAA-A843-B4D4-BB41EDC646A4}" dt="2021-03-30T16:39:39.795" v="4895"/>
          <ac:spMkLst>
            <pc:docMk/>
            <pc:sldMk cId="3197646421" sldId="262"/>
            <ac:spMk id="3" creationId="{C9B6EAC8-8DD8-364E-8E21-045D5775C13F}"/>
          </ac:spMkLst>
        </pc:spChg>
        <pc:spChg chg="mod">
          <ac:chgData name="Lamb, Ben" userId="88a6f5f3-f9e5-47eb-a109-670a0c68440d" providerId="ADAL" clId="{61283625-AFAA-A843-B4D4-BB41EDC646A4}" dt="2021-03-30T16:39:39.795" v="4895"/>
          <ac:spMkLst>
            <pc:docMk/>
            <pc:sldMk cId="3197646421" sldId="262"/>
            <ac:spMk id="4" creationId="{A470B130-DEEF-5444-9D25-02D130FD4728}"/>
          </ac:spMkLst>
        </pc:spChg>
      </pc:sldChg>
      <pc:sldChg chg="modSp del mod">
        <pc:chgData name="Lamb, Ben" userId="88a6f5f3-f9e5-47eb-a109-670a0c68440d" providerId="ADAL" clId="{61283625-AFAA-A843-B4D4-BB41EDC646A4}" dt="2021-03-26T15:21:44.651" v="1565" actId="2696"/>
        <pc:sldMkLst>
          <pc:docMk/>
          <pc:sldMk cId="1323045198" sldId="263"/>
        </pc:sldMkLst>
        <pc:spChg chg="mod">
          <ac:chgData name="Lamb, Ben" userId="88a6f5f3-f9e5-47eb-a109-670a0c68440d" providerId="ADAL" clId="{61283625-AFAA-A843-B4D4-BB41EDC646A4}" dt="2021-03-25T18:14:04.474" v="98"/>
          <ac:spMkLst>
            <pc:docMk/>
            <pc:sldMk cId="1323045198" sldId="263"/>
            <ac:spMk id="2" creationId="{66A4732F-406D-C348-B424-F85CCDC1933C}"/>
          </ac:spMkLst>
        </pc:spChg>
        <pc:spChg chg="mod">
          <ac:chgData name="Lamb, Ben" userId="88a6f5f3-f9e5-47eb-a109-670a0c68440d" providerId="ADAL" clId="{61283625-AFAA-A843-B4D4-BB41EDC646A4}" dt="2021-03-26T15:21:30.059" v="1564" actId="14100"/>
          <ac:spMkLst>
            <pc:docMk/>
            <pc:sldMk cId="1323045198" sldId="263"/>
            <ac:spMk id="3" creationId="{3DC77AFF-FB82-984B-BC4F-BF1ADE134EDB}"/>
          </ac:spMkLst>
        </pc:spChg>
      </pc:sldChg>
      <pc:sldChg chg="modSp new mod ord">
        <pc:chgData name="Lamb, Ben" userId="88a6f5f3-f9e5-47eb-a109-670a0c68440d" providerId="ADAL" clId="{61283625-AFAA-A843-B4D4-BB41EDC646A4}" dt="2021-04-01T18:03:13.773" v="16604" actId="20578"/>
        <pc:sldMkLst>
          <pc:docMk/>
          <pc:sldMk cId="1532927078" sldId="264"/>
        </pc:sldMkLst>
        <pc:spChg chg="mod">
          <ac:chgData name="Lamb, Ben" userId="88a6f5f3-f9e5-47eb-a109-670a0c68440d" providerId="ADAL" clId="{61283625-AFAA-A843-B4D4-BB41EDC646A4}" dt="2021-03-30T16:39:39.795" v="4895"/>
          <ac:spMkLst>
            <pc:docMk/>
            <pc:sldMk cId="1532927078" sldId="264"/>
            <ac:spMk id="2" creationId="{E4576F96-D6BB-DD40-AD3C-8C50B0DFF80B}"/>
          </ac:spMkLst>
        </pc:spChg>
        <pc:spChg chg="mod">
          <ac:chgData name="Lamb, Ben" userId="88a6f5f3-f9e5-47eb-a109-670a0c68440d" providerId="ADAL" clId="{61283625-AFAA-A843-B4D4-BB41EDC646A4}" dt="2021-03-30T16:39:39.795" v="4895"/>
          <ac:spMkLst>
            <pc:docMk/>
            <pc:sldMk cId="1532927078" sldId="264"/>
            <ac:spMk id="3" creationId="{485C14EB-502E-EF48-A233-BEEE5A2D17A4}"/>
          </ac:spMkLst>
        </pc:spChg>
      </pc:sldChg>
      <pc:sldChg chg="modSp add del">
        <pc:chgData name="Lamb, Ben" userId="88a6f5f3-f9e5-47eb-a109-670a0c68440d" providerId="ADAL" clId="{61283625-AFAA-A843-B4D4-BB41EDC646A4}" dt="2021-03-25T18:18:01.296" v="151"/>
        <pc:sldMkLst>
          <pc:docMk/>
          <pc:sldMk cId="1651487062" sldId="303"/>
        </pc:sldMkLst>
        <pc:spChg chg="mod">
          <ac:chgData name="Lamb, Ben" userId="88a6f5f3-f9e5-47eb-a109-670a0c68440d" providerId="ADAL" clId="{61283625-AFAA-A843-B4D4-BB41EDC646A4}" dt="2021-03-25T18:18:00.059" v="150"/>
          <ac:spMkLst>
            <pc:docMk/>
            <pc:sldMk cId="1651487062" sldId="303"/>
            <ac:spMk id="5" creationId="{A04D56D1-2467-4AA2-9264-935EBCB33055}"/>
          </ac:spMkLst>
        </pc:spChg>
        <pc:spChg chg="mod">
          <ac:chgData name="Lamb, Ben" userId="88a6f5f3-f9e5-47eb-a109-670a0c68440d" providerId="ADAL" clId="{61283625-AFAA-A843-B4D4-BB41EDC646A4}" dt="2021-03-25T18:18:00.059" v="150"/>
          <ac:spMkLst>
            <pc:docMk/>
            <pc:sldMk cId="1651487062" sldId="303"/>
            <ac:spMk id="6" creationId="{F06A6E3A-FF7E-47ED-B9C1-BCF74A1A965D}"/>
          </ac:spMkLst>
        </pc:spChg>
        <pc:grpChg chg="mod">
          <ac:chgData name="Lamb, Ben" userId="88a6f5f3-f9e5-47eb-a109-670a0c68440d" providerId="ADAL" clId="{61283625-AFAA-A843-B4D4-BB41EDC646A4}" dt="2021-03-25T18:18:00.059" v="150"/>
          <ac:grpSpMkLst>
            <pc:docMk/>
            <pc:sldMk cId="1651487062" sldId="303"/>
            <ac:grpSpMk id="4" creationId="{8B8343CD-BA4D-4DEA-8ACD-7251EAA4E882}"/>
          </ac:grpSpMkLst>
        </pc:grpChg>
        <pc:cxnChg chg="mod">
          <ac:chgData name="Lamb, Ben" userId="88a6f5f3-f9e5-47eb-a109-670a0c68440d" providerId="ADAL" clId="{61283625-AFAA-A843-B4D4-BB41EDC646A4}" dt="2021-03-25T18:18:00.059" v="150"/>
          <ac:cxnSpMkLst>
            <pc:docMk/>
            <pc:sldMk cId="1651487062" sldId="303"/>
            <ac:cxnSpMk id="7" creationId="{D46AC312-54A0-4700-BD05-1E915CA32EEC}"/>
          </ac:cxnSpMkLst>
        </pc:cxnChg>
      </pc:sldChg>
      <pc:sldChg chg="modSp add mod">
        <pc:chgData name="Lamb, Ben" userId="88a6f5f3-f9e5-47eb-a109-670a0c68440d" providerId="ADAL" clId="{61283625-AFAA-A843-B4D4-BB41EDC646A4}" dt="2021-03-31T16:16:37.508" v="9324" actId="20577"/>
        <pc:sldMkLst>
          <pc:docMk/>
          <pc:sldMk cId="2119805483" sldId="316"/>
        </pc:sldMkLst>
        <pc:spChg chg="mod">
          <ac:chgData name="Lamb, Ben" userId="88a6f5f3-f9e5-47eb-a109-670a0c68440d" providerId="ADAL" clId="{61283625-AFAA-A843-B4D4-BB41EDC646A4}" dt="2021-03-31T16:16:37.508" v="9324" actId="20577"/>
          <ac:spMkLst>
            <pc:docMk/>
            <pc:sldMk cId="2119805483" sldId="316"/>
            <ac:spMk id="34" creationId="{DCC6EEA9-C5C9-4AB8-B395-7179619A90EF}"/>
          </ac:spMkLst>
        </pc:spChg>
      </pc:sldChg>
      <pc:sldChg chg="addSp delSp modSp add mod modNotesTx">
        <pc:chgData name="Lamb, Ben" userId="88a6f5f3-f9e5-47eb-a109-670a0c68440d" providerId="ADAL" clId="{61283625-AFAA-A843-B4D4-BB41EDC646A4}" dt="2021-03-31T16:28:45.723" v="9913"/>
        <pc:sldMkLst>
          <pc:docMk/>
          <pc:sldMk cId="640202472" sldId="346"/>
        </pc:sldMkLst>
        <pc:spChg chg="mod">
          <ac:chgData name="Lamb, Ben" userId="88a6f5f3-f9e5-47eb-a109-670a0c68440d" providerId="ADAL" clId="{61283625-AFAA-A843-B4D4-BB41EDC646A4}" dt="2021-03-30T16:39:39.795" v="4895"/>
          <ac:spMkLst>
            <pc:docMk/>
            <pc:sldMk cId="640202472" sldId="346"/>
            <ac:spMk id="2" creationId="{35B02637-A3A2-4469-890E-F300AC4A9A60}"/>
          </ac:spMkLst>
        </pc:spChg>
        <pc:spChg chg="add mod">
          <ac:chgData name="Lamb, Ben" userId="88a6f5f3-f9e5-47eb-a109-670a0c68440d" providerId="ADAL" clId="{61283625-AFAA-A843-B4D4-BB41EDC646A4}" dt="2021-03-30T16:39:39.795" v="4895"/>
          <ac:spMkLst>
            <pc:docMk/>
            <pc:sldMk cId="640202472" sldId="346"/>
            <ac:spMk id="6" creationId="{E4298ED4-E8F9-0B45-AFBB-2BC5D0746B70}"/>
          </ac:spMkLst>
        </pc:spChg>
        <pc:spChg chg="del">
          <ac:chgData name="Lamb, Ben" userId="88a6f5f3-f9e5-47eb-a109-670a0c68440d" providerId="ADAL" clId="{61283625-AFAA-A843-B4D4-BB41EDC646A4}" dt="2021-03-25T18:28:03.261" v="463" actId="478"/>
          <ac:spMkLst>
            <pc:docMk/>
            <pc:sldMk cId="640202472" sldId="346"/>
            <ac:spMk id="27" creationId="{8F1DEBFA-B62D-4EC1-AFD4-4A40E957281E}"/>
          </ac:spMkLst>
        </pc:spChg>
        <pc:spChg chg="mod">
          <ac:chgData name="Lamb, Ben" userId="88a6f5f3-f9e5-47eb-a109-670a0c68440d" providerId="ADAL" clId="{61283625-AFAA-A843-B4D4-BB41EDC646A4}" dt="2021-03-30T16:39:39.795" v="4895"/>
          <ac:spMkLst>
            <pc:docMk/>
            <pc:sldMk cId="640202472" sldId="346"/>
            <ac:spMk id="28" creationId="{C630A753-842C-420F-9013-683F3828BD2F}"/>
          </ac:spMkLst>
        </pc:spChg>
        <pc:spChg chg="mod">
          <ac:chgData name="Lamb, Ben" userId="88a6f5f3-f9e5-47eb-a109-670a0c68440d" providerId="ADAL" clId="{61283625-AFAA-A843-B4D4-BB41EDC646A4}" dt="2021-03-31T16:27:25.137" v="9891" actId="403"/>
          <ac:spMkLst>
            <pc:docMk/>
            <pc:sldMk cId="640202472" sldId="346"/>
            <ac:spMk id="45" creationId="{3EACC2D0-1768-484D-88B1-11ABF4B90FE4}"/>
          </ac:spMkLst>
        </pc:spChg>
        <pc:spChg chg="mod">
          <ac:chgData name="Lamb, Ben" userId="88a6f5f3-f9e5-47eb-a109-670a0c68440d" providerId="ADAL" clId="{61283625-AFAA-A843-B4D4-BB41EDC646A4}" dt="2021-03-31T16:28:45.723" v="9913"/>
          <ac:spMkLst>
            <pc:docMk/>
            <pc:sldMk cId="640202472" sldId="346"/>
            <ac:spMk id="97" creationId="{90DCB576-41DB-47A6-B0F2-EC9FA10BC958}"/>
          </ac:spMkLst>
        </pc:spChg>
      </pc:sldChg>
      <pc:sldChg chg="add del">
        <pc:chgData name="Lamb, Ben" userId="88a6f5f3-f9e5-47eb-a109-670a0c68440d" providerId="ADAL" clId="{61283625-AFAA-A843-B4D4-BB41EDC646A4}" dt="2021-03-26T18:31:16.606" v="2150" actId="2696"/>
        <pc:sldMkLst>
          <pc:docMk/>
          <pc:sldMk cId="1086272394" sldId="438"/>
        </pc:sldMkLst>
      </pc:sldChg>
      <pc:sldChg chg="modSp add mod">
        <pc:chgData name="Lamb, Ben" userId="88a6f5f3-f9e5-47eb-a109-670a0c68440d" providerId="ADAL" clId="{61283625-AFAA-A843-B4D4-BB41EDC646A4}" dt="2021-03-31T16:30:33.421" v="9923" actId="20577"/>
        <pc:sldMkLst>
          <pc:docMk/>
          <pc:sldMk cId="911343285" sldId="1714"/>
        </pc:sldMkLst>
        <pc:spChg chg="mod">
          <ac:chgData name="Lamb, Ben" userId="88a6f5f3-f9e5-47eb-a109-670a0c68440d" providerId="ADAL" clId="{61283625-AFAA-A843-B4D4-BB41EDC646A4}" dt="2021-03-31T16:30:33.421" v="9923" actId="20577"/>
          <ac:spMkLst>
            <pc:docMk/>
            <pc:sldMk cId="911343285" sldId="1714"/>
            <ac:spMk id="5" creationId="{00000000-0000-0000-0000-000000000000}"/>
          </ac:spMkLst>
        </pc:spChg>
        <pc:spChg chg="mod">
          <ac:chgData name="Lamb, Ben" userId="88a6f5f3-f9e5-47eb-a109-670a0c68440d" providerId="ADAL" clId="{61283625-AFAA-A843-B4D4-BB41EDC646A4}" dt="2021-03-30T16:39:39.795" v="4895"/>
          <ac:spMkLst>
            <pc:docMk/>
            <pc:sldMk cId="911343285" sldId="1714"/>
            <ac:spMk id="6" creationId="{00000000-0000-0000-0000-000000000000}"/>
          </ac:spMkLst>
        </pc:spChg>
        <pc:spChg chg="mod">
          <ac:chgData name="Lamb, Ben" userId="88a6f5f3-f9e5-47eb-a109-670a0c68440d" providerId="ADAL" clId="{61283625-AFAA-A843-B4D4-BB41EDC646A4}" dt="2021-03-25T18:15:51.974" v="119" actId="20577"/>
          <ac:spMkLst>
            <pc:docMk/>
            <pc:sldMk cId="911343285" sldId="1714"/>
            <ac:spMk id="7" creationId="{DA62577D-46FF-4F64-A63C-A5C7DE51AD4D}"/>
          </ac:spMkLst>
        </pc:spChg>
        <pc:picChg chg="mod">
          <ac:chgData name="Lamb, Ben" userId="88a6f5f3-f9e5-47eb-a109-670a0c68440d" providerId="ADAL" clId="{61283625-AFAA-A843-B4D4-BB41EDC646A4}" dt="2021-03-30T16:39:39.795" v="4895"/>
          <ac:picMkLst>
            <pc:docMk/>
            <pc:sldMk cId="911343285" sldId="1714"/>
            <ac:picMk id="8" creationId="{5EB7A028-93B6-E04B-9CCD-69EB7628661C}"/>
          </ac:picMkLst>
        </pc:picChg>
      </pc:sldChg>
      <pc:sldChg chg="addSp delSp modSp new mod ord modClrScheme addCm modCm chgLayout modNotesTx">
        <pc:chgData name="Lamb, Ben" userId="88a6f5f3-f9e5-47eb-a109-670a0c68440d" providerId="ADAL" clId="{61283625-AFAA-A843-B4D4-BB41EDC646A4}" dt="2021-04-01T18:04:23.749" v="16631" actId="20578"/>
        <pc:sldMkLst>
          <pc:docMk/>
          <pc:sldMk cId="1553481733" sldId="1715"/>
        </pc:sldMkLst>
        <pc:spChg chg="mod ord">
          <ac:chgData name="Lamb, Ben" userId="88a6f5f3-f9e5-47eb-a109-670a0c68440d" providerId="ADAL" clId="{61283625-AFAA-A843-B4D4-BB41EDC646A4}" dt="2021-04-01T18:04:09.592" v="16620" actId="20577"/>
          <ac:spMkLst>
            <pc:docMk/>
            <pc:sldMk cId="1553481733" sldId="1715"/>
            <ac:spMk id="2" creationId="{6803BF32-346D-D848-BCA0-2E76713755FF}"/>
          </ac:spMkLst>
        </pc:spChg>
        <pc:spChg chg="add del mod">
          <ac:chgData name="Lamb, Ben" userId="88a6f5f3-f9e5-47eb-a109-670a0c68440d" providerId="ADAL" clId="{61283625-AFAA-A843-B4D4-BB41EDC646A4}" dt="2021-03-31T20:33:42.950" v="12111" actId="767"/>
          <ac:spMkLst>
            <pc:docMk/>
            <pc:sldMk cId="1553481733" sldId="1715"/>
            <ac:spMk id="3" creationId="{8EF0813F-8C0D-064D-8F18-6493866D310B}"/>
          </ac:spMkLst>
        </pc:spChg>
        <pc:spChg chg="del mod ord">
          <ac:chgData name="Lamb, Ben" userId="88a6f5f3-f9e5-47eb-a109-670a0c68440d" providerId="ADAL" clId="{61283625-AFAA-A843-B4D4-BB41EDC646A4}" dt="2021-03-26T18:33:03.100" v="2253" actId="700"/>
          <ac:spMkLst>
            <pc:docMk/>
            <pc:sldMk cId="1553481733" sldId="1715"/>
            <ac:spMk id="3" creationId="{C2CCCAF3-DF79-934F-8D02-5A4636587873}"/>
          </ac:spMkLst>
        </pc:spChg>
        <pc:spChg chg="del">
          <ac:chgData name="Lamb, Ben" userId="88a6f5f3-f9e5-47eb-a109-670a0c68440d" providerId="ADAL" clId="{61283625-AFAA-A843-B4D4-BB41EDC646A4}" dt="2021-03-26T18:33:03.100" v="2253" actId="700"/>
          <ac:spMkLst>
            <pc:docMk/>
            <pc:sldMk cId="1553481733" sldId="1715"/>
            <ac:spMk id="4" creationId="{02277ABB-F19C-AD45-961D-E0A4DEADEF78}"/>
          </ac:spMkLst>
        </pc:spChg>
        <pc:spChg chg="add del mod">
          <ac:chgData name="Lamb, Ben" userId="88a6f5f3-f9e5-47eb-a109-670a0c68440d" providerId="ADAL" clId="{61283625-AFAA-A843-B4D4-BB41EDC646A4}" dt="2021-04-01T14:25:09.888" v="13732" actId="478"/>
          <ac:spMkLst>
            <pc:docMk/>
            <pc:sldMk cId="1553481733" sldId="1715"/>
            <ac:spMk id="4" creationId="{960CB702-D87E-BE40-8C1F-533692713FCD}"/>
          </ac:spMkLst>
        </pc:spChg>
        <pc:spChg chg="add del mod ord">
          <ac:chgData name="Lamb, Ben" userId="88a6f5f3-f9e5-47eb-a109-670a0c68440d" providerId="ADAL" clId="{61283625-AFAA-A843-B4D4-BB41EDC646A4}" dt="2021-03-30T21:35:11.219" v="7855" actId="14100"/>
          <ac:spMkLst>
            <pc:docMk/>
            <pc:sldMk cId="1553481733" sldId="1715"/>
            <ac:spMk id="5" creationId="{7496F3D1-9F54-414E-9E4A-CF185921593A}"/>
          </ac:spMkLst>
        </pc:spChg>
        <pc:spChg chg="add mod">
          <ac:chgData name="Lamb, Ben" userId="88a6f5f3-f9e5-47eb-a109-670a0c68440d" providerId="ADAL" clId="{61283625-AFAA-A843-B4D4-BB41EDC646A4}" dt="2021-03-30T21:25:11.661" v="6823" actId="1076"/>
          <ac:spMkLst>
            <pc:docMk/>
            <pc:sldMk cId="1553481733" sldId="1715"/>
            <ac:spMk id="6" creationId="{9EE36527-2B7C-D841-8BBA-39A4A301218D}"/>
          </ac:spMkLst>
        </pc:spChg>
        <pc:spChg chg="add mod">
          <ac:chgData name="Lamb, Ben" userId="88a6f5f3-f9e5-47eb-a109-670a0c68440d" providerId="ADAL" clId="{61283625-AFAA-A843-B4D4-BB41EDC646A4}" dt="2021-03-30T21:25:11.661" v="6823" actId="1076"/>
          <ac:spMkLst>
            <pc:docMk/>
            <pc:sldMk cId="1553481733" sldId="1715"/>
            <ac:spMk id="7" creationId="{7EC2D5C7-3065-C042-B369-CA2C2309D512}"/>
          </ac:spMkLst>
        </pc:spChg>
        <pc:spChg chg="add del mod">
          <ac:chgData name="Lamb, Ben" userId="88a6f5f3-f9e5-47eb-a109-670a0c68440d" providerId="ADAL" clId="{61283625-AFAA-A843-B4D4-BB41EDC646A4}" dt="2021-03-26T18:38:48.299" v="2541" actId="478"/>
          <ac:spMkLst>
            <pc:docMk/>
            <pc:sldMk cId="1553481733" sldId="1715"/>
            <ac:spMk id="8" creationId="{D17965A9-E99F-D34D-8D3E-37B86A20B462}"/>
          </ac:spMkLst>
        </pc:spChg>
        <pc:spChg chg="add mod">
          <ac:chgData name="Lamb, Ben" userId="88a6f5f3-f9e5-47eb-a109-670a0c68440d" providerId="ADAL" clId="{61283625-AFAA-A843-B4D4-BB41EDC646A4}" dt="2021-03-30T21:24:50.220" v="6820" actId="1076"/>
          <ac:spMkLst>
            <pc:docMk/>
            <pc:sldMk cId="1553481733" sldId="1715"/>
            <ac:spMk id="9" creationId="{FC47455C-BE5E-9B46-A8F2-33D49C655F92}"/>
          </ac:spMkLst>
        </pc:spChg>
        <pc:spChg chg="add del mod">
          <ac:chgData name="Lamb, Ben" userId="88a6f5f3-f9e5-47eb-a109-670a0c68440d" providerId="ADAL" clId="{61283625-AFAA-A843-B4D4-BB41EDC646A4}" dt="2021-03-26T18:54:12.684" v="2657" actId="478"/>
          <ac:spMkLst>
            <pc:docMk/>
            <pc:sldMk cId="1553481733" sldId="1715"/>
            <ac:spMk id="11" creationId="{F7F3EA40-F06F-3142-B8F7-1CC58E84D962}"/>
          </ac:spMkLst>
        </pc:spChg>
        <pc:spChg chg="add mod">
          <ac:chgData name="Lamb, Ben" userId="88a6f5f3-f9e5-47eb-a109-670a0c68440d" providerId="ADAL" clId="{61283625-AFAA-A843-B4D4-BB41EDC646A4}" dt="2021-03-30T21:25:11.661" v="6823" actId="1076"/>
          <ac:spMkLst>
            <pc:docMk/>
            <pc:sldMk cId="1553481733" sldId="1715"/>
            <ac:spMk id="12" creationId="{4793E1DF-A8BA-4B45-814D-CE4487530B8C}"/>
          </ac:spMkLst>
        </pc:spChg>
        <pc:spChg chg="add mod">
          <ac:chgData name="Lamb, Ben" userId="88a6f5f3-f9e5-47eb-a109-670a0c68440d" providerId="ADAL" clId="{61283625-AFAA-A843-B4D4-BB41EDC646A4}" dt="2021-03-30T21:24:50.220" v="6820" actId="1076"/>
          <ac:spMkLst>
            <pc:docMk/>
            <pc:sldMk cId="1553481733" sldId="1715"/>
            <ac:spMk id="13" creationId="{35C1F822-75BF-944C-B30D-BAEED58529DB}"/>
          </ac:spMkLst>
        </pc:spChg>
        <pc:spChg chg="add mod">
          <ac:chgData name="Lamb, Ben" userId="88a6f5f3-f9e5-47eb-a109-670a0c68440d" providerId="ADAL" clId="{61283625-AFAA-A843-B4D4-BB41EDC646A4}" dt="2021-03-30T21:24:50.220" v="6820" actId="1076"/>
          <ac:spMkLst>
            <pc:docMk/>
            <pc:sldMk cId="1553481733" sldId="1715"/>
            <ac:spMk id="14" creationId="{D9574139-CC82-2D45-8309-DFE356415800}"/>
          </ac:spMkLst>
        </pc:spChg>
        <pc:spChg chg="add mod">
          <ac:chgData name="Lamb, Ben" userId="88a6f5f3-f9e5-47eb-a109-670a0c68440d" providerId="ADAL" clId="{61283625-AFAA-A843-B4D4-BB41EDC646A4}" dt="2021-03-30T21:24:50.220" v="6820" actId="1076"/>
          <ac:spMkLst>
            <pc:docMk/>
            <pc:sldMk cId="1553481733" sldId="1715"/>
            <ac:spMk id="16" creationId="{291918C6-3E93-D843-939D-63ADA0C0955E}"/>
          </ac:spMkLst>
        </pc:spChg>
        <pc:spChg chg="add mod">
          <ac:chgData name="Lamb, Ben" userId="88a6f5f3-f9e5-47eb-a109-670a0c68440d" providerId="ADAL" clId="{61283625-AFAA-A843-B4D4-BB41EDC646A4}" dt="2021-03-30T21:24:50.220" v="6820" actId="1076"/>
          <ac:spMkLst>
            <pc:docMk/>
            <pc:sldMk cId="1553481733" sldId="1715"/>
            <ac:spMk id="17" creationId="{77B6C6D4-65BE-7F48-B2CB-57B2B02D15B5}"/>
          </ac:spMkLst>
        </pc:spChg>
        <pc:spChg chg="add mod">
          <ac:chgData name="Lamb, Ben" userId="88a6f5f3-f9e5-47eb-a109-670a0c68440d" providerId="ADAL" clId="{61283625-AFAA-A843-B4D4-BB41EDC646A4}" dt="2021-03-30T21:24:50.220" v="6820" actId="1076"/>
          <ac:spMkLst>
            <pc:docMk/>
            <pc:sldMk cId="1553481733" sldId="1715"/>
            <ac:spMk id="20" creationId="{364210EB-9D1B-7E42-978B-D54156F318C8}"/>
          </ac:spMkLst>
        </pc:spChg>
        <pc:spChg chg="add mod">
          <ac:chgData name="Lamb, Ben" userId="88a6f5f3-f9e5-47eb-a109-670a0c68440d" providerId="ADAL" clId="{61283625-AFAA-A843-B4D4-BB41EDC646A4}" dt="2021-03-30T21:24:50.220" v="6820" actId="1076"/>
          <ac:spMkLst>
            <pc:docMk/>
            <pc:sldMk cId="1553481733" sldId="1715"/>
            <ac:spMk id="21" creationId="{F1958830-145C-984D-9030-71E69425D5D2}"/>
          </ac:spMkLst>
        </pc:spChg>
        <pc:spChg chg="add mod">
          <ac:chgData name="Lamb, Ben" userId="88a6f5f3-f9e5-47eb-a109-670a0c68440d" providerId="ADAL" clId="{61283625-AFAA-A843-B4D4-BB41EDC646A4}" dt="2021-03-30T21:25:11.661" v="6823" actId="1076"/>
          <ac:spMkLst>
            <pc:docMk/>
            <pc:sldMk cId="1553481733" sldId="1715"/>
            <ac:spMk id="23" creationId="{343932C0-2353-7C4E-8CE4-C1348C669375}"/>
          </ac:spMkLst>
        </pc:spChg>
        <pc:spChg chg="add mod">
          <ac:chgData name="Lamb, Ben" userId="88a6f5f3-f9e5-47eb-a109-670a0c68440d" providerId="ADAL" clId="{61283625-AFAA-A843-B4D4-BB41EDC646A4}" dt="2021-03-30T21:24:50.220" v="6820" actId="1076"/>
          <ac:spMkLst>
            <pc:docMk/>
            <pc:sldMk cId="1553481733" sldId="1715"/>
            <ac:spMk id="24" creationId="{05753340-1ED1-0B45-9528-C8FB88C5B924}"/>
          </ac:spMkLst>
        </pc:spChg>
        <pc:spChg chg="add del mod">
          <ac:chgData name="Lamb, Ben" userId="88a6f5f3-f9e5-47eb-a109-670a0c68440d" providerId="ADAL" clId="{61283625-AFAA-A843-B4D4-BB41EDC646A4}" dt="2021-03-26T18:34:43.461" v="2361"/>
          <ac:spMkLst>
            <pc:docMk/>
            <pc:sldMk cId="1553481733" sldId="1715"/>
            <ac:spMk id="25" creationId="{E8448941-9263-784D-91D9-AF07ACB8E7F4}"/>
          </ac:spMkLst>
        </pc:spChg>
        <pc:spChg chg="add del mod">
          <ac:chgData name="Lamb, Ben" userId="88a6f5f3-f9e5-47eb-a109-670a0c68440d" providerId="ADAL" clId="{61283625-AFAA-A843-B4D4-BB41EDC646A4}" dt="2021-03-26T18:37:30.395" v="2536"/>
          <ac:spMkLst>
            <pc:docMk/>
            <pc:sldMk cId="1553481733" sldId="1715"/>
            <ac:spMk id="29" creationId="{A79E8837-7366-9045-9B4F-9C1A33D64C1C}"/>
          </ac:spMkLst>
        </pc:spChg>
        <pc:spChg chg="add mod">
          <ac:chgData name="Lamb, Ben" userId="88a6f5f3-f9e5-47eb-a109-670a0c68440d" providerId="ADAL" clId="{61283625-AFAA-A843-B4D4-BB41EDC646A4}" dt="2021-03-30T21:24:50.220" v="6820" actId="1076"/>
          <ac:spMkLst>
            <pc:docMk/>
            <pc:sldMk cId="1553481733" sldId="1715"/>
            <ac:spMk id="30" creationId="{D422DB41-3AB0-2648-B589-864A6BEEF597}"/>
          </ac:spMkLst>
        </pc:spChg>
        <pc:spChg chg="add mod">
          <ac:chgData name="Lamb, Ben" userId="88a6f5f3-f9e5-47eb-a109-670a0c68440d" providerId="ADAL" clId="{61283625-AFAA-A843-B4D4-BB41EDC646A4}" dt="2021-03-30T21:24:50.220" v="6820" actId="1076"/>
          <ac:spMkLst>
            <pc:docMk/>
            <pc:sldMk cId="1553481733" sldId="1715"/>
            <ac:spMk id="33" creationId="{E6C1EB0B-D6C7-8844-A72A-363F4C64F301}"/>
          </ac:spMkLst>
        </pc:spChg>
        <pc:spChg chg="add del mod">
          <ac:chgData name="Lamb, Ben" userId="88a6f5f3-f9e5-47eb-a109-670a0c68440d" providerId="ADAL" clId="{61283625-AFAA-A843-B4D4-BB41EDC646A4}" dt="2021-03-26T18:47:14.331" v="2585" actId="478"/>
          <ac:spMkLst>
            <pc:docMk/>
            <pc:sldMk cId="1553481733" sldId="1715"/>
            <ac:spMk id="34" creationId="{763CC47F-7B7D-6748-8287-6B75C12D6318}"/>
          </ac:spMkLst>
        </pc:spChg>
        <pc:spChg chg="add del mod">
          <ac:chgData name="Lamb, Ben" userId="88a6f5f3-f9e5-47eb-a109-670a0c68440d" providerId="ADAL" clId="{61283625-AFAA-A843-B4D4-BB41EDC646A4}" dt="2021-03-26T18:49:15.713" v="2609" actId="478"/>
          <ac:spMkLst>
            <pc:docMk/>
            <pc:sldMk cId="1553481733" sldId="1715"/>
            <ac:spMk id="41" creationId="{EE6F5344-F5FC-8846-83CC-AB995042EE00}"/>
          </ac:spMkLst>
        </pc:spChg>
        <pc:spChg chg="add mod">
          <ac:chgData name="Lamb, Ben" userId="88a6f5f3-f9e5-47eb-a109-670a0c68440d" providerId="ADAL" clId="{61283625-AFAA-A843-B4D4-BB41EDC646A4}" dt="2021-03-30T21:24:50.220" v="6820" actId="1076"/>
          <ac:spMkLst>
            <pc:docMk/>
            <pc:sldMk cId="1553481733" sldId="1715"/>
            <ac:spMk id="46" creationId="{3DD6E6F6-7978-A745-96B6-413A8E752BEB}"/>
          </ac:spMkLst>
        </pc:spChg>
        <pc:spChg chg="add mod">
          <ac:chgData name="Lamb, Ben" userId="88a6f5f3-f9e5-47eb-a109-670a0c68440d" providerId="ADAL" clId="{61283625-AFAA-A843-B4D4-BB41EDC646A4}" dt="2021-04-01T14:25:29.877" v="13766" actId="20577"/>
          <ac:spMkLst>
            <pc:docMk/>
            <pc:sldMk cId="1553481733" sldId="1715"/>
            <ac:spMk id="48" creationId="{0CDBCF5C-8275-A441-AB68-45A14058D188}"/>
          </ac:spMkLst>
        </pc:spChg>
        <pc:spChg chg="add mod">
          <ac:chgData name="Lamb, Ben" userId="88a6f5f3-f9e5-47eb-a109-670a0c68440d" providerId="ADAL" clId="{61283625-AFAA-A843-B4D4-BB41EDC646A4}" dt="2021-03-30T21:29:50.745" v="7332" actId="1076"/>
          <ac:spMkLst>
            <pc:docMk/>
            <pc:sldMk cId="1553481733" sldId="1715"/>
            <ac:spMk id="53" creationId="{E3DC0D3C-7BDA-9349-A187-4CFBCA7DFEE5}"/>
          </ac:spMkLst>
        </pc:spChg>
        <pc:spChg chg="add del mod">
          <ac:chgData name="Lamb, Ben" userId="88a6f5f3-f9e5-47eb-a109-670a0c68440d" providerId="ADAL" clId="{61283625-AFAA-A843-B4D4-BB41EDC646A4}" dt="2021-03-26T19:23:17.018" v="3463" actId="478"/>
          <ac:spMkLst>
            <pc:docMk/>
            <pc:sldMk cId="1553481733" sldId="1715"/>
            <ac:spMk id="63" creationId="{FB4CBE11-94E6-8444-AA41-A205749968C8}"/>
          </ac:spMkLst>
        </pc:spChg>
        <pc:spChg chg="add del mod">
          <ac:chgData name="Lamb, Ben" userId="88a6f5f3-f9e5-47eb-a109-670a0c68440d" providerId="ADAL" clId="{61283625-AFAA-A843-B4D4-BB41EDC646A4}" dt="2021-03-26T19:16:23.671" v="3358" actId="478"/>
          <ac:spMkLst>
            <pc:docMk/>
            <pc:sldMk cId="1553481733" sldId="1715"/>
            <ac:spMk id="69" creationId="{2D91CE8C-7E57-8C4F-A388-039AC76E8F54}"/>
          </ac:spMkLst>
        </pc:spChg>
        <pc:spChg chg="add del mod">
          <ac:chgData name="Lamb, Ben" userId="88a6f5f3-f9e5-47eb-a109-670a0c68440d" providerId="ADAL" clId="{61283625-AFAA-A843-B4D4-BB41EDC646A4}" dt="2021-03-26T19:01:28.189" v="2932"/>
          <ac:spMkLst>
            <pc:docMk/>
            <pc:sldMk cId="1553481733" sldId="1715"/>
            <ac:spMk id="70" creationId="{EDB44F29-1409-284F-B654-AF0B048B91E8}"/>
          </ac:spMkLst>
        </pc:spChg>
        <pc:spChg chg="add del mod">
          <ac:chgData name="Lamb, Ben" userId="88a6f5f3-f9e5-47eb-a109-670a0c68440d" providerId="ADAL" clId="{61283625-AFAA-A843-B4D4-BB41EDC646A4}" dt="2021-03-26T19:02:10.974" v="2985" actId="478"/>
          <ac:spMkLst>
            <pc:docMk/>
            <pc:sldMk cId="1553481733" sldId="1715"/>
            <ac:spMk id="71" creationId="{0134587C-140E-044E-AAC0-8469B33A2A09}"/>
          </ac:spMkLst>
        </pc:spChg>
        <pc:spChg chg="add del mod">
          <ac:chgData name="Lamb, Ben" userId="88a6f5f3-f9e5-47eb-a109-670a0c68440d" providerId="ADAL" clId="{61283625-AFAA-A843-B4D4-BB41EDC646A4}" dt="2021-03-26T19:15:59.591" v="3332" actId="478"/>
          <ac:spMkLst>
            <pc:docMk/>
            <pc:sldMk cId="1553481733" sldId="1715"/>
            <ac:spMk id="72" creationId="{C75B0B26-409B-4848-B22F-B35803944954}"/>
          </ac:spMkLst>
        </pc:spChg>
        <pc:spChg chg="add mod">
          <ac:chgData name="Lamb, Ben" userId="88a6f5f3-f9e5-47eb-a109-670a0c68440d" providerId="ADAL" clId="{61283625-AFAA-A843-B4D4-BB41EDC646A4}" dt="2021-03-30T21:24:50.220" v="6820" actId="1076"/>
          <ac:spMkLst>
            <pc:docMk/>
            <pc:sldMk cId="1553481733" sldId="1715"/>
            <ac:spMk id="73" creationId="{01103F7B-1CFB-6844-860B-AEB366E7B385}"/>
          </ac:spMkLst>
        </pc:spChg>
        <pc:spChg chg="add mod">
          <ac:chgData name="Lamb, Ben" userId="88a6f5f3-f9e5-47eb-a109-670a0c68440d" providerId="ADAL" clId="{61283625-AFAA-A843-B4D4-BB41EDC646A4}" dt="2021-03-30T21:25:11.661" v="6823" actId="1076"/>
          <ac:spMkLst>
            <pc:docMk/>
            <pc:sldMk cId="1553481733" sldId="1715"/>
            <ac:spMk id="75" creationId="{1D20A48F-6194-5D40-BAE0-39708E686180}"/>
          </ac:spMkLst>
        </pc:spChg>
        <pc:spChg chg="add mod">
          <ac:chgData name="Lamb, Ben" userId="88a6f5f3-f9e5-47eb-a109-670a0c68440d" providerId="ADAL" clId="{61283625-AFAA-A843-B4D4-BB41EDC646A4}" dt="2021-03-30T21:24:50.220" v="6820" actId="1076"/>
          <ac:spMkLst>
            <pc:docMk/>
            <pc:sldMk cId="1553481733" sldId="1715"/>
            <ac:spMk id="76" creationId="{80FA2994-89D5-F046-A9FE-C07099E0D98A}"/>
          </ac:spMkLst>
        </pc:spChg>
        <pc:spChg chg="add mod">
          <ac:chgData name="Lamb, Ben" userId="88a6f5f3-f9e5-47eb-a109-670a0c68440d" providerId="ADAL" clId="{61283625-AFAA-A843-B4D4-BB41EDC646A4}" dt="2021-03-30T21:24:50.220" v="6820" actId="1076"/>
          <ac:spMkLst>
            <pc:docMk/>
            <pc:sldMk cId="1553481733" sldId="1715"/>
            <ac:spMk id="77" creationId="{EEF5EC48-FE02-8C4C-9084-C90BFDF0B99C}"/>
          </ac:spMkLst>
        </pc:spChg>
        <pc:spChg chg="add del mod">
          <ac:chgData name="Lamb, Ben" userId="88a6f5f3-f9e5-47eb-a109-670a0c68440d" providerId="ADAL" clId="{61283625-AFAA-A843-B4D4-BB41EDC646A4}" dt="2021-03-26T19:08:08.720" v="3179"/>
          <ac:spMkLst>
            <pc:docMk/>
            <pc:sldMk cId="1553481733" sldId="1715"/>
            <ac:spMk id="78" creationId="{6CBE3AD5-E27E-EF42-A102-F05C7BB2E353}"/>
          </ac:spMkLst>
        </pc:spChg>
        <pc:spChg chg="add mod">
          <ac:chgData name="Lamb, Ben" userId="88a6f5f3-f9e5-47eb-a109-670a0c68440d" providerId="ADAL" clId="{61283625-AFAA-A843-B4D4-BB41EDC646A4}" dt="2021-03-30T21:24:50.220" v="6820" actId="1076"/>
          <ac:spMkLst>
            <pc:docMk/>
            <pc:sldMk cId="1553481733" sldId="1715"/>
            <ac:spMk id="83" creationId="{74411139-3E4B-9642-B97E-20F088FEEEA5}"/>
          </ac:spMkLst>
        </pc:spChg>
        <pc:spChg chg="add del mod">
          <ac:chgData name="Lamb, Ben" userId="88a6f5f3-f9e5-47eb-a109-670a0c68440d" providerId="ADAL" clId="{61283625-AFAA-A843-B4D4-BB41EDC646A4}" dt="2021-03-26T19:14:18.506" v="3286" actId="478"/>
          <ac:spMkLst>
            <pc:docMk/>
            <pc:sldMk cId="1553481733" sldId="1715"/>
            <ac:spMk id="119" creationId="{196BDB0E-44A8-F64A-B9C9-9C7127CA4C74}"/>
          </ac:spMkLst>
        </pc:spChg>
        <pc:spChg chg="add mod">
          <ac:chgData name="Lamb, Ben" userId="88a6f5f3-f9e5-47eb-a109-670a0c68440d" providerId="ADAL" clId="{61283625-AFAA-A843-B4D4-BB41EDC646A4}" dt="2021-03-30T21:24:50.220" v="6820" actId="1076"/>
          <ac:spMkLst>
            <pc:docMk/>
            <pc:sldMk cId="1553481733" sldId="1715"/>
            <ac:spMk id="126" creationId="{7A97EF4C-5050-514A-9654-A0C1A56C57F7}"/>
          </ac:spMkLst>
        </pc:spChg>
        <pc:spChg chg="add mod">
          <ac:chgData name="Lamb, Ben" userId="88a6f5f3-f9e5-47eb-a109-670a0c68440d" providerId="ADAL" clId="{61283625-AFAA-A843-B4D4-BB41EDC646A4}" dt="2021-03-30T21:24:50.220" v="6820" actId="1076"/>
          <ac:spMkLst>
            <pc:docMk/>
            <pc:sldMk cId="1553481733" sldId="1715"/>
            <ac:spMk id="127" creationId="{4802BAB3-7F0F-744D-95F2-ADCEADD80805}"/>
          </ac:spMkLst>
        </pc:spChg>
        <pc:spChg chg="add mod">
          <ac:chgData name="Lamb, Ben" userId="88a6f5f3-f9e5-47eb-a109-670a0c68440d" providerId="ADAL" clId="{61283625-AFAA-A843-B4D4-BB41EDC646A4}" dt="2021-04-01T17:27:38.281" v="15827" actId="20577"/>
          <ac:spMkLst>
            <pc:docMk/>
            <pc:sldMk cId="1553481733" sldId="1715"/>
            <ac:spMk id="128" creationId="{7FB8D9AA-B8D8-6448-87FD-20250E80D346}"/>
          </ac:spMkLst>
        </pc:spChg>
        <pc:spChg chg="add mod">
          <ac:chgData name="Lamb, Ben" userId="88a6f5f3-f9e5-47eb-a109-670a0c68440d" providerId="ADAL" clId="{61283625-AFAA-A843-B4D4-BB41EDC646A4}" dt="2021-04-01T14:25:18.322" v="13749" actId="20577"/>
          <ac:spMkLst>
            <pc:docMk/>
            <pc:sldMk cId="1553481733" sldId="1715"/>
            <ac:spMk id="131" creationId="{6D0B2F07-98BC-484C-8E94-0A7D88BB3C64}"/>
          </ac:spMkLst>
        </pc:spChg>
        <pc:spChg chg="add del mod">
          <ac:chgData name="Lamb, Ben" userId="88a6f5f3-f9e5-47eb-a109-670a0c68440d" providerId="ADAL" clId="{61283625-AFAA-A843-B4D4-BB41EDC646A4}" dt="2021-03-26T19:21:40.823" v="3453"/>
          <ac:spMkLst>
            <pc:docMk/>
            <pc:sldMk cId="1553481733" sldId="1715"/>
            <ac:spMk id="132" creationId="{B27AC5F3-0698-EB44-A980-A78BF88C83C0}"/>
          </ac:spMkLst>
        </pc:spChg>
        <pc:spChg chg="add del mod">
          <ac:chgData name="Lamb, Ben" userId="88a6f5f3-f9e5-47eb-a109-670a0c68440d" providerId="ADAL" clId="{61283625-AFAA-A843-B4D4-BB41EDC646A4}" dt="2021-03-26T19:21:51.267" v="3457"/>
          <ac:spMkLst>
            <pc:docMk/>
            <pc:sldMk cId="1553481733" sldId="1715"/>
            <ac:spMk id="133" creationId="{71CA30E2-B738-0B4C-B1D6-C8770D41144C}"/>
          </ac:spMkLst>
        </pc:spChg>
        <pc:spChg chg="add del mod">
          <ac:chgData name="Lamb, Ben" userId="88a6f5f3-f9e5-47eb-a109-670a0c68440d" providerId="ADAL" clId="{61283625-AFAA-A843-B4D4-BB41EDC646A4}" dt="2021-03-26T19:24:12.643" v="3485"/>
          <ac:spMkLst>
            <pc:docMk/>
            <pc:sldMk cId="1553481733" sldId="1715"/>
            <ac:spMk id="142" creationId="{50409444-35CF-1B48-9558-26FC38F6DC6B}"/>
          </ac:spMkLst>
        </pc:spChg>
        <pc:spChg chg="add del mod">
          <ac:chgData name="Lamb, Ben" userId="88a6f5f3-f9e5-47eb-a109-670a0c68440d" providerId="ADAL" clId="{61283625-AFAA-A843-B4D4-BB41EDC646A4}" dt="2021-03-26T19:24:14.836" v="3487"/>
          <ac:spMkLst>
            <pc:docMk/>
            <pc:sldMk cId="1553481733" sldId="1715"/>
            <ac:spMk id="143" creationId="{EE08F801-0046-F341-9CA3-B3D32388EC3B}"/>
          </ac:spMkLst>
        </pc:spChg>
        <pc:spChg chg="add mod">
          <ac:chgData name="Lamb, Ben" userId="88a6f5f3-f9e5-47eb-a109-670a0c68440d" providerId="ADAL" clId="{61283625-AFAA-A843-B4D4-BB41EDC646A4}" dt="2021-03-30T21:25:11.661" v="6823" actId="1076"/>
          <ac:spMkLst>
            <pc:docMk/>
            <pc:sldMk cId="1553481733" sldId="1715"/>
            <ac:spMk id="145" creationId="{3E8AFB6B-DC07-2242-8704-09BC7C4933D2}"/>
          </ac:spMkLst>
        </pc:spChg>
        <pc:spChg chg="add del mod">
          <ac:chgData name="Lamb, Ben" userId="88a6f5f3-f9e5-47eb-a109-670a0c68440d" providerId="ADAL" clId="{61283625-AFAA-A843-B4D4-BB41EDC646A4}" dt="2021-03-26T19:27:38.954" v="3565" actId="478"/>
          <ac:spMkLst>
            <pc:docMk/>
            <pc:sldMk cId="1553481733" sldId="1715"/>
            <ac:spMk id="146" creationId="{8A755DC7-53FF-2A45-A105-C74CCBC20691}"/>
          </ac:spMkLst>
        </pc:spChg>
        <pc:graphicFrameChg chg="add del mod modGraphic">
          <ac:chgData name="Lamb, Ben" userId="88a6f5f3-f9e5-47eb-a109-670a0c68440d" providerId="ADAL" clId="{61283625-AFAA-A843-B4D4-BB41EDC646A4}" dt="2021-03-30T21:25:32.150" v="6828" actId="478"/>
          <ac:graphicFrameMkLst>
            <pc:docMk/>
            <pc:sldMk cId="1553481733" sldId="1715"/>
            <ac:graphicFrameMk id="39" creationId="{043B0214-4421-AD4E-B9AC-AF329D53DE4F}"/>
          </ac:graphicFrameMkLst>
        </pc:graphicFrameChg>
        <pc:picChg chg="add mod">
          <ac:chgData name="Lamb, Ben" userId="88a6f5f3-f9e5-47eb-a109-670a0c68440d" providerId="ADAL" clId="{61283625-AFAA-A843-B4D4-BB41EDC646A4}" dt="2021-03-30T21:25:11.661" v="6823" actId="1076"/>
          <ac:picMkLst>
            <pc:docMk/>
            <pc:sldMk cId="1553481733" sldId="1715"/>
            <ac:picMk id="26" creationId="{DF61ED40-89BE-014F-B45E-6F84E97C0A6F}"/>
          </ac:picMkLst>
        </pc:picChg>
        <pc:picChg chg="add mod">
          <ac:chgData name="Lamb, Ben" userId="88a6f5f3-f9e5-47eb-a109-670a0c68440d" providerId="ADAL" clId="{61283625-AFAA-A843-B4D4-BB41EDC646A4}" dt="2021-03-30T21:25:11.661" v="6823" actId="1076"/>
          <ac:picMkLst>
            <pc:docMk/>
            <pc:sldMk cId="1553481733" sldId="1715"/>
            <ac:picMk id="27" creationId="{BB4B7560-E98C-A645-B027-12441B91B2AA}"/>
          </ac:picMkLst>
        </pc:picChg>
        <pc:picChg chg="add mod">
          <ac:chgData name="Lamb, Ben" userId="88a6f5f3-f9e5-47eb-a109-670a0c68440d" providerId="ADAL" clId="{61283625-AFAA-A843-B4D4-BB41EDC646A4}" dt="2021-03-30T21:24:50.220" v="6820" actId="1076"/>
          <ac:picMkLst>
            <pc:docMk/>
            <pc:sldMk cId="1553481733" sldId="1715"/>
            <ac:picMk id="28" creationId="{071ACE07-A71A-4B47-8085-C21CC5129766}"/>
          </ac:picMkLst>
        </pc:picChg>
        <pc:picChg chg="add mod">
          <ac:chgData name="Lamb, Ben" userId="88a6f5f3-f9e5-47eb-a109-670a0c68440d" providerId="ADAL" clId="{61283625-AFAA-A843-B4D4-BB41EDC646A4}" dt="2021-03-30T21:24:50.220" v="6820" actId="1076"/>
          <ac:picMkLst>
            <pc:docMk/>
            <pc:sldMk cId="1553481733" sldId="1715"/>
            <ac:picMk id="79" creationId="{FEB86B5C-7F30-C747-8453-3130781A3DC3}"/>
          </ac:picMkLst>
        </pc:picChg>
        <pc:cxnChg chg="add mod">
          <ac:chgData name="Lamb, Ben" userId="88a6f5f3-f9e5-47eb-a109-670a0c68440d" providerId="ADAL" clId="{61283625-AFAA-A843-B4D4-BB41EDC646A4}" dt="2021-03-30T21:25:11.661" v="6823" actId="1076"/>
          <ac:cxnSpMkLst>
            <pc:docMk/>
            <pc:sldMk cId="1553481733" sldId="1715"/>
            <ac:cxnSpMk id="10" creationId="{EDAE3E5F-E9E0-6849-BA0C-E0F499A17093}"/>
          </ac:cxnSpMkLst>
        </pc:cxnChg>
        <pc:cxnChg chg="add mod">
          <ac:chgData name="Lamb, Ben" userId="88a6f5f3-f9e5-47eb-a109-670a0c68440d" providerId="ADAL" clId="{61283625-AFAA-A843-B4D4-BB41EDC646A4}" dt="2021-03-30T21:25:11.661" v="6823" actId="1076"/>
          <ac:cxnSpMkLst>
            <pc:docMk/>
            <pc:sldMk cId="1553481733" sldId="1715"/>
            <ac:cxnSpMk id="15" creationId="{B2FB466C-6DB7-AA43-BCCB-F6EC0AF9A2E3}"/>
          </ac:cxnSpMkLst>
        </pc:cxnChg>
        <pc:cxnChg chg="add mod">
          <ac:chgData name="Lamb, Ben" userId="88a6f5f3-f9e5-47eb-a109-670a0c68440d" providerId="ADAL" clId="{61283625-AFAA-A843-B4D4-BB41EDC646A4}" dt="2021-03-30T21:24:50.220" v="6820" actId="1076"/>
          <ac:cxnSpMkLst>
            <pc:docMk/>
            <pc:sldMk cId="1553481733" sldId="1715"/>
            <ac:cxnSpMk id="18" creationId="{6BBA5B77-D378-8545-9C78-2F4CD19A3304}"/>
          </ac:cxnSpMkLst>
        </pc:cxnChg>
        <pc:cxnChg chg="add mod">
          <ac:chgData name="Lamb, Ben" userId="88a6f5f3-f9e5-47eb-a109-670a0c68440d" providerId="ADAL" clId="{61283625-AFAA-A843-B4D4-BB41EDC646A4}" dt="2021-03-30T21:24:50.220" v="6820" actId="1076"/>
          <ac:cxnSpMkLst>
            <pc:docMk/>
            <pc:sldMk cId="1553481733" sldId="1715"/>
            <ac:cxnSpMk id="19" creationId="{927F280B-FF39-974E-A326-28732C9C28C2}"/>
          </ac:cxnSpMkLst>
        </pc:cxnChg>
        <pc:cxnChg chg="add mod">
          <ac:chgData name="Lamb, Ben" userId="88a6f5f3-f9e5-47eb-a109-670a0c68440d" providerId="ADAL" clId="{61283625-AFAA-A843-B4D4-BB41EDC646A4}" dt="2021-03-30T21:24:50.220" v="6820" actId="1076"/>
          <ac:cxnSpMkLst>
            <pc:docMk/>
            <pc:sldMk cId="1553481733" sldId="1715"/>
            <ac:cxnSpMk id="22" creationId="{4A0F444D-64E0-4348-9CBD-109983736642}"/>
          </ac:cxnSpMkLst>
        </pc:cxnChg>
        <pc:cxnChg chg="add mod">
          <ac:chgData name="Lamb, Ben" userId="88a6f5f3-f9e5-47eb-a109-670a0c68440d" providerId="ADAL" clId="{61283625-AFAA-A843-B4D4-BB41EDC646A4}" dt="2021-03-30T21:24:50.220" v="6820" actId="1076"/>
          <ac:cxnSpMkLst>
            <pc:docMk/>
            <pc:sldMk cId="1553481733" sldId="1715"/>
            <ac:cxnSpMk id="36" creationId="{2503D715-EC65-7947-8142-DBBF9AE9D5E9}"/>
          </ac:cxnSpMkLst>
        </pc:cxnChg>
        <pc:cxnChg chg="add del mod">
          <ac:chgData name="Lamb, Ben" userId="88a6f5f3-f9e5-47eb-a109-670a0c68440d" providerId="ADAL" clId="{61283625-AFAA-A843-B4D4-BB41EDC646A4}" dt="2021-03-26T18:50:50.470" v="2633" actId="478"/>
          <ac:cxnSpMkLst>
            <pc:docMk/>
            <pc:sldMk cId="1553481733" sldId="1715"/>
            <ac:cxnSpMk id="40" creationId="{935E70CC-F6BF-8D45-BBE8-3599FE298F39}"/>
          </ac:cxnSpMkLst>
        </pc:cxnChg>
        <pc:cxnChg chg="add del mod">
          <ac:chgData name="Lamb, Ben" userId="88a6f5f3-f9e5-47eb-a109-670a0c68440d" providerId="ADAL" clId="{61283625-AFAA-A843-B4D4-BB41EDC646A4}" dt="2021-03-26T18:50:25.290" v="2623" actId="478"/>
          <ac:cxnSpMkLst>
            <pc:docMk/>
            <pc:sldMk cId="1553481733" sldId="1715"/>
            <ac:cxnSpMk id="44" creationId="{FCA87AD3-726F-644F-89EA-DBC9801EB4A0}"/>
          </ac:cxnSpMkLst>
        </pc:cxnChg>
        <pc:cxnChg chg="add del mod">
          <ac:chgData name="Lamb, Ben" userId="88a6f5f3-f9e5-47eb-a109-670a0c68440d" providerId="ADAL" clId="{61283625-AFAA-A843-B4D4-BB41EDC646A4}" dt="2021-03-26T18:50:24.224" v="2622" actId="478"/>
          <ac:cxnSpMkLst>
            <pc:docMk/>
            <pc:sldMk cId="1553481733" sldId="1715"/>
            <ac:cxnSpMk id="47" creationId="{55985BE7-3189-4940-B937-83615FC5E261}"/>
          </ac:cxnSpMkLst>
        </pc:cxnChg>
        <pc:cxnChg chg="add mod">
          <ac:chgData name="Lamb, Ben" userId="88a6f5f3-f9e5-47eb-a109-670a0c68440d" providerId="ADAL" clId="{61283625-AFAA-A843-B4D4-BB41EDC646A4}" dt="2021-03-30T21:29:50.745" v="7332" actId="1076"/>
          <ac:cxnSpMkLst>
            <pc:docMk/>
            <pc:sldMk cId="1553481733" sldId="1715"/>
            <ac:cxnSpMk id="64" creationId="{AFA74A32-E6C2-3B4C-A37F-3E8F7FF99091}"/>
          </ac:cxnSpMkLst>
        </pc:cxnChg>
        <pc:cxnChg chg="add mod">
          <ac:chgData name="Lamb, Ben" userId="88a6f5f3-f9e5-47eb-a109-670a0c68440d" providerId="ADAL" clId="{61283625-AFAA-A843-B4D4-BB41EDC646A4}" dt="2021-03-30T21:25:11.661" v="6823" actId="1076"/>
          <ac:cxnSpMkLst>
            <pc:docMk/>
            <pc:sldMk cId="1553481733" sldId="1715"/>
            <ac:cxnSpMk id="80" creationId="{71DDA851-0751-7A49-8341-63097EE471D3}"/>
          </ac:cxnSpMkLst>
        </pc:cxnChg>
        <pc:cxnChg chg="add mod">
          <ac:chgData name="Lamb, Ben" userId="88a6f5f3-f9e5-47eb-a109-670a0c68440d" providerId="ADAL" clId="{61283625-AFAA-A843-B4D4-BB41EDC646A4}" dt="2021-03-30T21:24:50.220" v="6820" actId="1076"/>
          <ac:cxnSpMkLst>
            <pc:docMk/>
            <pc:sldMk cId="1553481733" sldId="1715"/>
            <ac:cxnSpMk id="85" creationId="{008DDFE9-C686-1141-8BF1-C70D347B935C}"/>
          </ac:cxnSpMkLst>
        </pc:cxnChg>
        <pc:cxnChg chg="add mod">
          <ac:chgData name="Lamb, Ben" userId="88a6f5f3-f9e5-47eb-a109-670a0c68440d" providerId="ADAL" clId="{61283625-AFAA-A843-B4D4-BB41EDC646A4}" dt="2021-03-30T21:25:11.661" v="6823" actId="1076"/>
          <ac:cxnSpMkLst>
            <pc:docMk/>
            <pc:sldMk cId="1553481733" sldId="1715"/>
            <ac:cxnSpMk id="94" creationId="{9B63AE30-F168-3542-AFC8-B66F1B1EB809}"/>
          </ac:cxnSpMkLst>
        </pc:cxnChg>
        <pc:cxnChg chg="add mod">
          <ac:chgData name="Lamb, Ben" userId="88a6f5f3-f9e5-47eb-a109-670a0c68440d" providerId="ADAL" clId="{61283625-AFAA-A843-B4D4-BB41EDC646A4}" dt="2021-03-30T21:24:50.220" v="6820" actId="1076"/>
          <ac:cxnSpMkLst>
            <pc:docMk/>
            <pc:sldMk cId="1553481733" sldId="1715"/>
            <ac:cxnSpMk id="97" creationId="{0566378F-203A-8242-B95A-3ADF0AB09F25}"/>
          </ac:cxnSpMkLst>
        </pc:cxnChg>
        <pc:cxnChg chg="add mod">
          <ac:chgData name="Lamb, Ben" userId="88a6f5f3-f9e5-47eb-a109-670a0c68440d" providerId="ADAL" clId="{61283625-AFAA-A843-B4D4-BB41EDC646A4}" dt="2021-03-30T21:25:11.661" v="6823" actId="1076"/>
          <ac:cxnSpMkLst>
            <pc:docMk/>
            <pc:sldMk cId="1553481733" sldId="1715"/>
            <ac:cxnSpMk id="147" creationId="{800E7938-2F7B-6D42-A984-07E3A19627CE}"/>
          </ac:cxnSpMkLst>
        </pc:cxnChg>
        <pc:cxnChg chg="add mod">
          <ac:chgData name="Lamb, Ben" userId="88a6f5f3-f9e5-47eb-a109-670a0c68440d" providerId="ADAL" clId="{61283625-AFAA-A843-B4D4-BB41EDC646A4}" dt="2021-03-30T21:25:11.661" v="6823" actId="1076"/>
          <ac:cxnSpMkLst>
            <pc:docMk/>
            <pc:sldMk cId="1553481733" sldId="1715"/>
            <ac:cxnSpMk id="150" creationId="{9054AA54-1474-3343-A484-0C6A00A9EF43}"/>
          </ac:cxnSpMkLst>
        </pc:cxnChg>
      </pc:sldChg>
      <pc:sldChg chg="addSp delSp modSp add mod ord">
        <pc:chgData name="Lamb, Ben" userId="88a6f5f3-f9e5-47eb-a109-670a0c68440d" providerId="ADAL" clId="{61283625-AFAA-A843-B4D4-BB41EDC646A4}" dt="2021-04-01T18:04:23.749" v="16631" actId="20578"/>
        <pc:sldMkLst>
          <pc:docMk/>
          <pc:sldMk cId="69680020" sldId="1716"/>
        </pc:sldMkLst>
        <pc:spChg chg="mod">
          <ac:chgData name="Lamb, Ben" userId="88a6f5f3-f9e5-47eb-a109-670a0c68440d" providerId="ADAL" clId="{61283625-AFAA-A843-B4D4-BB41EDC646A4}" dt="2021-04-01T18:04:15.405" v="16630" actId="20577"/>
          <ac:spMkLst>
            <pc:docMk/>
            <pc:sldMk cId="69680020" sldId="1716"/>
            <ac:spMk id="2" creationId="{6803BF32-346D-D848-BCA0-2E76713755FF}"/>
          </ac:spMkLst>
        </pc:spChg>
        <pc:spChg chg="add del mod">
          <ac:chgData name="Lamb, Ben" userId="88a6f5f3-f9e5-47eb-a109-670a0c68440d" providerId="ADAL" clId="{61283625-AFAA-A843-B4D4-BB41EDC646A4}" dt="2021-03-30T21:13:15.692" v="5625"/>
          <ac:spMkLst>
            <pc:docMk/>
            <pc:sldMk cId="69680020" sldId="1716"/>
            <ac:spMk id="3" creationId="{01851087-E461-7C40-A82E-3CD63E13F8B6}"/>
          </ac:spMkLst>
        </pc:spChg>
        <pc:spChg chg="mod">
          <ac:chgData name="Lamb, Ben" userId="88a6f5f3-f9e5-47eb-a109-670a0c68440d" providerId="ADAL" clId="{61283625-AFAA-A843-B4D4-BB41EDC646A4}" dt="2021-03-30T21:32:56.500" v="7547" actId="14100"/>
          <ac:spMkLst>
            <pc:docMk/>
            <pc:sldMk cId="69680020" sldId="1716"/>
            <ac:spMk id="5" creationId="{7496F3D1-9F54-414E-9E4A-CF185921593A}"/>
          </ac:spMkLst>
        </pc:spChg>
        <pc:spChg chg="mod">
          <ac:chgData name="Lamb, Ben" userId="88a6f5f3-f9e5-47eb-a109-670a0c68440d" providerId="ADAL" clId="{61283625-AFAA-A843-B4D4-BB41EDC646A4}" dt="2021-04-01T17:32:54.210" v="15830" actId="20577"/>
          <ac:spMkLst>
            <pc:docMk/>
            <pc:sldMk cId="69680020" sldId="1716"/>
            <ac:spMk id="6" creationId="{9EE36527-2B7C-D841-8BBA-39A4A301218D}"/>
          </ac:spMkLst>
        </pc:spChg>
        <pc:spChg chg="del mod">
          <ac:chgData name="Lamb, Ben" userId="88a6f5f3-f9e5-47eb-a109-670a0c68440d" providerId="ADAL" clId="{61283625-AFAA-A843-B4D4-BB41EDC646A4}" dt="2021-03-26T20:07:45.867" v="3914" actId="478"/>
          <ac:spMkLst>
            <pc:docMk/>
            <pc:sldMk cId="69680020" sldId="1716"/>
            <ac:spMk id="7" creationId="{7EC2D5C7-3065-C042-B369-CA2C2309D512}"/>
          </ac:spMkLst>
        </pc:spChg>
        <pc:spChg chg="mod">
          <ac:chgData name="Lamb, Ben" userId="88a6f5f3-f9e5-47eb-a109-670a0c68440d" providerId="ADAL" clId="{61283625-AFAA-A843-B4D4-BB41EDC646A4}" dt="2021-03-30T21:11:07.888" v="5517" actId="1076"/>
          <ac:spMkLst>
            <pc:docMk/>
            <pc:sldMk cId="69680020" sldId="1716"/>
            <ac:spMk id="9" creationId="{FC47455C-BE5E-9B46-A8F2-33D49C655F92}"/>
          </ac:spMkLst>
        </pc:spChg>
        <pc:spChg chg="mod">
          <ac:chgData name="Lamb, Ben" userId="88a6f5f3-f9e5-47eb-a109-670a0c68440d" providerId="ADAL" clId="{61283625-AFAA-A843-B4D4-BB41EDC646A4}" dt="2021-03-30T21:11:07.888" v="5517" actId="1076"/>
          <ac:spMkLst>
            <pc:docMk/>
            <pc:sldMk cId="69680020" sldId="1716"/>
            <ac:spMk id="12" creationId="{4793E1DF-A8BA-4B45-814D-CE4487530B8C}"/>
          </ac:spMkLst>
        </pc:spChg>
        <pc:spChg chg="mod">
          <ac:chgData name="Lamb, Ben" userId="88a6f5f3-f9e5-47eb-a109-670a0c68440d" providerId="ADAL" clId="{61283625-AFAA-A843-B4D4-BB41EDC646A4}" dt="2021-03-30T21:11:07.888" v="5517" actId="1076"/>
          <ac:spMkLst>
            <pc:docMk/>
            <pc:sldMk cId="69680020" sldId="1716"/>
            <ac:spMk id="13" creationId="{35C1F822-75BF-944C-B30D-BAEED58529DB}"/>
          </ac:spMkLst>
        </pc:spChg>
        <pc:spChg chg="mod">
          <ac:chgData name="Lamb, Ben" userId="88a6f5f3-f9e5-47eb-a109-670a0c68440d" providerId="ADAL" clId="{61283625-AFAA-A843-B4D4-BB41EDC646A4}" dt="2021-03-30T21:11:07.888" v="5517" actId="1076"/>
          <ac:spMkLst>
            <pc:docMk/>
            <pc:sldMk cId="69680020" sldId="1716"/>
            <ac:spMk id="14" creationId="{D9574139-CC82-2D45-8309-DFE356415800}"/>
          </ac:spMkLst>
        </pc:spChg>
        <pc:spChg chg="add del mod">
          <ac:chgData name="Lamb, Ben" userId="88a6f5f3-f9e5-47eb-a109-670a0c68440d" providerId="ADAL" clId="{61283625-AFAA-A843-B4D4-BB41EDC646A4}" dt="2021-03-26T20:07:44.751" v="3913" actId="478"/>
          <ac:spMkLst>
            <pc:docMk/>
            <pc:sldMk cId="69680020" sldId="1716"/>
            <ac:spMk id="16" creationId="{291918C6-3E93-D843-939D-63ADA0C0955E}"/>
          </ac:spMkLst>
        </pc:spChg>
        <pc:spChg chg="add del mod">
          <ac:chgData name="Lamb, Ben" userId="88a6f5f3-f9e5-47eb-a109-670a0c68440d" providerId="ADAL" clId="{61283625-AFAA-A843-B4D4-BB41EDC646A4}" dt="2021-03-26T20:07:44.751" v="3913" actId="478"/>
          <ac:spMkLst>
            <pc:docMk/>
            <pc:sldMk cId="69680020" sldId="1716"/>
            <ac:spMk id="17" creationId="{77B6C6D4-65BE-7F48-B2CB-57B2B02D15B5}"/>
          </ac:spMkLst>
        </pc:spChg>
        <pc:spChg chg="del">
          <ac:chgData name="Lamb, Ben" userId="88a6f5f3-f9e5-47eb-a109-670a0c68440d" providerId="ADAL" clId="{61283625-AFAA-A843-B4D4-BB41EDC646A4}" dt="2021-03-26T19:57:45.818" v="3846" actId="478"/>
          <ac:spMkLst>
            <pc:docMk/>
            <pc:sldMk cId="69680020" sldId="1716"/>
            <ac:spMk id="20" creationId="{364210EB-9D1B-7E42-978B-D54156F318C8}"/>
          </ac:spMkLst>
        </pc:spChg>
        <pc:spChg chg="mod">
          <ac:chgData name="Lamb, Ben" userId="88a6f5f3-f9e5-47eb-a109-670a0c68440d" providerId="ADAL" clId="{61283625-AFAA-A843-B4D4-BB41EDC646A4}" dt="2021-03-30T21:11:07.888" v="5517" actId="1076"/>
          <ac:spMkLst>
            <pc:docMk/>
            <pc:sldMk cId="69680020" sldId="1716"/>
            <ac:spMk id="21" creationId="{F1958830-145C-984D-9030-71E69425D5D2}"/>
          </ac:spMkLst>
        </pc:spChg>
        <pc:spChg chg="del mod">
          <ac:chgData name="Lamb, Ben" userId="88a6f5f3-f9e5-47eb-a109-670a0c68440d" providerId="ADAL" clId="{61283625-AFAA-A843-B4D4-BB41EDC646A4}" dt="2021-03-26T20:01:03.938" v="3881" actId="478"/>
          <ac:spMkLst>
            <pc:docMk/>
            <pc:sldMk cId="69680020" sldId="1716"/>
            <ac:spMk id="23" creationId="{343932C0-2353-7C4E-8CE4-C1348C669375}"/>
          </ac:spMkLst>
        </pc:spChg>
        <pc:spChg chg="mod">
          <ac:chgData name="Lamb, Ben" userId="88a6f5f3-f9e5-47eb-a109-670a0c68440d" providerId="ADAL" clId="{61283625-AFAA-A843-B4D4-BB41EDC646A4}" dt="2021-03-30T21:11:07.888" v="5517" actId="1076"/>
          <ac:spMkLst>
            <pc:docMk/>
            <pc:sldMk cId="69680020" sldId="1716"/>
            <ac:spMk id="24" creationId="{05753340-1ED1-0B45-9528-C8FB88C5B924}"/>
          </ac:spMkLst>
        </pc:spChg>
        <pc:spChg chg="mod">
          <ac:chgData name="Lamb, Ben" userId="88a6f5f3-f9e5-47eb-a109-670a0c68440d" providerId="ADAL" clId="{61283625-AFAA-A843-B4D4-BB41EDC646A4}" dt="2021-03-30T21:11:07.888" v="5517" actId="1076"/>
          <ac:spMkLst>
            <pc:docMk/>
            <pc:sldMk cId="69680020" sldId="1716"/>
            <ac:spMk id="30" creationId="{D422DB41-3AB0-2648-B589-864A6BEEF597}"/>
          </ac:spMkLst>
        </pc:spChg>
        <pc:spChg chg="mod">
          <ac:chgData name="Lamb, Ben" userId="88a6f5f3-f9e5-47eb-a109-670a0c68440d" providerId="ADAL" clId="{61283625-AFAA-A843-B4D4-BB41EDC646A4}" dt="2021-03-30T21:11:07.888" v="5517" actId="1076"/>
          <ac:spMkLst>
            <pc:docMk/>
            <pc:sldMk cId="69680020" sldId="1716"/>
            <ac:spMk id="33" creationId="{E6C1EB0B-D6C7-8844-A72A-363F4C64F301}"/>
          </ac:spMkLst>
        </pc:spChg>
        <pc:spChg chg="mod">
          <ac:chgData name="Lamb, Ben" userId="88a6f5f3-f9e5-47eb-a109-670a0c68440d" providerId="ADAL" clId="{61283625-AFAA-A843-B4D4-BB41EDC646A4}" dt="2021-03-30T21:11:07.888" v="5517" actId="1076"/>
          <ac:spMkLst>
            <pc:docMk/>
            <pc:sldMk cId="69680020" sldId="1716"/>
            <ac:spMk id="53" creationId="{E3DC0D3C-7BDA-9349-A187-4CFBCA7DFEE5}"/>
          </ac:spMkLst>
        </pc:spChg>
        <pc:spChg chg="mod">
          <ac:chgData name="Lamb, Ben" userId="88a6f5f3-f9e5-47eb-a109-670a0c68440d" providerId="ADAL" clId="{61283625-AFAA-A843-B4D4-BB41EDC646A4}" dt="2021-03-30T21:11:07.888" v="5517" actId="1076"/>
          <ac:spMkLst>
            <pc:docMk/>
            <pc:sldMk cId="69680020" sldId="1716"/>
            <ac:spMk id="73" creationId="{01103F7B-1CFB-6844-860B-AEB366E7B385}"/>
          </ac:spMkLst>
        </pc:spChg>
        <pc:spChg chg="del mod">
          <ac:chgData name="Lamb, Ben" userId="88a6f5f3-f9e5-47eb-a109-670a0c68440d" providerId="ADAL" clId="{61283625-AFAA-A843-B4D4-BB41EDC646A4}" dt="2021-03-26T20:01:07.009" v="3883" actId="478"/>
          <ac:spMkLst>
            <pc:docMk/>
            <pc:sldMk cId="69680020" sldId="1716"/>
            <ac:spMk id="75" creationId="{1D20A48F-6194-5D40-BAE0-39708E686180}"/>
          </ac:spMkLst>
        </pc:spChg>
        <pc:spChg chg="mod">
          <ac:chgData name="Lamb, Ben" userId="88a6f5f3-f9e5-47eb-a109-670a0c68440d" providerId="ADAL" clId="{61283625-AFAA-A843-B4D4-BB41EDC646A4}" dt="2021-03-30T21:11:07.888" v="5517" actId="1076"/>
          <ac:spMkLst>
            <pc:docMk/>
            <pc:sldMk cId="69680020" sldId="1716"/>
            <ac:spMk id="76" creationId="{80FA2994-89D5-F046-A9FE-C07099E0D98A}"/>
          </ac:spMkLst>
        </pc:spChg>
        <pc:spChg chg="mod">
          <ac:chgData name="Lamb, Ben" userId="88a6f5f3-f9e5-47eb-a109-670a0c68440d" providerId="ADAL" clId="{61283625-AFAA-A843-B4D4-BB41EDC646A4}" dt="2021-03-30T21:11:07.888" v="5517" actId="1076"/>
          <ac:spMkLst>
            <pc:docMk/>
            <pc:sldMk cId="69680020" sldId="1716"/>
            <ac:spMk id="77" creationId="{EEF5EC48-FE02-8C4C-9084-C90BFDF0B99C}"/>
          </ac:spMkLst>
        </pc:spChg>
        <pc:spChg chg="del">
          <ac:chgData name="Lamb, Ben" userId="88a6f5f3-f9e5-47eb-a109-670a0c68440d" providerId="ADAL" clId="{61283625-AFAA-A843-B4D4-BB41EDC646A4}" dt="2021-03-26T20:01:10.577" v="3885" actId="478"/>
          <ac:spMkLst>
            <pc:docMk/>
            <pc:sldMk cId="69680020" sldId="1716"/>
            <ac:spMk id="83" creationId="{74411139-3E4B-9642-B97E-20F088FEEEA5}"/>
          </ac:spMkLst>
        </pc:spChg>
        <pc:spChg chg="add mod">
          <ac:chgData name="Lamb, Ben" userId="88a6f5f3-f9e5-47eb-a109-670a0c68440d" providerId="ADAL" clId="{61283625-AFAA-A843-B4D4-BB41EDC646A4}" dt="2021-03-30T21:11:07.888" v="5517" actId="1076"/>
          <ac:spMkLst>
            <pc:docMk/>
            <pc:sldMk cId="69680020" sldId="1716"/>
            <ac:spMk id="91" creationId="{F2954D11-234A-D74F-BE2E-76A5431694E4}"/>
          </ac:spMkLst>
        </pc:spChg>
        <pc:spChg chg="add mod">
          <ac:chgData name="Lamb, Ben" userId="88a6f5f3-f9e5-47eb-a109-670a0c68440d" providerId="ADAL" clId="{61283625-AFAA-A843-B4D4-BB41EDC646A4}" dt="2021-03-30T21:13:13.869" v="5623" actId="20577"/>
          <ac:spMkLst>
            <pc:docMk/>
            <pc:sldMk cId="69680020" sldId="1716"/>
            <ac:spMk id="95" creationId="{A5C3B437-3E43-B94D-A46E-8B5EAE878DE2}"/>
          </ac:spMkLst>
        </pc:spChg>
        <pc:spChg chg="add mod">
          <ac:chgData name="Lamb, Ben" userId="88a6f5f3-f9e5-47eb-a109-670a0c68440d" providerId="ADAL" clId="{61283625-AFAA-A843-B4D4-BB41EDC646A4}" dt="2021-03-30T21:11:07.888" v="5517" actId="1076"/>
          <ac:spMkLst>
            <pc:docMk/>
            <pc:sldMk cId="69680020" sldId="1716"/>
            <ac:spMk id="113" creationId="{6A3B61CE-AAB9-204B-B10C-9DB438CB0EE7}"/>
          </ac:spMkLst>
        </pc:spChg>
        <pc:spChg chg="mod">
          <ac:chgData name="Lamb, Ben" userId="88a6f5f3-f9e5-47eb-a109-670a0c68440d" providerId="ADAL" clId="{61283625-AFAA-A843-B4D4-BB41EDC646A4}" dt="2021-03-30T21:11:07.888" v="5517" actId="1076"/>
          <ac:spMkLst>
            <pc:docMk/>
            <pc:sldMk cId="69680020" sldId="1716"/>
            <ac:spMk id="126" creationId="{7A97EF4C-5050-514A-9654-A0C1A56C57F7}"/>
          </ac:spMkLst>
        </pc:spChg>
        <pc:spChg chg="del">
          <ac:chgData name="Lamb, Ben" userId="88a6f5f3-f9e5-47eb-a109-670a0c68440d" providerId="ADAL" clId="{61283625-AFAA-A843-B4D4-BB41EDC646A4}" dt="2021-03-26T19:57:48.064" v="3847" actId="478"/>
          <ac:spMkLst>
            <pc:docMk/>
            <pc:sldMk cId="69680020" sldId="1716"/>
            <ac:spMk id="127" creationId="{4802BAB3-7F0F-744D-95F2-ADCEADD80805}"/>
          </ac:spMkLst>
        </pc:spChg>
        <pc:spChg chg="mod">
          <ac:chgData name="Lamb, Ben" userId="88a6f5f3-f9e5-47eb-a109-670a0c68440d" providerId="ADAL" clId="{61283625-AFAA-A843-B4D4-BB41EDC646A4}" dt="2021-03-30T21:11:07.888" v="5517" actId="1076"/>
          <ac:spMkLst>
            <pc:docMk/>
            <pc:sldMk cId="69680020" sldId="1716"/>
            <ac:spMk id="128" creationId="{7FB8D9AA-B8D8-6448-87FD-20250E80D346}"/>
          </ac:spMkLst>
        </pc:spChg>
        <pc:spChg chg="mod">
          <ac:chgData name="Lamb, Ben" userId="88a6f5f3-f9e5-47eb-a109-670a0c68440d" providerId="ADAL" clId="{61283625-AFAA-A843-B4D4-BB41EDC646A4}" dt="2021-03-30T21:11:07.888" v="5517" actId="1076"/>
          <ac:spMkLst>
            <pc:docMk/>
            <pc:sldMk cId="69680020" sldId="1716"/>
            <ac:spMk id="131" creationId="{6D0B2F07-98BC-484C-8E94-0A7D88BB3C64}"/>
          </ac:spMkLst>
        </pc:spChg>
        <pc:spChg chg="mod">
          <ac:chgData name="Lamb, Ben" userId="88a6f5f3-f9e5-47eb-a109-670a0c68440d" providerId="ADAL" clId="{61283625-AFAA-A843-B4D4-BB41EDC646A4}" dt="2021-03-30T21:11:07.888" v="5517" actId="1076"/>
          <ac:spMkLst>
            <pc:docMk/>
            <pc:sldMk cId="69680020" sldId="1716"/>
            <ac:spMk id="145" creationId="{3E8AFB6B-DC07-2242-8704-09BC7C4933D2}"/>
          </ac:spMkLst>
        </pc:spChg>
        <pc:picChg chg="del mod">
          <ac:chgData name="Lamb, Ben" userId="88a6f5f3-f9e5-47eb-a109-670a0c68440d" providerId="ADAL" clId="{61283625-AFAA-A843-B4D4-BB41EDC646A4}" dt="2021-03-26T20:01:05.391" v="3882" actId="478"/>
          <ac:picMkLst>
            <pc:docMk/>
            <pc:sldMk cId="69680020" sldId="1716"/>
            <ac:picMk id="26" creationId="{DF61ED40-89BE-014F-B45E-6F84E97C0A6F}"/>
          </ac:picMkLst>
        </pc:picChg>
        <pc:picChg chg="del mod">
          <ac:chgData name="Lamb, Ben" userId="88a6f5f3-f9e5-47eb-a109-670a0c68440d" providerId="ADAL" clId="{61283625-AFAA-A843-B4D4-BB41EDC646A4}" dt="2021-03-26T20:09:11.263" v="3941" actId="478"/>
          <ac:picMkLst>
            <pc:docMk/>
            <pc:sldMk cId="69680020" sldId="1716"/>
            <ac:picMk id="27" creationId="{BB4B7560-E98C-A645-B027-12441B91B2AA}"/>
          </ac:picMkLst>
        </pc:picChg>
        <pc:picChg chg="mod">
          <ac:chgData name="Lamb, Ben" userId="88a6f5f3-f9e5-47eb-a109-670a0c68440d" providerId="ADAL" clId="{61283625-AFAA-A843-B4D4-BB41EDC646A4}" dt="2021-03-30T21:11:07.888" v="5517" actId="1076"/>
          <ac:picMkLst>
            <pc:docMk/>
            <pc:sldMk cId="69680020" sldId="1716"/>
            <ac:picMk id="28" creationId="{071ACE07-A71A-4B47-8085-C21CC5129766}"/>
          </ac:picMkLst>
        </pc:picChg>
        <pc:picChg chg="del mod">
          <ac:chgData name="Lamb, Ben" userId="88a6f5f3-f9e5-47eb-a109-670a0c68440d" providerId="ADAL" clId="{61283625-AFAA-A843-B4D4-BB41EDC646A4}" dt="2021-03-30T16:36:19.795" v="4856" actId="478"/>
          <ac:picMkLst>
            <pc:docMk/>
            <pc:sldMk cId="69680020" sldId="1716"/>
            <ac:picMk id="79" creationId="{FEB86B5C-7F30-C747-8453-3130781A3DC3}"/>
          </ac:picMkLst>
        </pc:picChg>
        <pc:cxnChg chg="add del mod">
          <ac:chgData name="Lamb, Ben" userId="88a6f5f3-f9e5-47eb-a109-670a0c68440d" providerId="ADAL" clId="{61283625-AFAA-A843-B4D4-BB41EDC646A4}" dt="2021-03-26T20:07:44.751" v="3913" actId="478"/>
          <ac:cxnSpMkLst>
            <pc:docMk/>
            <pc:sldMk cId="69680020" sldId="1716"/>
            <ac:cxnSpMk id="10" creationId="{EDAE3E5F-E9E0-6849-BA0C-E0F499A17093}"/>
          </ac:cxnSpMkLst>
        </pc:cxnChg>
        <pc:cxnChg chg="mod">
          <ac:chgData name="Lamb, Ben" userId="88a6f5f3-f9e5-47eb-a109-670a0c68440d" providerId="ADAL" clId="{61283625-AFAA-A843-B4D4-BB41EDC646A4}" dt="2021-03-30T21:11:07.888" v="5517" actId="1076"/>
          <ac:cxnSpMkLst>
            <pc:docMk/>
            <pc:sldMk cId="69680020" sldId="1716"/>
            <ac:cxnSpMk id="15" creationId="{B2FB466C-6DB7-AA43-BCCB-F6EC0AF9A2E3}"/>
          </ac:cxnSpMkLst>
        </pc:cxnChg>
        <pc:cxnChg chg="del mod">
          <ac:chgData name="Lamb, Ben" userId="88a6f5f3-f9e5-47eb-a109-670a0c68440d" providerId="ADAL" clId="{61283625-AFAA-A843-B4D4-BB41EDC646A4}" dt="2021-03-26T19:57:59.634" v="3849" actId="478"/>
          <ac:cxnSpMkLst>
            <pc:docMk/>
            <pc:sldMk cId="69680020" sldId="1716"/>
            <ac:cxnSpMk id="18" creationId="{6BBA5B77-D378-8545-9C78-2F4CD19A3304}"/>
          </ac:cxnSpMkLst>
        </pc:cxnChg>
        <pc:cxnChg chg="add del mod">
          <ac:chgData name="Lamb, Ben" userId="88a6f5f3-f9e5-47eb-a109-670a0c68440d" providerId="ADAL" clId="{61283625-AFAA-A843-B4D4-BB41EDC646A4}" dt="2021-03-26T20:07:44.751" v="3913" actId="478"/>
          <ac:cxnSpMkLst>
            <pc:docMk/>
            <pc:sldMk cId="69680020" sldId="1716"/>
            <ac:cxnSpMk id="19" creationId="{927F280B-FF39-974E-A326-28732C9C28C2}"/>
          </ac:cxnSpMkLst>
        </pc:cxnChg>
        <pc:cxnChg chg="mod">
          <ac:chgData name="Lamb, Ben" userId="88a6f5f3-f9e5-47eb-a109-670a0c68440d" providerId="ADAL" clId="{61283625-AFAA-A843-B4D4-BB41EDC646A4}" dt="2021-03-30T21:11:07.888" v="5517" actId="1076"/>
          <ac:cxnSpMkLst>
            <pc:docMk/>
            <pc:sldMk cId="69680020" sldId="1716"/>
            <ac:cxnSpMk id="22" creationId="{4A0F444D-64E0-4348-9CBD-109983736642}"/>
          </ac:cxnSpMkLst>
        </pc:cxnChg>
        <pc:cxnChg chg="mod">
          <ac:chgData name="Lamb, Ben" userId="88a6f5f3-f9e5-47eb-a109-670a0c68440d" providerId="ADAL" clId="{61283625-AFAA-A843-B4D4-BB41EDC646A4}" dt="2021-03-30T21:11:07.888" v="5517" actId="1076"/>
          <ac:cxnSpMkLst>
            <pc:docMk/>
            <pc:sldMk cId="69680020" sldId="1716"/>
            <ac:cxnSpMk id="36" creationId="{2503D715-EC65-7947-8142-DBBF9AE9D5E9}"/>
          </ac:cxnSpMkLst>
        </pc:cxnChg>
        <pc:cxnChg chg="add mod">
          <ac:chgData name="Lamb, Ben" userId="88a6f5f3-f9e5-47eb-a109-670a0c68440d" providerId="ADAL" clId="{61283625-AFAA-A843-B4D4-BB41EDC646A4}" dt="2021-03-30T21:11:07.888" v="5517" actId="1076"/>
          <ac:cxnSpMkLst>
            <pc:docMk/>
            <pc:sldMk cId="69680020" sldId="1716"/>
            <ac:cxnSpMk id="54" creationId="{C6393E9B-F467-A34D-BE60-70EDF7C12186}"/>
          </ac:cxnSpMkLst>
        </pc:cxnChg>
        <pc:cxnChg chg="mod">
          <ac:chgData name="Lamb, Ben" userId="88a6f5f3-f9e5-47eb-a109-670a0c68440d" providerId="ADAL" clId="{61283625-AFAA-A843-B4D4-BB41EDC646A4}" dt="2021-03-30T21:11:07.888" v="5517" actId="1076"/>
          <ac:cxnSpMkLst>
            <pc:docMk/>
            <pc:sldMk cId="69680020" sldId="1716"/>
            <ac:cxnSpMk id="64" creationId="{AFA74A32-E6C2-3B4C-A37F-3E8F7FF99091}"/>
          </ac:cxnSpMkLst>
        </pc:cxnChg>
        <pc:cxnChg chg="del mod">
          <ac:chgData name="Lamb, Ben" userId="88a6f5f3-f9e5-47eb-a109-670a0c68440d" providerId="ADAL" clId="{61283625-AFAA-A843-B4D4-BB41EDC646A4}" dt="2021-03-26T20:01:09.052" v="3884" actId="478"/>
          <ac:cxnSpMkLst>
            <pc:docMk/>
            <pc:sldMk cId="69680020" sldId="1716"/>
            <ac:cxnSpMk id="80" creationId="{71DDA851-0751-7A49-8341-63097EE471D3}"/>
          </ac:cxnSpMkLst>
        </pc:cxnChg>
        <pc:cxnChg chg="mod">
          <ac:chgData name="Lamb, Ben" userId="88a6f5f3-f9e5-47eb-a109-670a0c68440d" providerId="ADAL" clId="{61283625-AFAA-A843-B4D4-BB41EDC646A4}" dt="2021-03-30T21:11:07.888" v="5517" actId="1076"/>
          <ac:cxnSpMkLst>
            <pc:docMk/>
            <pc:sldMk cId="69680020" sldId="1716"/>
            <ac:cxnSpMk id="85" creationId="{008DDFE9-C686-1141-8BF1-C70D347B935C}"/>
          </ac:cxnSpMkLst>
        </pc:cxnChg>
        <pc:cxnChg chg="del mod">
          <ac:chgData name="Lamb, Ben" userId="88a6f5f3-f9e5-47eb-a109-670a0c68440d" providerId="ADAL" clId="{61283625-AFAA-A843-B4D4-BB41EDC646A4}" dt="2021-03-26T20:01:38.077" v="3890" actId="478"/>
          <ac:cxnSpMkLst>
            <pc:docMk/>
            <pc:sldMk cId="69680020" sldId="1716"/>
            <ac:cxnSpMk id="94" creationId="{9B63AE30-F168-3542-AFC8-B66F1B1EB809}"/>
          </ac:cxnSpMkLst>
        </pc:cxnChg>
        <pc:cxnChg chg="mod">
          <ac:chgData name="Lamb, Ben" userId="88a6f5f3-f9e5-47eb-a109-670a0c68440d" providerId="ADAL" clId="{61283625-AFAA-A843-B4D4-BB41EDC646A4}" dt="2021-03-30T21:11:07.888" v="5517" actId="1076"/>
          <ac:cxnSpMkLst>
            <pc:docMk/>
            <pc:sldMk cId="69680020" sldId="1716"/>
            <ac:cxnSpMk id="97" creationId="{0566378F-203A-8242-B95A-3ADF0AB09F25}"/>
          </ac:cxnSpMkLst>
        </pc:cxnChg>
        <pc:cxnChg chg="add mod">
          <ac:chgData name="Lamb, Ben" userId="88a6f5f3-f9e5-47eb-a109-670a0c68440d" providerId="ADAL" clId="{61283625-AFAA-A843-B4D4-BB41EDC646A4}" dt="2021-03-30T21:11:07.888" v="5517" actId="1076"/>
          <ac:cxnSpMkLst>
            <pc:docMk/>
            <pc:sldMk cId="69680020" sldId="1716"/>
            <ac:cxnSpMk id="114" creationId="{97AFC2A4-6861-9A46-8995-76C1702415AF}"/>
          </ac:cxnSpMkLst>
        </pc:cxnChg>
        <pc:cxnChg chg="del mod">
          <ac:chgData name="Lamb, Ben" userId="88a6f5f3-f9e5-47eb-a109-670a0c68440d" providerId="ADAL" clId="{61283625-AFAA-A843-B4D4-BB41EDC646A4}" dt="2021-03-26T20:01:22.821" v="3886" actId="478"/>
          <ac:cxnSpMkLst>
            <pc:docMk/>
            <pc:sldMk cId="69680020" sldId="1716"/>
            <ac:cxnSpMk id="147" creationId="{800E7938-2F7B-6D42-A984-07E3A19627CE}"/>
          </ac:cxnSpMkLst>
        </pc:cxnChg>
        <pc:cxnChg chg="mod">
          <ac:chgData name="Lamb, Ben" userId="88a6f5f3-f9e5-47eb-a109-670a0c68440d" providerId="ADAL" clId="{61283625-AFAA-A843-B4D4-BB41EDC646A4}" dt="2021-03-30T21:11:07.888" v="5517" actId="1076"/>
          <ac:cxnSpMkLst>
            <pc:docMk/>
            <pc:sldMk cId="69680020" sldId="1716"/>
            <ac:cxnSpMk id="150" creationId="{9054AA54-1474-3343-A484-0C6A00A9EF43}"/>
          </ac:cxnSpMkLst>
        </pc:cxnChg>
      </pc:sldChg>
      <pc:sldChg chg="add">
        <pc:chgData name="Lamb, Ben" userId="88a6f5f3-f9e5-47eb-a109-670a0c68440d" providerId="ADAL" clId="{61283625-AFAA-A843-B4D4-BB41EDC646A4}" dt="2021-03-31T20:10:00.807" v="11674"/>
        <pc:sldMkLst>
          <pc:docMk/>
          <pc:sldMk cId="1518848046" sldId="1717"/>
        </pc:sldMkLst>
      </pc:sldChg>
      <pc:sldChg chg="addSp delSp modSp add del mod modClrScheme chgLayout">
        <pc:chgData name="Lamb, Ben" userId="88a6f5f3-f9e5-47eb-a109-670a0c68440d" providerId="ADAL" clId="{61283625-AFAA-A843-B4D4-BB41EDC646A4}" dt="2021-03-31T20:09:58.093" v="11673" actId="2696"/>
        <pc:sldMkLst>
          <pc:docMk/>
          <pc:sldMk cId="2536272028" sldId="1717"/>
        </pc:sldMkLst>
        <pc:spChg chg="mod ord">
          <ac:chgData name="Lamb, Ben" userId="88a6f5f3-f9e5-47eb-a109-670a0c68440d" providerId="ADAL" clId="{61283625-AFAA-A843-B4D4-BB41EDC646A4}" dt="2021-03-30T21:40:55.835" v="8058" actId="700"/>
          <ac:spMkLst>
            <pc:docMk/>
            <pc:sldMk cId="2536272028" sldId="1717"/>
            <ac:spMk id="2" creationId="{DD15E65C-F4EF-44EB-82D7-0352E8A99F82}"/>
          </ac:spMkLst>
        </pc:spChg>
        <pc:spChg chg="mod ord">
          <ac:chgData name="Lamb, Ben" userId="88a6f5f3-f9e5-47eb-a109-670a0c68440d" providerId="ADAL" clId="{61283625-AFAA-A843-B4D4-BB41EDC646A4}" dt="2021-03-30T21:41:09.333" v="8088" actId="20577"/>
          <ac:spMkLst>
            <pc:docMk/>
            <pc:sldMk cId="2536272028" sldId="1717"/>
            <ac:spMk id="3" creationId="{56305F7F-B15F-4260-A5C2-A47F64F85F05}"/>
          </ac:spMkLst>
        </pc:spChg>
        <pc:spChg chg="add del mod ord">
          <ac:chgData name="Lamb, Ben" userId="88a6f5f3-f9e5-47eb-a109-670a0c68440d" providerId="ADAL" clId="{61283625-AFAA-A843-B4D4-BB41EDC646A4}" dt="2021-03-30T21:40:45.883" v="8057" actId="700"/>
          <ac:spMkLst>
            <pc:docMk/>
            <pc:sldMk cId="2536272028" sldId="1717"/>
            <ac:spMk id="4" creationId="{96A1D2F8-CC33-604F-B1DC-CFA4226E3B00}"/>
          </ac:spMkLst>
        </pc:spChg>
        <pc:spChg chg="add del mod ord">
          <ac:chgData name="Lamb, Ben" userId="88a6f5f3-f9e5-47eb-a109-670a0c68440d" providerId="ADAL" clId="{61283625-AFAA-A843-B4D4-BB41EDC646A4}" dt="2021-03-30T21:40:45.883" v="8057" actId="700"/>
          <ac:spMkLst>
            <pc:docMk/>
            <pc:sldMk cId="2536272028" sldId="1717"/>
            <ac:spMk id="5" creationId="{01DADA10-247F-0D40-851E-9067277F21AD}"/>
          </ac:spMkLst>
        </pc:spChg>
        <pc:spChg chg="del mod">
          <ac:chgData name="Lamb, Ben" userId="88a6f5f3-f9e5-47eb-a109-670a0c68440d" providerId="ADAL" clId="{61283625-AFAA-A843-B4D4-BB41EDC646A4}" dt="2021-03-26T20:19:18.939" v="4053" actId="478"/>
          <ac:spMkLst>
            <pc:docMk/>
            <pc:sldMk cId="2536272028" sldId="1717"/>
            <ac:spMk id="6" creationId="{20C16335-C81E-9D45-9679-384B0370F439}"/>
          </ac:spMkLst>
        </pc:spChg>
        <pc:spChg chg="add mod ord">
          <ac:chgData name="Lamb, Ben" userId="88a6f5f3-f9e5-47eb-a109-670a0c68440d" providerId="ADAL" clId="{61283625-AFAA-A843-B4D4-BB41EDC646A4}" dt="2021-03-30T22:32:36.746" v="8541" actId="14100"/>
          <ac:spMkLst>
            <pc:docMk/>
            <pc:sldMk cId="2536272028" sldId="1717"/>
            <ac:spMk id="6" creationId="{B87EC67C-60AE-9245-8433-2FF1558D892B}"/>
          </ac:spMkLst>
        </pc:spChg>
        <pc:spChg chg="del mod">
          <ac:chgData name="Lamb, Ben" userId="88a6f5f3-f9e5-47eb-a109-670a0c68440d" providerId="ADAL" clId="{61283625-AFAA-A843-B4D4-BB41EDC646A4}" dt="2021-03-26T20:19:18.939" v="4053" actId="478"/>
          <ac:spMkLst>
            <pc:docMk/>
            <pc:sldMk cId="2536272028" sldId="1717"/>
            <ac:spMk id="7" creationId="{632E7446-0174-DC4A-A99A-BCB7B4C1AB4D}"/>
          </ac:spMkLst>
        </pc:spChg>
        <pc:spChg chg="add del mod">
          <ac:chgData name="Lamb, Ben" userId="88a6f5f3-f9e5-47eb-a109-670a0c68440d" providerId="ADAL" clId="{61283625-AFAA-A843-B4D4-BB41EDC646A4}" dt="2021-03-29T12:43:45.031" v="4854" actId="478"/>
          <ac:spMkLst>
            <pc:docMk/>
            <pc:sldMk cId="2536272028" sldId="1717"/>
            <ac:spMk id="8" creationId="{DB243471-F66E-504E-8281-90088F43DE6B}"/>
          </ac:spMkLst>
        </pc:spChg>
        <pc:spChg chg="del mod">
          <ac:chgData name="Lamb, Ben" userId="88a6f5f3-f9e5-47eb-a109-670a0c68440d" providerId="ADAL" clId="{61283625-AFAA-A843-B4D4-BB41EDC646A4}" dt="2021-03-26T20:19:18.939" v="4053" actId="478"/>
          <ac:spMkLst>
            <pc:docMk/>
            <pc:sldMk cId="2536272028" sldId="1717"/>
            <ac:spMk id="12" creationId="{EA824697-A5D5-2845-BCDC-0450521A6658}"/>
          </ac:spMkLst>
        </pc:spChg>
        <pc:spChg chg="del mod">
          <ac:chgData name="Lamb, Ben" userId="88a6f5f3-f9e5-47eb-a109-670a0c68440d" providerId="ADAL" clId="{61283625-AFAA-A843-B4D4-BB41EDC646A4}" dt="2021-03-26T20:19:18.939" v="4053" actId="478"/>
          <ac:spMkLst>
            <pc:docMk/>
            <pc:sldMk cId="2536272028" sldId="1717"/>
            <ac:spMk id="15" creationId="{45DAF3C9-E9C2-2842-B3E0-8A1BDA539142}"/>
          </ac:spMkLst>
        </pc:spChg>
        <pc:spChg chg="del mod">
          <ac:chgData name="Lamb, Ben" userId="88a6f5f3-f9e5-47eb-a109-670a0c68440d" providerId="ADAL" clId="{61283625-AFAA-A843-B4D4-BB41EDC646A4}" dt="2021-03-26T20:19:18.939" v="4053" actId="478"/>
          <ac:spMkLst>
            <pc:docMk/>
            <pc:sldMk cId="2536272028" sldId="1717"/>
            <ac:spMk id="19" creationId="{DE0B6E77-8468-B945-8323-5737BBA01E8E}"/>
          </ac:spMkLst>
        </pc:spChg>
        <pc:spChg chg="del mod">
          <ac:chgData name="Lamb, Ben" userId="88a6f5f3-f9e5-47eb-a109-670a0c68440d" providerId="ADAL" clId="{61283625-AFAA-A843-B4D4-BB41EDC646A4}" dt="2021-03-26T20:19:18.939" v="4053" actId="478"/>
          <ac:spMkLst>
            <pc:docMk/>
            <pc:sldMk cId="2536272028" sldId="1717"/>
            <ac:spMk id="20" creationId="{3304B433-B9FB-DA4C-9FC8-F2A9C2234971}"/>
          </ac:spMkLst>
        </pc:spChg>
        <pc:spChg chg="del mod">
          <ac:chgData name="Lamb, Ben" userId="88a6f5f3-f9e5-47eb-a109-670a0c68440d" providerId="ADAL" clId="{61283625-AFAA-A843-B4D4-BB41EDC646A4}" dt="2021-03-26T20:19:18.939" v="4053" actId="478"/>
          <ac:spMkLst>
            <pc:docMk/>
            <pc:sldMk cId="2536272028" sldId="1717"/>
            <ac:spMk id="21" creationId="{07987C12-113F-594A-A5EA-FEC10A9682F5}"/>
          </ac:spMkLst>
        </pc:spChg>
        <pc:spChg chg="del mod">
          <ac:chgData name="Lamb, Ben" userId="88a6f5f3-f9e5-47eb-a109-670a0c68440d" providerId="ADAL" clId="{61283625-AFAA-A843-B4D4-BB41EDC646A4}" dt="2021-03-26T20:19:18.939" v="4053" actId="478"/>
          <ac:spMkLst>
            <pc:docMk/>
            <pc:sldMk cId="2536272028" sldId="1717"/>
            <ac:spMk id="22" creationId="{3C4DB53B-9EAB-7C42-B95A-046CB78D927B}"/>
          </ac:spMkLst>
        </pc:spChg>
        <pc:spChg chg="add del mod">
          <ac:chgData name="Lamb, Ben" userId="88a6f5f3-f9e5-47eb-a109-670a0c68440d" providerId="ADAL" clId="{61283625-AFAA-A843-B4D4-BB41EDC646A4}" dt="2021-03-30T21:42:41.218" v="8090" actId="478"/>
          <ac:spMkLst>
            <pc:docMk/>
            <pc:sldMk cId="2536272028" sldId="1717"/>
            <ac:spMk id="23" creationId="{330757F1-6766-6E44-B79F-992E395AB3A8}"/>
          </ac:spMkLst>
        </pc:spChg>
        <pc:spChg chg="add del mod">
          <ac:chgData name="Lamb, Ben" userId="88a6f5f3-f9e5-47eb-a109-670a0c68440d" providerId="ADAL" clId="{61283625-AFAA-A843-B4D4-BB41EDC646A4}" dt="2021-03-30T21:42:41.218" v="8090" actId="478"/>
          <ac:spMkLst>
            <pc:docMk/>
            <pc:sldMk cId="2536272028" sldId="1717"/>
            <ac:spMk id="24" creationId="{15E58ACE-DA09-B648-B1DF-299AF014A02D}"/>
          </ac:spMkLst>
        </pc:spChg>
        <pc:spChg chg="add del mod">
          <ac:chgData name="Lamb, Ben" userId="88a6f5f3-f9e5-47eb-a109-670a0c68440d" providerId="ADAL" clId="{61283625-AFAA-A843-B4D4-BB41EDC646A4}" dt="2021-03-26T20:19:27.979" v="4054" actId="478"/>
          <ac:spMkLst>
            <pc:docMk/>
            <pc:sldMk cId="2536272028" sldId="1717"/>
            <ac:spMk id="26" creationId="{D539DD90-25FA-4240-83A4-1B1E3179FA16}"/>
          </ac:spMkLst>
        </pc:spChg>
        <pc:spChg chg="add del mod">
          <ac:chgData name="Lamb, Ben" userId="88a6f5f3-f9e5-47eb-a109-670a0c68440d" providerId="ADAL" clId="{61283625-AFAA-A843-B4D4-BB41EDC646A4}" dt="2021-03-30T21:42:41.218" v="8090" actId="478"/>
          <ac:spMkLst>
            <pc:docMk/>
            <pc:sldMk cId="2536272028" sldId="1717"/>
            <ac:spMk id="27" creationId="{9C427244-8D59-744B-9B8F-7C991E06DF31}"/>
          </ac:spMkLst>
        </pc:spChg>
        <pc:spChg chg="add del mod">
          <ac:chgData name="Lamb, Ben" userId="88a6f5f3-f9e5-47eb-a109-670a0c68440d" providerId="ADAL" clId="{61283625-AFAA-A843-B4D4-BB41EDC646A4}" dt="2021-03-30T21:42:41.218" v="8090" actId="478"/>
          <ac:spMkLst>
            <pc:docMk/>
            <pc:sldMk cId="2536272028" sldId="1717"/>
            <ac:spMk id="28" creationId="{4CF1E824-DE84-594D-B3DF-791046083ED7}"/>
          </ac:spMkLst>
        </pc:spChg>
        <pc:spChg chg="del mod">
          <ac:chgData name="Lamb, Ben" userId="88a6f5f3-f9e5-47eb-a109-670a0c68440d" providerId="ADAL" clId="{61283625-AFAA-A843-B4D4-BB41EDC646A4}" dt="2021-03-26T20:19:18.939" v="4053" actId="478"/>
          <ac:spMkLst>
            <pc:docMk/>
            <pc:sldMk cId="2536272028" sldId="1717"/>
            <ac:spMk id="29" creationId="{9F415798-9997-BB44-97E8-C20B6543DE6B}"/>
          </ac:spMkLst>
        </pc:spChg>
        <pc:spChg chg="add del mod">
          <ac:chgData name="Lamb, Ben" userId="88a6f5f3-f9e5-47eb-a109-670a0c68440d" providerId="ADAL" clId="{61283625-AFAA-A843-B4D4-BB41EDC646A4}" dt="2021-03-30T21:42:41.218" v="8090" actId="478"/>
          <ac:spMkLst>
            <pc:docMk/>
            <pc:sldMk cId="2536272028" sldId="1717"/>
            <ac:spMk id="31" creationId="{0E9E3629-3BB1-F642-B363-0F5B0314B836}"/>
          </ac:spMkLst>
        </pc:spChg>
        <pc:spChg chg="add del mod">
          <ac:chgData name="Lamb, Ben" userId="88a6f5f3-f9e5-47eb-a109-670a0c68440d" providerId="ADAL" clId="{61283625-AFAA-A843-B4D4-BB41EDC646A4}" dt="2021-03-30T21:42:41.218" v="8090" actId="478"/>
          <ac:spMkLst>
            <pc:docMk/>
            <pc:sldMk cId="2536272028" sldId="1717"/>
            <ac:spMk id="34" creationId="{7C9A75E0-DD75-3747-A439-84CDDBCFD980}"/>
          </ac:spMkLst>
        </pc:spChg>
        <pc:spChg chg="add del mod">
          <ac:chgData name="Lamb, Ben" userId="88a6f5f3-f9e5-47eb-a109-670a0c68440d" providerId="ADAL" clId="{61283625-AFAA-A843-B4D4-BB41EDC646A4}" dt="2021-03-30T21:42:41.218" v="8090" actId="478"/>
          <ac:spMkLst>
            <pc:docMk/>
            <pc:sldMk cId="2536272028" sldId="1717"/>
            <ac:spMk id="38" creationId="{56072D58-D304-7948-80F2-F1B65B4BAC19}"/>
          </ac:spMkLst>
        </pc:spChg>
        <pc:spChg chg="add del mod">
          <ac:chgData name="Lamb, Ben" userId="88a6f5f3-f9e5-47eb-a109-670a0c68440d" providerId="ADAL" clId="{61283625-AFAA-A843-B4D4-BB41EDC646A4}" dt="2021-03-26T20:19:31.715" v="4056" actId="478"/>
          <ac:spMkLst>
            <pc:docMk/>
            <pc:sldMk cId="2536272028" sldId="1717"/>
            <ac:spMk id="40" creationId="{4EC76175-33FF-C64E-A127-55B535D240AD}"/>
          </ac:spMkLst>
        </pc:spChg>
        <pc:spChg chg="add del mod">
          <ac:chgData name="Lamb, Ben" userId="88a6f5f3-f9e5-47eb-a109-670a0c68440d" providerId="ADAL" clId="{61283625-AFAA-A843-B4D4-BB41EDC646A4}" dt="2021-03-26T20:19:30.019" v="4055" actId="478"/>
          <ac:spMkLst>
            <pc:docMk/>
            <pc:sldMk cId="2536272028" sldId="1717"/>
            <ac:spMk id="41" creationId="{6F282C26-FE40-5945-B64A-8CA6B152F1EE}"/>
          </ac:spMkLst>
        </pc:spChg>
        <pc:spChg chg="add del mod">
          <ac:chgData name="Lamb, Ben" userId="88a6f5f3-f9e5-47eb-a109-670a0c68440d" providerId="ADAL" clId="{61283625-AFAA-A843-B4D4-BB41EDC646A4}" dt="2021-03-30T21:42:41.218" v="8090" actId="478"/>
          <ac:spMkLst>
            <pc:docMk/>
            <pc:sldMk cId="2536272028" sldId="1717"/>
            <ac:spMk id="42" creationId="{FD73F362-C790-184C-BAED-D4BBE072AC47}"/>
          </ac:spMkLst>
        </pc:spChg>
        <pc:spChg chg="add del mod">
          <ac:chgData name="Lamb, Ben" userId="88a6f5f3-f9e5-47eb-a109-670a0c68440d" providerId="ADAL" clId="{61283625-AFAA-A843-B4D4-BB41EDC646A4}" dt="2021-03-30T21:42:41.218" v="8090" actId="478"/>
          <ac:spMkLst>
            <pc:docMk/>
            <pc:sldMk cId="2536272028" sldId="1717"/>
            <ac:spMk id="43" creationId="{3AC7FD7D-D09A-BA40-98E6-7E124104A574}"/>
          </ac:spMkLst>
        </pc:spChg>
        <pc:spChg chg="add del mod">
          <ac:chgData name="Lamb, Ben" userId="88a6f5f3-f9e5-47eb-a109-670a0c68440d" providerId="ADAL" clId="{61283625-AFAA-A843-B4D4-BB41EDC646A4}" dt="2021-03-30T21:42:41.218" v="8090" actId="478"/>
          <ac:spMkLst>
            <pc:docMk/>
            <pc:sldMk cId="2536272028" sldId="1717"/>
            <ac:spMk id="45" creationId="{816147D5-E314-7448-8687-D0779C44CBDE}"/>
          </ac:spMkLst>
        </pc:spChg>
        <pc:spChg chg="add mod">
          <ac:chgData name="Lamb, Ben" userId="88a6f5f3-f9e5-47eb-a109-670a0c68440d" providerId="ADAL" clId="{61283625-AFAA-A843-B4D4-BB41EDC646A4}" dt="2021-03-30T22:33:02.766" v="8548" actId="20577"/>
          <ac:spMkLst>
            <pc:docMk/>
            <pc:sldMk cId="2536272028" sldId="1717"/>
            <ac:spMk id="46" creationId="{095EED64-CE9B-FA42-A49B-EB8593FF65D8}"/>
          </ac:spMkLst>
        </pc:spChg>
        <pc:spChg chg="add del mod">
          <ac:chgData name="Lamb, Ben" userId="88a6f5f3-f9e5-47eb-a109-670a0c68440d" providerId="ADAL" clId="{61283625-AFAA-A843-B4D4-BB41EDC646A4}" dt="2021-03-31T20:08:25.196" v="11657" actId="478"/>
          <ac:spMkLst>
            <pc:docMk/>
            <pc:sldMk cId="2536272028" sldId="1717"/>
            <ac:spMk id="47" creationId="{EFC80FB8-7B02-984E-A956-C3F052BC9376}"/>
          </ac:spMkLst>
        </pc:spChg>
        <pc:spChg chg="add del mod">
          <ac:chgData name="Lamb, Ben" userId="88a6f5f3-f9e5-47eb-a109-670a0c68440d" providerId="ADAL" clId="{61283625-AFAA-A843-B4D4-BB41EDC646A4}" dt="2021-03-30T21:42:41.218" v="8090" actId="478"/>
          <ac:spMkLst>
            <pc:docMk/>
            <pc:sldMk cId="2536272028" sldId="1717"/>
            <ac:spMk id="50" creationId="{163BA0E6-D7D5-7C47-8AC2-73E14487F027}"/>
          </ac:spMkLst>
        </pc:spChg>
        <pc:spChg chg="del mod">
          <ac:chgData name="Lamb, Ben" userId="88a6f5f3-f9e5-47eb-a109-670a0c68440d" providerId="ADAL" clId="{61283625-AFAA-A843-B4D4-BB41EDC646A4}" dt="2021-03-26T20:19:18.939" v="4053" actId="478"/>
          <ac:spMkLst>
            <pc:docMk/>
            <pc:sldMk cId="2536272028" sldId="1717"/>
            <ac:spMk id="51" creationId="{4C79C4B0-4C2B-4646-B937-DA29712BE7F0}"/>
          </ac:spMkLst>
        </pc:spChg>
        <pc:spChg chg="add mod">
          <ac:chgData name="Lamb, Ben" userId="88a6f5f3-f9e5-47eb-a109-670a0c68440d" providerId="ADAL" clId="{61283625-AFAA-A843-B4D4-BB41EDC646A4}" dt="2021-03-30T22:33:09.066" v="8550" actId="1076"/>
          <ac:spMkLst>
            <pc:docMk/>
            <pc:sldMk cId="2536272028" sldId="1717"/>
            <ac:spMk id="51" creationId="{F878D8CC-FFEE-E947-8499-67821A7E714F}"/>
          </ac:spMkLst>
        </pc:spChg>
        <pc:spChg chg="add del mod">
          <ac:chgData name="Lamb, Ben" userId="88a6f5f3-f9e5-47eb-a109-670a0c68440d" providerId="ADAL" clId="{61283625-AFAA-A843-B4D4-BB41EDC646A4}" dt="2021-03-31T20:08:25.196" v="11657" actId="478"/>
          <ac:spMkLst>
            <pc:docMk/>
            <pc:sldMk cId="2536272028" sldId="1717"/>
            <ac:spMk id="53" creationId="{23CC3FA5-86AB-F946-8342-8202B0BA6F2A}"/>
          </ac:spMkLst>
        </pc:spChg>
        <pc:spChg chg="add del mod">
          <ac:chgData name="Lamb, Ben" userId="88a6f5f3-f9e5-47eb-a109-670a0c68440d" providerId="ADAL" clId="{61283625-AFAA-A843-B4D4-BB41EDC646A4}" dt="2021-03-31T20:08:25.196" v="11657" actId="478"/>
          <ac:spMkLst>
            <pc:docMk/>
            <pc:sldMk cId="2536272028" sldId="1717"/>
            <ac:spMk id="54" creationId="{88CEEC22-AF7E-6C44-9BF1-D5949D442A0B}"/>
          </ac:spMkLst>
        </pc:spChg>
        <pc:spChg chg="del mod">
          <ac:chgData name="Lamb, Ben" userId="88a6f5f3-f9e5-47eb-a109-670a0c68440d" providerId="ADAL" clId="{61283625-AFAA-A843-B4D4-BB41EDC646A4}" dt="2021-03-26T20:19:18.939" v="4053" actId="478"/>
          <ac:spMkLst>
            <pc:docMk/>
            <pc:sldMk cId="2536272028" sldId="1717"/>
            <ac:spMk id="54" creationId="{F0963306-3EA7-C44F-A855-5DA75323F850}"/>
          </ac:spMkLst>
        </pc:spChg>
        <pc:spChg chg="add mod">
          <ac:chgData name="Lamb, Ben" userId="88a6f5f3-f9e5-47eb-a109-670a0c68440d" providerId="ADAL" clId="{61283625-AFAA-A843-B4D4-BB41EDC646A4}" dt="2021-03-30T22:32:45.679" v="8542" actId="1076"/>
          <ac:spMkLst>
            <pc:docMk/>
            <pc:sldMk cId="2536272028" sldId="1717"/>
            <ac:spMk id="55" creationId="{63BED952-3360-DE47-887C-5ECA70E3AC0E}"/>
          </ac:spMkLst>
        </pc:spChg>
        <pc:spChg chg="add del mod">
          <ac:chgData name="Lamb, Ben" userId="88a6f5f3-f9e5-47eb-a109-670a0c68440d" providerId="ADAL" clId="{61283625-AFAA-A843-B4D4-BB41EDC646A4}" dt="2021-03-26T20:23:41.767" v="4191" actId="478"/>
          <ac:spMkLst>
            <pc:docMk/>
            <pc:sldMk cId="2536272028" sldId="1717"/>
            <ac:spMk id="55" creationId="{C41F222F-86B2-2143-B6DF-910E46D43E7B}"/>
          </ac:spMkLst>
        </pc:spChg>
        <pc:spChg chg="add mod">
          <ac:chgData name="Lamb, Ben" userId="88a6f5f3-f9e5-47eb-a109-670a0c68440d" providerId="ADAL" clId="{61283625-AFAA-A843-B4D4-BB41EDC646A4}" dt="2021-03-30T22:33:21.801" v="8556" actId="1076"/>
          <ac:spMkLst>
            <pc:docMk/>
            <pc:sldMk cId="2536272028" sldId="1717"/>
            <ac:spMk id="56" creationId="{C348EA47-95C3-3947-AC1C-A346EEF3916C}"/>
          </ac:spMkLst>
        </pc:spChg>
        <pc:spChg chg="add del mod">
          <ac:chgData name="Lamb, Ben" userId="88a6f5f3-f9e5-47eb-a109-670a0c68440d" providerId="ADAL" clId="{61283625-AFAA-A843-B4D4-BB41EDC646A4}" dt="2021-03-30T22:01:24.166" v="8242" actId="478"/>
          <ac:spMkLst>
            <pc:docMk/>
            <pc:sldMk cId="2536272028" sldId="1717"/>
            <ac:spMk id="57" creationId="{B3781440-CC4C-654E-8051-F00271560423}"/>
          </ac:spMkLst>
        </pc:spChg>
        <pc:spChg chg="add del mod">
          <ac:chgData name="Lamb, Ben" userId="88a6f5f3-f9e5-47eb-a109-670a0c68440d" providerId="ADAL" clId="{61283625-AFAA-A843-B4D4-BB41EDC646A4}" dt="2021-03-26T20:24:03.263" v="4197" actId="478"/>
          <ac:spMkLst>
            <pc:docMk/>
            <pc:sldMk cId="2536272028" sldId="1717"/>
            <ac:spMk id="58" creationId="{7074C3DC-35F2-1343-B1F3-35E8B854C1A6}"/>
          </ac:spMkLst>
        </pc:spChg>
        <pc:spChg chg="add mod">
          <ac:chgData name="Lamb, Ben" userId="88a6f5f3-f9e5-47eb-a109-670a0c68440d" providerId="ADAL" clId="{61283625-AFAA-A843-B4D4-BB41EDC646A4}" dt="2021-03-30T22:32:45.679" v="8542" actId="1076"/>
          <ac:spMkLst>
            <pc:docMk/>
            <pc:sldMk cId="2536272028" sldId="1717"/>
            <ac:spMk id="58" creationId="{8164EF65-E3D3-E742-A6B9-DC54BF29D0B5}"/>
          </ac:spMkLst>
        </pc:spChg>
        <pc:spChg chg="add mod">
          <ac:chgData name="Lamb, Ben" userId="88a6f5f3-f9e5-47eb-a109-670a0c68440d" providerId="ADAL" clId="{61283625-AFAA-A843-B4D4-BB41EDC646A4}" dt="2021-03-30T22:32:45.679" v="8542" actId="1076"/>
          <ac:spMkLst>
            <pc:docMk/>
            <pc:sldMk cId="2536272028" sldId="1717"/>
            <ac:spMk id="59" creationId="{21FEC157-61FA-3243-92BA-00DC800509CB}"/>
          </ac:spMkLst>
        </pc:spChg>
        <pc:spChg chg="add del mod">
          <ac:chgData name="Lamb, Ben" userId="88a6f5f3-f9e5-47eb-a109-670a0c68440d" providerId="ADAL" clId="{61283625-AFAA-A843-B4D4-BB41EDC646A4}" dt="2021-03-31T20:08:25.196" v="11657" actId="478"/>
          <ac:spMkLst>
            <pc:docMk/>
            <pc:sldMk cId="2536272028" sldId="1717"/>
            <ac:spMk id="60" creationId="{E877EC63-C7DF-8344-A495-68976ABAE52F}"/>
          </ac:spMkLst>
        </pc:spChg>
        <pc:spChg chg="add mod">
          <ac:chgData name="Lamb, Ben" userId="88a6f5f3-f9e5-47eb-a109-670a0c68440d" providerId="ADAL" clId="{61283625-AFAA-A843-B4D4-BB41EDC646A4}" dt="2021-03-30T22:32:45.679" v="8542" actId="1076"/>
          <ac:spMkLst>
            <pc:docMk/>
            <pc:sldMk cId="2536272028" sldId="1717"/>
            <ac:spMk id="61" creationId="{B4B41A83-5C2D-7047-96C1-F33AA6DEA320}"/>
          </ac:spMkLst>
        </pc:spChg>
        <pc:spChg chg="add del mod">
          <ac:chgData name="Lamb, Ben" userId="88a6f5f3-f9e5-47eb-a109-670a0c68440d" providerId="ADAL" clId="{61283625-AFAA-A843-B4D4-BB41EDC646A4}" dt="2021-03-31T20:08:25.196" v="11657" actId="478"/>
          <ac:spMkLst>
            <pc:docMk/>
            <pc:sldMk cId="2536272028" sldId="1717"/>
            <ac:spMk id="63" creationId="{9E908255-1D85-0F49-A7F5-1C469A6B85C4}"/>
          </ac:spMkLst>
        </pc:spChg>
        <pc:spChg chg="add del mod">
          <ac:chgData name="Lamb, Ben" userId="88a6f5f3-f9e5-47eb-a109-670a0c68440d" providerId="ADAL" clId="{61283625-AFAA-A843-B4D4-BB41EDC646A4}" dt="2021-03-31T20:08:25.196" v="11657" actId="478"/>
          <ac:spMkLst>
            <pc:docMk/>
            <pc:sldMk cId="2536272028" sldId="1717"/>
            <ac:spMk id="64" creationId="{B62BD435-2DEB-7740-B889-C8AD72631E83}"/>
          </ac:spMkLst>
        </pc:spChg>
        <pc:spChg chg="add del mod">
          <ac:chgData name="Lamb, Ben" userId="88a6f5f3-f9e5-47eb-a109-670a0c68440d" providerId="ADAL" clId="{61283625-AFAA-A843-B4D4-BB41EDC646A4}" dt="2021-03-26T20:24:00.258" v="4195" actId="478"/>
          <ac:spMkLst>
            <pc:docMk/>
            <pc:sldMk cId="2536272028" sldId="1717"/>
            <ac:spMk id="64" creationId="{FA5EDC61-E168-A546-8AE2-B06AB0EBDA36}"/>
          </ac:spMkLst>
        </pc:spChg>
        <pc:spChg chg="add del mod">
          <ac:chgData name="Lamb, Ben" userId="88a6f5f3-f9e5-47eb-a109-670a0c68440d" providerId="ADAL" clId="{61283625-AFAA-A843-B4D4-BB41EDC646A4}" dt="2021-03-31T20:08:25.196" v="11657" actId="478"/>
          <ac:spMkLst>
            <pc:docMk/>
            <pc:sldMk cId="2536272028" sldId="1717"/>
            <ac:spMk id="66" creationId="{E4F7803E-35C5-D948-958A-B7BC184552DC}"/>
          </ac:spMkLst>
        </pc:spChg>
        <pc:spChg chg="add del mod">
          <ac:chgData name="Lamb, Ben" userId="88a6f5f3-f9e5-47eb-a109-670a0c68440d" providerId="ADAL" clId="{61283625-AFAA-A843-B4D4-BB41EDC646A4}" dt="2021-03-31T20:08:25.196" v="11657" actId="478"/>
          <ac:spMkLst>
            <pc:docMk/>
            <pc:sldMk cId="2536272028" sldId="1717"/>
            <ac:spMk id="74" creationId="{CF460A77-1BCB-5B48-BC1B-4D9DE011FC1F}"/>
          </ac:spMkLst>
        </pc:spChg>
        <pc:spChg chg="add del mod">
          <ac:chgData name="Lamb, Ben" userId="88a6f5f3-f9e5-47eb-a109-670a0c68440d" providerId="ADAL" clId="{61283625-AFAA-A843-B4D4-BB41EDC646A4}" dt="2021-03-30T21:39:57.970" v="7990" actId="478"/>
          <ac:spMkLst>
            <pc:docMk/>
            <pc:sldMk cId="2536272028" sldId="1717"/>
            <ac:spMk id="75" creationId="{604B7DD1-C58C-5D4F-87B5-D52AB55ECB20}"/>
          </ac:spMkLst>
        </pc:spChg>
        <pc:spChg chg="add del mod">
          <ac:chgData name="Lamb, Ben" userId="88a6f5f3-f9e5-47eb-a109-670a0c68440d" providerId="ADAL" clId="{61283625-AFAA-A843-B4D4-BB41EDC646A4}" dt="2021-03-30T22:34:07.666" v="8560" actId="21"/>
          <ac:spMkLst>
            <pc:docMk/>
            <pc:sldMk cId="2536272028" sldId="1717"/>
            <ac:spMk id="76" creationId="{D5C25809-B877-FD43-BD64-F8E518F2EDE2}"/>
          </ac:spMkLst>
        </pc:spChg>
        <pc:spChg chg="add del mod">
          <ac:chgData name="Lamb, Ben" userId="88a6f5f3-f9e5-47eb-a109-670a0c68440d" providerId="ADAL" clId="{61283625-AFAA-A843-B4D4-BB41EDC646A4}" dt="2021-03-30T22:34:07.666" v="8560" actId="21"/>
          <ac:spMkLst>
            <pc:docMk/>
            <pc:sldMk cId="2536272028" sldId="1717"/>
            <ac:spMk id="77" creationId="{4C45653D-D967-F24E-A639-0014AC9B09BA}"/>
          </ac:spMkLst>
        </pc:spChg>
        <pc:spChg chg="add del mod">
          <ac:chgData name="Lamb, Ben" userId="88a6f5f3-f9e5-47eb-a109-670a0c68440d" providerId="ADAL" clId="{61283625-AFAA-A843-B4D4-BB41EDC646A4}" dt="2021-03-30T22:34:07.666" v="8560" actId="21"/>
          <ac:spMkLst>
            <pc:docMk/>
            <pc:sldMk cId="2536272028" sldId="1717"/>
            <ac:spMk id="78" creationId="{76665796-1065-194B-AE4F-93E7987E89B1}"/>
          </ac:spMkLst>
        </pc:spChg>
        <pc:spChg chg="add del mod">
          <ac:chgData name="Lamb, Ben" userId="88a6f5f3-f9e5-47eb-a109-670a0c68440d" providerId="ADAL" clId="{61283625-AFAA-A843-B4D4-BB41EDC646A4}" dt="2021-03-26T20:40:26.048" v="4837" actId="478"/>
          <ac:spMkLst>
            <pc:docMk/>
            <pc:sldMk cId="2536272028" sldId="1717"/>
            <ac:spMk id="87" creationId="{F3022D9C-2B41-CA4F-9B5E-FD3646DC88F8}"/>
          </ac:spMkLst>
        </pc:spChg>
        <pc:spChg chg="add del mod">
          <ac:chgData name="Lamb, Ben" userId="88a6f5f3-f9e5-47eb-a109-670a0c68440d" providerId="ADAL" clId="{61283625-AFAA-A843-B4D4-BB41EDC646A4}" dt="2021-03-26T20:40:18.557" v="4836" actId="478"/>
          <ac:spMkLst>
            <pc:docMk/>
            <pc:sldMk cId="2536272028" sldId="1717"/>
            <ac:spMk id="88" creationId="{7001D3C6-ED07-C742-82EA-4A30C361CDC7}"/>
          </ac:spMkLst>
        </pc:spChg>
        <pc:spChg chg="add del mod">
          <ac:chgData name="Lamb, Ben" userId="88a6f5f3-f9e5-47eb-a109-670a0c68440d" providerId="ADAL" clId="{61283625-AFAA-A843-B4D4-BB41EDC646A4}" dt="2021-03-26T20:40:26.048" v="4837" actId="478"/>
          <ac:spMkLst>
            <pc:docMk/>
            <pc:sldMk cId="2536272028" sldId="1717"/>
            <ac:spMk id="89" creationId="{56A1DE58-89EF-9B44-BC03-42872D7A82DE}"/>
          </ac:spMkLst>
        </pc:spChg>
        <pc:spChg chg="add del mod">
          <ac:chgData name="Lamb, Ben" userId="88a6f5f3-f9e5-47eb-a109-670a0c68440d" providerId="ADAL" clId="{61283625-AFAA-A843-B4D4-BB41EDC646A4}" dt="2021-03-26T20:40:26.048" v="4837" actId="478"/>
          <ac:spMkLst>
            <pc:docMk/>
            <pc:sldMk cId="2536272028" sldId="1717"/>
            <ac:spMk id="97" creationId="{91EE8454-A45A-9F47-A67B-DA64999AAB09}"/>
          </ac:spMkLst>
        </pc:spChg>
        <pc:spChg chg="add del mod">
          <ac:chgData name="Lamb, Ben" userId="88a6f5f3-f9e5-47eb-a109-670a0c68440d" providerId="ADAL" clId="{61283625-AFAA-A843-B4D4-BB41EDC646A4}" dt="2021-03-29T12:43:42.311" v="4853" actId="478"/>
          <ac:spMkLst>
            <pc:docMk/>
            <pc:sldMk cId="2536272028" sldId="1717"/>
            <ac:spMk id="102" creationId="{B8A1FFAE-4F8E-2848-856E-26FC590D4D32}"/>
          </ac:spMkLst>
        </pc:spChg>
        <pc:spChg chg="add del mod">
          <ac:chgData name="Lamb, Ben" userId="88a6f5f3-f9e5-47eb-a109-670a0c68440d" providerId="ADAL" clId="{61283625-AFAA-A843-B4D4-BB41EDC646A4}" dt="2021-03-29T12:43:35.369" v="4850" actId="478"/>
          <ac:spMkLst>
            <pc:docMk/>
            <pc:sldMk cId="2536272028" sldId="1717"/>
            <ac:spMk id="103" creationId="{0ECA501B-52B9-6943-978E-7860C667A434}"/>
          </ac:spMkLst>
        </pc:spChg>
        <pc:graphicFrameChg chg="del">
          <ac:chgData name="Lamb, Ben" userId="88a6f5f3-f9e5-47eb-a109-670a0c68440d" providerId="ADAL" clId="{61283625-AFAA-A843-B4D4-BB41EDC646A4}" dt="2021-03-26T20:19:06.321" v="4049" actId="478"/>
          <ac:graphicFrameMkLst>
            <pc:docMk/>
            <pc:sldMk cId="2536272028" sldId="1717"/>
            <ac:graphicFrameMk id="73" creationId="{289A4272-FF58-1F43-BA08-E1E4F503ED91}"/>
          </ac:graphicFrameMkLst>
        </pc:graphicFrameChg>
        <pc:picChg chg="add del mod">
          <ac:chgData name="Lamb, Ben" userId="88a6f5f3-f9e5-47eb-a109-670a0c68440d" providerId="ADAL" clId="{61283625-AFAA-A843-B4D4-BB41EDC646A4}" dt="2021-03-30T21:42:41.218" v="8090" actId="478"/>
          <ac:picMkLst>
            <pc:docMk/>
            <pc:sldMk cId="2536272028" sldId="1717"/>
            <ac:picMk id="33" creationId="{E35F32BE-F46B-F942-9615-DBD8E400DCD6}"/>
          </ac:picMkLst>
        </pc:picChg>
        <pc:picChg chg="add del mod">
          <ac:chgData name="Lamb, Ben" userId="88a6f5f3-f9e5-47eb-a109-670a0c68440d" providerId="ADAL" clId="{61283625-AFAA-A843-B4D4-BB41EDC646A4}" dt="2021-03-26T20:24:02.590" v="4196" actId="478"/>
          <ac:picMkLst>
            <pc:docMk/>
            <pc:sldMk cId="2536272028" sldId="1717"/>
            <ac:picMk id="59" creationId="{7972A44B-EC08-F84D-BC54-4FCC0D7FB817}"/>
          </ac:picMkLst>
        </pc:picChg>
        <pc:cxnChg chg="del mod">
          <ac:chgData name="Lamb, Ben" userId="88a6f5f3-f9e5-47eb-a109-670a0c68440d" providerId="ADAL" clId="{61283625-AFAA-A843-B4D4-BB41EDC646A4}" dt="2021-03-26T20:19:18.939" v="4053" actId="478"/>
          <ac:cxnSpMkLst>
            <pc:docMk/>
            <pc:sldMk cId="2536272028" sldId="1717"/>
            <ac:cxnSpMk id="25" creationId="{260AD1A0-0D15-6F46-AD7B-0C27BC80219B}"/>
          </ac:cxnSpMkLst>
        </pc:cxnChg>
        <pc:cxnChg chg="add del mod">
          <ac:chgData name="Lamb, Ben" userId="88a6f5f3-f9e5-47eb-a109-670a0c68440d" providerId="ADAL" clId="{61283625-AFAA-A843-B4D4-BB41EDC646A4}" dt="2021-03-30T21:42:41.218" v="8090" actId="478"/>
          <ac:cxnSpMkLst>
            <pc:docMk/>
            <pc:sldMk cId="2536272028" sldId="1717"/>
            <ac:cxnSpMk id="30" creationId="{C344A605-DA0F-5148-AC29-ECFD74542B61}"/>
          </ac:cxnSpMkLst>
        </pc:cxnChg>
        <pc:cxnChg chg="add del mod">
          <ac:chgData name="Lamb, Ben" userId="88a6f5f3-f9e5-47eb-a109-670a0c68440d" providerId="ADAL" clId="{61283625-AFAA-A843-B4D4-BB41EDC646A4}" dt="2021-03-30T21:42:41.218" v="8090" actId="478"/>
          <ac:cxnSpMkLst>
            <pc:docMk/>
            <pc:sldMk cId="2536272028" sldId="1717"/>
            <ac:cxnSpMk id="32" creationId="{7325FE9F-399B-E444-B827-B46AD76C9972}"/>
          </ac:cxnSpMkLst>
        </pc:cxnChg>
        <pc:cxnChg chg="del mod">
          <ac:chgData name="Lamb, Ben" userId="88a6f5f3-f9e5-47eb-a109-670a0c68440d" providerId="ADAL" clId="{61283625-AFAA-A843-B4D4-BB41EDC646A4}" dt="2021-03-26T20:19:18.939" v="4053" actId="478"/>
          <ac:cxnSpMkLst>
            <pc:docMk/>
            <pc:sldMk cId="2536272028" sldId="1717"/>
            <ac:cxnSpMk id="35" creationId="{AF253FF5-1C7F-3A46-A16A-7D338E9EB2AD}"/>
          </ac:cxnSpMkLst>
        </pc:cxnChg>
        <pc:cxnChg chg="del mod">
          <ac:chgData name="Lamb, Ben" userId="88a6f5f3-f9e5-47eb-a109-670a0c68440d" providerId="ADAL" clId="{61283625-AFAA-A843-B4D4-BB41EDC646A4}" dt="2021-03-26T20:19:18.939" v="4053" actId="478"/>
          <ac:cxnSpMkLst>
            <pc:docMk/>
            <pc:sldMk cId="2536272028" sldId="1717"/>
            <ac:cxnSpMk id="36" creationId="{9272E390-C2F3-0A44-A7BB-4F91C305395E}"/>
          </ac:cxnSpMkLst>
        </pc:cxnChg>
        <pc:cxnChg chg="add del mod">
          <ac:chgData name="Lamb, Ben" userId="88a6f5f3-f9e5-47eb-a109-670a0c68440d" providerId="ADAL" clId="{61283625-AFAA-A843-B4D4-BB41EDC646A4}" dt="2021-03-30T21:42:41.218" v="8090" actId="478"/>
          <ac:cxnSpMkLst>
            <pc:docMk/>
            <pc:sldMk cId="2536272028" sldId="1717"/>
            <ac:cxnSpMk id="37" creationId="{5D540FAF-BBF6-E248-8C53-26E759363B56}"/>
          </ac:cxnSpMkLst>
        </pc:cxnChg>
        <pc:cxnChg chg="add del mod">
          <ac:chgData name="Lamb, Ben" userId="88a6f5f3-f9e5-47eb-a109-670a0c68440d" providerId="ADAL" clId="{61283625-AFAA-A843-B4D4-BB41EDC646A4}" dt="2021-03-30T21:42:41.218" v="8090" actId="478"/>
          <ac:cxnSpMkLst>
            <pc:docMk/>
            <pc:sldMk cId="2536272028" sldId="1717"/>
            <ac:cxnSpMk id="39" creationId="{D21B6511-8316-604B-94AD-7DB5640F2602}"/>
          </ac:cxnSpMkLst>
        </pc:cxnChg>
        <pc:cxnChg chg="add del mod">
          <ac:chgData name="Lamb, Ben" userId="88a6f5f3-f9e5-47eb-a109-670a0c68440d" providerId="ADAL" clId="{61283625-AFAA-A843-B4D4-BB41EDC646A4}" dt="2021-03-30T21:42:41.218" v="8090" actId="478"/>
          <ac:cxnSpMkLst>
            <pc:docMk/>
            <pc:sldMk cId="2536272028" sldId="1717"/>
            <ac:cxnSpMk id="44" creationId="{835EB93D-3186-8948-B0AA-2FA292373CA7}"/>
          </ac:cxnSpMkLst>
        </pc:cxnChg>
        <pc:cxnChg chg="add del mod">
          <ac:chgData name="Lamb, Ben" userId="88a6f5f3-f9e5-47eb-a109-670a0c68440d" providerId="ADAL" clId="{61283625-AFAA-A843-B4D4-BB41EDC646A4}" dt="2021-03-31T20:08:25.196" v="11657" actId="478"/>
          <ac:cxnSpMkLst>
            <pc:docMk/>
            <pc:sldMk cId="2536272028" sldId="1717"/>
            <ac:cxnSpMk id="48" creationId="{568A6EFE-C7A5-914A-9817-F467BAC22165}"/>
          </ac:cxnSpMkLst>
        </pc:cxnChg>
        <pc:cxnChg chg="add del mod">
          <ac:chgData name="Lamb, Ben" userId="88a6f5f3-f9e5-47eb-a109-670a0c68440d" providerId="ADAL" clId="{61283625-AFAA-A843-B4D4-BB41EDC646A4}" dt="2021-03-31T20:08:25.196" v="11657" actId="478"/>
          <ac:cxnSpMkLst>
            <pc:docMk/>
            <pc:sldMk cId="2536272028" sldId="1717"/>
            <ac:cxnSpMk id="49" creationId="{09049433-5226-CC4A-810D-64E2661D35DD}"/>
          </ac:cxnSpMkLst>
        </pc:cxnChg>
        <pc:cxnChg chg="add del mod">
          <ac:chgData name="Lamb, Ben" userId="88a6f5f3-f9e5-47eb-a109-670a0c68440d" providerId="ADAL" clId="{61283625-AFAA-A843-B4D4-BB41EDC646A4}" dt="2021-03-30T21:42:41.218" v="8090" actId="478"/>
          <ac:cxnSpMkLst>
            <pc:docMk/>
            <pc:sldMk cId="2536272028" sldId="1717"/>
            <ac:cxnSpMk id="52" creationId="{25B55803-C59F-7E41-8819-3EEA7E75F770}"/>
          </ac:cxnSpMkLst>
        </pc:cxnChg>
        <pc:cxnChg chg="del mod">
          <ac:chgData name="Lamb, Ben" userId="88a6f5f3-f9e5-47eb-a109-670a0c68440d" providerId="ADAL" clId="{61283625-AFAA-A843-B4D4-BB41EDC646A4}" dt="2021-03-26T20:19:18.939" v="4053" actId="478"/>
          <ac:cxnSpMkLst>
            <pc:docMk/>
            <pc:sldMk cId="2536272028" sldId="1717"/>
            <ac:cxnSpMk id="60" creationId="{97D39DE2-201C-664E-8CAB-6BFE357E9760}"/>
          </ac:cxnSpMkLst>
        </pc:cxnChg>
        <pc:cxnChg chg="add del mod">
          <ac:chgData name="Lamb, Ben" userId="88a6f5f3-f9e5-47eb-a109-670a0c68440d" providerId="ADAL" clId="{61283625-AFAA-A843-B4D4-BB41EDC646A4}" dt="2021-03-26T20:24:04.494" v="4198" actId="478"/>
          <ac:cxnSpMkLst>
            <pc:docMk/>
            <pc:sldMk cId="2536272028" sldId="1717"/>
            <ac:cxnSpMk id="61" creationId="{B571F288-776D-0049-9540-41FBBB595F82}"/>
          </ac:cxnSpMkLst>
        </pc:cxnChg>
        <pc:cxnChg chg="add del mod">
          <ac:chgData name="Lamb, Ben" userId="88a6f5f3-f9e5-47eb-a109-670a0c68440d" providerId="ADAL" clId="{61283625-AFAA-A843-B4D4-BB41EDC646A4}" dt="2021-03-30T22:01:24.166" v="8242" actId="478"/>
          <ac:cxnSpMkLst>
            <pc:docMk/>
            <pc:sldMk cId="2536272028" sldId="1717"/>
            <ac:cxnSpMk id="62" creationId="{CB5D83CB-582C-2E41-B48E-4CA9C776642D}"/>
          </ac:cxnSpMkLst>
        </pc:cxnChg>
        <pc:cxnChg chg="add del mod">
          <ac:chgData name="Lamb, Ben" userId="88a6f5f3-f9e5-47eb-a109-670a0c68440d" providerId="ADAL" clId="{61283625-AFAA-A843-B4D4-BB41EDC646A4}" dt="2021-03-31T20:08:25.196" v="11657" actId="478"/>
          <ac:cxnSpMkLst>
            <pc:docMk/>
            <pc:sldMk cId="2536272028" sldId="1717"/>
            <ac:cxnSpMk id="65" creationId="{9E306723-DB6F-1247-BE19-91950D34F709}"/>
          </ac:cxnSpMkLst>
        </pc:cxnChg>
        <pc:cxnChg chg="add del mod">
          <ac:chgData name="Lamb, Ben" userId="88a6f5f3-f9e5-47eb-a109-670a0c68440d" providerId="ADAL" clId="{61283625-AFAA-A843-B4D4-BB41EDC646A4}" dt="2021-03-31T20:08:25.196" v="11657" actId="478"/>
          <ac:cxnSpMkLst>
            <pc:docMk/>
            <pc:sldMk cId="2536272028" sldId="1717"/>
            <ac:cxnSpMk id="70" creationId="{35B2FF4A-756E-BD4A-B8A9-149CB6A7ABE3}"/>
          </ac:cxnSpMkLst>
        </pc:cxnChg>
        <pc:cxnChg chg="add del mod">
          <ac:chgData name="Lamb, Ben" userId="88a6f5f3-f9e5-47eb-a109-670a0c68440d" providerId="ADAL" clId="{61283625-AFAA-A843-B4D4-BB41EDC646A4}" dt="2021-03-30T22:34:07.666" v="8560" actId="21"/>
          <ac:cxnSpMkLst>
            <pc:docMk/>
            <pc:sldMk cId="2536272028" sldId="1717"/>
            <ac:cxnSpMk id="79" creationId="{D79C7F68-25CC-5B44-8ED8-50687DF181B2}"/>
          </ac:cxnSpMkLst>
        </pc:cxnChg>
        <pc:cxnChg chg="add del mod">
          <ac:chgData name="Lamb, Ben" userId="88a6f5f3-f9e5-47eb-a109-670a0c68440d" providerId="ADAL" clId="{61283625-AFAA-A843-B4D4-BB41EDC646A4}" dt="2021-03-30T22:34:07.666" v="8560" actId="21"/>
          <ac:cxnSpMkLst>
            <pc:docMk/>
            <pc:sldMk cId="2536272028" sldId="1717"/>
            <ac:cxnSpMk id="84" creationId="{F345C5B0-E2CC-C947-A6E3-BBF06F6704B0}"/>
          </ac:cxnSpMkLst>
        </pc:cxnChg>
        <pc:cxnChg chg="add del mod">
          <ac:chgData name="Lamb, Ben" userId="88a6f5f3-f9e5-47eb-a109-670a0c68440d" providerId="ADAL" clId="{61283625-AFAA-A843-B4D4-BB41EDC646A4}" dt="2021-03-26T20:40:26.048" v="4837" actId="478"/>
          <ac:cxnSpMkLst>
            <pc:docMk/>
            <pc:sldMk cId="2536272028" sldId="1717"/>
            <ac:cxnSpMk id="90" creationId="{5BF063F0-3823-EA42-AAFA-E9BB2695F628}"/>
          </ac:cxnSpMkLst>
        </pc:cxnChg>
        <pc:cxnChg chg="add del mod">
          <ac:chgData name="Lamb, Ben" userId="88a6f5f3-f9e5-47eb-a109-670a0c68440d" providerId="ADAL" clId="{61283625-AFAA-A843-B4D4-BB41EDC646A4}" dt="2021-03-26T20:40:26.048" v="4837" actId="478"/>
          <ac:cxnSpMkLst>
            <pc:docMk/>
            <pc:sldMk cId="2536272028" sldId="1717"/>
            <ac:cxnSpMk id="93" creationId="{83740863-DA41-0744-A741-8EAA10A11F2C}"/>
          </ac:cxnSpMkLst>
        </pc:cxnChg>
      </pc:sldChg>
      <pc:sldChg chg="addSp delSp modSp new mod ord modClrScheme chgLayout">
        <pc:chgData name="Lamb, Ben" userId="88a6f5f3-f9e5-47eb-a109-670a0c68440d" providerId="ADAL" clId="{61283625-AFAA-A843-B4D4-BB41EDC646A4}" dt="2021-04-01T16:43:30.121" v="15253" actId="1076"/>
        <pc:sldMkLst>
          <pc:docMk/>
          <pc:sldMk cId="2011940807" sldId="1718"/>
        </pc:sldMkLst>
        <pc:spChg chg="add mod">
          <ac:chgData name="Lamb, Ben" userId="88a6f5f3-f9e5-47eb-a109-670a0c68440d" providerId="ADAL" clId="{61283625-AFAA-A843-B4D4-BB41EDC646A4}" dt="2021-03-31T22:47:19.090" v="13128" actId="113"/>
          <ac:spMkLst>
            <pc:docMk/>
            <pc:sldMk cId="2011940807" sldId="1718"/>
            <ac:spMk id="2" creationId="{22EAF2BE-94FD-9E43-A11A-D594A26ADB9C}"/>
          </ac:spMkLst>
        </pc:spChg>
        <pc:spChg chg="del mod ord">
          <ac:chgData name="Lamb, Ben" userId="88a6f5f3-f9e5-47eb-a109-670a0c68440d" providerId="ADAL" clId="{61283625-AFAA-A843-B4D4-BB41EDC646A4}" dt="2021-03-30T16:38:04.745" v="4891" actId="700"/>
          <ac:spMkLst>
            <pc:docMk/>
            <pc:sldMk cId="2011940807" sldId="1718"/>
            <ac:spMk id="2" creationId="{32A7D4E8-2EA4-6941-B178-9CCCEFF0153F}"/>
          </ac:spMkLst>
        </pc:spChg>
        <pc:spChg chg="del mod ord">
          <ac:chgData name="Lamb, Ben" userId="88a6f5f3-f9e5-47eb-a109-670a0c68440d" providerId="ADAL" clId="{61283625-AFAA-A843-B4D4-BB41EDC646A4}" dt="2021-03-30T16:38:04.745" v="4891" actId="700"/>
          <ac:spMkLst>
            <pc:docMk/>
            <pc:sldMk cId="2011940807" sldId="1718"/>
            <ac:spMk id="3" creationId="{8A6B91C0-8AEE-8246-8533-F23894E04E92}"/>
          </ac:spMkLst>
        </pc:spChg>
        <pc:spChg chg="del mod ord">
          <ac:chgData name="Lamb, Ben" userId="88a6f5f3-f9e5-47eb-a109-670a0c68440d" providerId="ADAL" clId="{61283625-AFAA-A843-B4D4-BB41EDC646A4}" dt="2021-03-30T16:38:04.745" v="4891" actId="700"/>
          <ac:spMkLst>
            <pc:docMk/>
            <pc:sldMk cId="2011940807" sldId="1718"/>
            <ac:spMk id="4" creationId="{8C804CE6-575B-AB4F-A018-327E7DC1711F}"/>
          </ac:spMkLst>
        </pc:spChg>
        <pc:spChg chg="add mod ord">
          <ac:chgData name="Lamb, Ben" userId="88a6f5f3-f9e5-47eb-a109-670a0c68440d" providerId="ADAL" clId="{61283625-AFAA-A843-B4D4-BB41EDC646A4}" dt="2021-03-31T22:47:10.440" v="13123" actId="700"/>
          <ac:spMkLst>
            <pc:docMk/>
            <pc:sldMk cId="2011940807" sldId="1718"/>
            <ac:spMk id="5" creationId="{9974396F-ED80-CA4A-A3AD-F11881A00977}"/>
          </ac:spMkLst>
        </pc:spChg>
        <pc:spChg chg="add mod ord">
          <ac:chgData name="Lamb, Ben" userId="88a6f5f3-f9e5-47eb-a109-670a0c68440d" providerId="ADAL" clId="{61283625-AFAA-A843-B4D4-BB41EDC646A4}" dt="2021-03-31T22:47:10.440" v="13123" actId="700"/>
          <ac:spMkLst>
            <pc:docMk/>
            <pc:sldMk cId="2011940807" sldId="1718"/>
            <ac:spMk id="6" creationId="{5CB35120-2752-FC4E-8B24-C2C783E19E71}"/>
          </ac:spMkLst>
        </pc:spChg>
        <pc:spChg chg="add mod ord">
          <ac:chgData name="Lamb, Ben" userId="88a6f5f3-f9e5-47eb-a109-670a0c68440d" providerId="ADAL" clId="{61283625-AFAA-A843-B4D4-BB41EDC646A4}" dt="2021-03-31T22:47:10.440" v="13123" actId="700"/>
          <ac:spMkLst>
            <pc:docMk/>
            <pc:sldMk cId="2011940807" sldId="1718"/>
            <ac:spMk id="7" creationId="{24193411-85F9-6442-AEF3-E993146DBA7F}"/>
          </ac:spMkLst>
        </pc:spChg>
        <pc:spChg chg="add mod">
          <ac:chgData name="Lamb, Ben" userId="88a6f5f3-f9e5-47eb-a109-670a0c68440d" providerId="ADAL" clId="{61283625-AFAA-A843-B4D4-BB41EDC646A4}" dt="2021-04-01T16:43:30.121" v="15253" actId="1076"/>
          <ac:spMkLst>
            <pc:docMk/>
            <pc:sldMk cId="2011940807" sldId="1718"/>
            <ac:spMk id="8" creationId="{0D5D5A1E-6CC3-114B-B3CB-E9F721768331}"/>
          </ac:spMkLst>
        </pc:spChg>
        <pc:spChg chg="add mod">
          <ac:chgData name="Lamb, Ben" userId="88a6f5f3-f9e5-47eb-a109-670a0c68440d" providerId="ADAL" clId="{61283625-AFAA-A843-B4D4-BB41EDC646A4}" dt="2021-04-01T16:43:30.121" v="15253" actId="1076"/>
          <ac:spMkLst>
            <pc:docMk/>
            <pc:sldMk cId="2011940807" sldId="1718"/>
            <ac:spMk id="9" creationId="{273CF5DE-1CCB-8A4D-BDBC-7AC98059409D}"/>
          </ac:spMkLst>
        </pc:spChg>
        <pc:spChg chg="add mod">
          <ac:chgData name="Lamb, Ben" userId="88a6f5f3-f9e5-47eb-a109-670a0c68440d" providerId="ADAL" clId="{61283625-AFAA-A843-B4D4-BB41EDC646A4}" dt="2021-04-01T16:43:30.121" v="15253" actId="1076"/>
          <ac:spMkLst>
            <pc:docMk/>
            <pc:sldMk cId="2011940807" sldId="1718"/>
            <ac:spMk id="10" creationId="{2C54269A-77A9-B245-8917-E5CF91731404}"/>
          </ac:spMkLst>
        </pc:spChg>
        <pc:spChg chg="add mod">
          <ac:chgData name="Lamb, Ben" userId="88a6f5f3-f9e5-47eb-a109-670a0c68440d" providerId="ADAL" clId="{61283625-AFAA-A843-B4D4-BB41EDC646A4}" dt="2021-04-01T16:43:30.121" v="15253" actId="1076"/>
          <ac:spMkLst>
            <pc:docMk/>
            <pc:sldMk cId="2011940807" sldId="1718"/>
            <ac:spMk id="11" creationId="{A3A8EED4-6C37-DF4A-991E-F79BAC3DBAB4}"/>
          </ac:spMkLst>
        </pc:spChg>
        <pc:spChg chg="add del mod">
          <ac:chgData name="Lamb, Ben" userId="88a6f5f3-f9e5-47eb-a109-670a0c68440d" providerId="ADAL" clId="{61283625-AFAA-A843-B4D4-BB41EDC646A4}" dt="2021-03-31T22:46:15.187" v="13060" actId="478"/>
          <ac:spMkLst>
            <pc:docMk/>
            <pc:sldMk cId="2011940807" sldId="1718"/>
            <ac:spMk id="12" creationId="{56636D38-B00C-884C-AE87-3022E73505F5}"/>
          </ac:spMkLst>
        </pc:spChg>
        <pc:spChg chg="add del mod">
          <ac:chgData name="Lamb, Ben" userId="88a6f5f3-f9e5-47eb-a109-670a0c68440d" providerId="ADAL" clId="{61283625-AFAA-A843-B4D4-BB41EDC646A4}" dt="2021-03-31T22:46:15.187" v="13060" actId="478"/>
          <ac:spMkLst>
            <pc:docMk/>
            <pc:sldMk cId="2011940807" sldId="1718"/>
            <ac:spMk id="13" creationId="{B1453A15-6E10-884C-A4F9-8B13994C2739}"/>
          </ac:spMkLst>
        </pc:spChg>
        <pc:spChg chg="add del mod">
          <ac:chgData name="Lamb, Ben" userId="88a6f5f3-f9e5-47eb-a109-670a0c68440d" providerId="ADAL" clId="{61283625-AFAA-A843-B4D4-BB41EDC646A4}" dt="2021-03-31T22:46:15.187" v="13060" actId="478"/>
          <ac:spMkLst>
            <pc:docMk/>
            <pc:sldMk cId="2011940807" sldId="1718"/>
            <ac:spMk id="14" creationId="{72AFF9E6-1BC3-0C44-AA32-E803ADE6721B}"/>
          </ac:spMkLst>
        </pc:spChg>
        <pc:spChg chg="add del mod">
          <ac:chgData name="Lamb, Ben" userId="88a6f5f3-f9e5-47eb-a109-670a0c68440d" providerId="ADAL" clId="{61283625-AFAA-A843-B4D4-BB41EDC646A4}" dt="2021-03-31T22:46:20.087" v="13062" actId="478"/>
          <ac:spMkLst>
            <pc:docMk/>
            <pc:sldMk cId="2011940807" sldId="1718"/>
            <ac:spMk id="15" creationId="{C3913DAD-BA4C-CB41-A9E7-B414F8F006DC}"/>
          </ac:spMkLst>
        </pc:spChg>
        <pc:spChg chg="add del mod">
          <ac:chgData name="Lamb, Ben" userId="88a6f5f3-f9e5-47eb-a109-670a0c68440d" providerId="ADAL" clId="{61283625-AFAA-A843-B4D4-BB41EDC646A4}" dt="2021-03-31T22:46:17.849" v="13061" actId="478"/>
          <ac:spMkLst>
            <pc:docMk/>
            <pc:sldMk cId="2011940807" sldId="1718"/>
            <ac:spMk id="17" creationId="{D08941A1-D360-9B4D-A91C-B106805C9D12}"/>
          </ac:spMkLst>
        </pc:spChg>
        <pc:spChg chg="add mod">
          <ac:chgData name="Lamb, Ben" userId="88a6f5f3-f9e5-47eb-a109-670a0c68440d" providerId="ADAL" clId="{61283625-AFAA-A843-B4D4-BB41EDC646A4}" dt="2021-04-01T16:43:30.121" v="15253" actId="1076"/>
          <ac:spMkLst>
            <pc:docMk/>
            <pc:sldMk cId="2011940807" sldId="1718"/>
            <ac:spMk id="20" creationId="{8FBF8BA1-A907-8240-B7C8-315C529B45F8}"/>
          </ac:spMkLst>
        </pc:spChg>
        <pc:spChg chg="add mod">
          <ac:chgData name="Lamb, Ben" userId="88a6f5f3-f9e5-47eb-a109-670a0c68440d" providerId="ADAL" clId="{61283625-AFAA-A843-B4D4-BB41EDC646A4}" dt="2021-04-01T16:43:30.121" v="15253" actId="1076"/>
          <ac:spMkLst>
            <pc:docMk/>
            <pc:sldMk cId="2011940807" sldId="1718"/>
            <ac:spMk id="21" creationId="{5B4383FE-B84F-C440-99B5-DE7F952FE11B}"/>
          </ac:spMkLst>
        </pc:spChg>
        <pc:cxnChg chg="add mod">
          <ac:chgData name="Lamb, Ben" userId="88a6f5f3-f9e5-47eb-a109-670a0c68440d" providerId="ADAL" clId="{61283625-AFAA-A843-B4D4-BB41EDC646A4}" dt="2021-04-01T16:43:30.121" v="15253" actId="1076"/>
          <ac:cxnSpMkLst>
            <pc:docMk/>
            <pc:sldMk cId="2011940807" sldId="1718"/>
            <ac:cxnSpMk id="16" creationId="{EDEB30AD-8BBE-FE49-8DFA-7D57C55B6D73}"/>
          </ac:cxnSpMkLst>
        </pc:cxnChg>
        <pc:cxnChg chg="add mod">
          <ac:chgData name="Lamb, Ben" userId="88a6f5f3-f9e5-47eb-a109-670a0c68440d" providerId="ADAL" clId="{61283625-AFAA-A843-B4D4-BB41EDC646A4}" dt="2021-04-01T16:43:30.121" v="15253" actId="1076"/>
          <ac:cxnSpMkLst>
            <pc:docMk/>
            <pc:sldMk cId="2011940807" sldId="1718"/>
            <ac:cxnSpMk id="18" creationId="{8FA0C005-E683-2140-B3F9-F7D823B84DFE}"/>
          </ac:cxnSpMkLst>
        </pc:cxnChg>
        <pc:cxnChg chg="add mod">
          <ac:chgData name="Lamb, Ben" userId="88a6f5f3-f9e5-47eb-a109-670a0c68440d" providerId="ADAL" clId="{61283625-AFAA-A843-B4D4-BB41EDC646A4}" dt="2021-04-01T16:43:30.121" v="15253" actId="1076"/>
          <ac:cxnSpMkLst>
            <pc:docMk/>
            <pc:sldMk cId="2011940807" sldId="1718"/>
            <ac:cxnSpMk id="19" creationId="{062EDD9E-08AB-DE4E-B8DC-C626EB094E7F}"/>
          </ac:cxnSpMkLst>
        </pc:cxnChg>
        <pc:cxnChg chg="add mod">
          <ac:chgData name="Lamb, Ben" userId="88a6f5f3-f9e5-47eb-a109-670a0c68440d" providerId="ADAL" clId="{61283625-AFAA-A843-B4D4-BB41EDC646A4}" dt="2021-04-01T16:43:30.121" v="15253" actId="1076"/>
          <ac:cxnSpMkLst>
            <pc:docMk/>
            <pc:sldMk cId="2011940807" sldId="1718"/>
            <ac:cxnSpMk id="22" creationId="{5772597B-2CEF-3443-8F70-6592723D3383}"/>
          </ac:cxnSpMkLst>
        </pc:cxnChg>
      </pc:sldChg>
      <pc:sldChg chg="addSp delSp modSp add mod">
        <pc:chgData name="Lamb, Ben" userId="88a6f5f3-f9e5-47eb-a109-670a0c68440d" providerId="ADAL" clId="{61283625-AFAA-A843-B4D4-BB41EDC646A4}" dt="2021-03-31T20:01:35.094" v="11539" actId="20577"/>
        <pc:sldMkLst>
          <pc:docMk/>
          <pc:sldMk cId="1852403570" sldId="1719"/>
        </pc:sldMkLst>
        <pc:spChg chg="mod">
          <ac:chgData name="Lamb, Ben" userId="88a6f5f3-f9e5-47eb-a109-670a0c68440d" providerId="ADAL" clId="{61283625-AFAA-A843-B4D4-BB41EDC646A4}" dt="2021-03-31T16:46:21.038" v="10326" actId="20577"/>
          <ac:spMkLst>
            <pc:docMk/>
            <pc:sldMk cId="1852403570" sldId="1719"/>
            <ac:spMk id="2" creationId="{E4576F96-D6BB-DD40-AD3C-8C50B0DFF80B}"/>
          </ac:spMkLst>
        </pc:spChg>
        <pc:spChg chg="del">
          <ac:chgData name="Lamb, Ben" userId="88a6f5f3-f9e5-47eb-a109-670a0c68440d" providerId="ADAL" clId="{61283625-AFAA-A843-B4D4-BB41EDC646A4}" dt="2021-03-31T16:47:07.020" v="10328" actId="478"/>
          <ac:spMkLst>
            <pc:docMk/>
            <pc:sldMk cId="1852403570" sldId="1719"/>
            <ac:spMk id="3" creationId="{485C14EB-502E-EF48-A233-BEEE5A2D17A4}"/>
          </ac:spMkLst>
        </pc:spChg>
        <pc:spChg chg="add del mod">
          <ac:chgData name="Lamb, Ben" userId="88a6f5f3-f9e5-47eb-a109-670a0c68440d" providerId="ADAL" clId="{61283625-AFAA-A843-B4D4-BB41EDC646A4}" dt="2021-03-31T17:28:20.570" v="10334" actId="478"/>
          <ac:spMkLst>
            <pc:docMk/>
            <pc:sldMk cId="1852403570" sldId="1719"/>
            <ac:spMk id="4" creationId="{FD425E43-3DB4-C74D-973D-93887F5FF635}"/>
          </ac:spMkLst>
        </pc:spChg>
        <pc:spChg chg="add del mod">
          <ac:chgData name="Lamb, Ben" userId="88a6f5f3-f9e5-47eb-a109-670a0c68440d" providerId="ADAL" clId="{61283625-AFAA-A843-B4D4-BB41EDC646A4}" dt="2021-03-31T17:28:20.570" v="10334" actId="478"/>
          <ac:spMkLst>
            <pc:docMk/>
            <pc:sldMk cId="1852403570" sldId="1719"/>
            <ac:spMk id="5" creationId="{FEBA0220-7607-784C-AD01-393E003D235E}"/>
          </ac:spMkLst>
        </pc:spChg>
        <pc:spChg chg="add del mod">
          <ac:chgData name="Lamb, Ben" userId="88a6f5f3-f9e5-47eb-a109-670a0c68440d" providerId="ADAL" clId="{61283625-AFAA-A843-B4D4-BB41EDC646A4}" dt="2021-03-31T17:28:20.570" v="10334" actId="478"/>
          <ac:spMkLst>
            <pc:docMk/>
            <pc:sldMk cId="1852403570" sldId="1719"/>
            <ac:spMk id="6" creationId="{AF43B7F1-96A5-5D44-9CA9-98B4FAAE967D}"/>
          </ac:spMkLst>
        </pc:spChg>
        <pc:spChg chg="add del mod">
          <ac:chgData name="Lamb, Ben" userId="88a6f5f3-f9e5-47eb-a109-670a0c68440d" providerId="ADAL" clId="{61283625-AFAA-A843-B4D4-BB41EDC646A4}" dt="2021-03-31T17:28:20.570" v="10334" actId="478"/>
          <ac:spMkLst>
            <pc:docMk/>
            <pc:sldMk cId="1852403570" sldId="1719"/>
            <ac:spMk id="8" creationId="{56D1E4E3-A126-E047-AAD1-079546A50DC1}"/>
          </ac:spMkLst>
        </pc:spChg>
        <pc:spChg chg="add del mod">
          <ac:chgData name="Lamb, Ben" userId="88a6f5f3-f9e5-47eb-a109-670a0c68440d" providerId="ADAL" clId="{61283625-AFAA-A843-B4D4-BB41EDC646A4}" dt="2021-03-31T17:28:20.570" v="10334" actId="478"/>
          <ac:spMkLst>
            <pc:docMk/>
            <pc:sldMk cId="1852403570" sldId="1719"/>
            <ac:spMk id="9" creationId="{CA73846F-D5A3-9A48-A5D6-CA3A8EF7A665}"/>
          </ac:spMkLst>
        </pc:spChg>
        <pc:spChg chg="add del mod">
          <ac:chgData name="Lamb, Ben" userId="88a6f5f3-f9e5-47eb-a109-670a0c68440d" providerId="ADAL" clId="{61283625-AFAA-A843-B4D4-BB41EDC646A4}" dt="2021-03-31T17:28:20.570" v="10334" actId="478"/>
          <ac:spMkLst>
            <pc:docMk/>
            <pc:sldMk cId="1852403570" sldId="1719"/>
            <ac:spMk id="10" creationId="{CEB76D77-D3A4-1D4A-A1FE-C14DA90C2D10}"/>
          </ac:spMkLst>
        </pc:spChg>
        <pc:spChg chg="add del mod">
          <ac:chgData name="Lamb, Ben" userId="88a6f5f3-f9e5-47eb-a109-670a0c68440d" providerId="ADAL" clId="{61283625-AFAA-A843-B4D4-BB41EDC646A4}" dt="2021-03-31T17:28:20.570" v="10334" actId="478"/>
          <ac:spMkLst>
            <pc:docMk/>
            <pc:sldMk cId="1852403570" sldId="1719"/>
            <ac:spMk id="12" creationId="{0AD83864-3E33-1B44-BB66-4D8B0063ED40}"/>
          </ac:spMkLst>
        </pc:spChg>
        <pc:spChg chg="add del mod">
          <ac:chgData name="Lamb, Ben" userId="88a6f5f3-f9e5-47eb-a109-670a0c68440d" providerId="ADAL" clId="{61283625-AFAA-A843-B4D4-BB41EDC646A4}" dt="2021-03-31T17:28:20.570" v="10334" actId="478"/>
          <ac:spMkLst>
            <pc:docMk/>
            <pc:sldMk cId="1852403570" sldId="1719"/>
            <ac:spMk id="13" creationId="{8096503A-4923-314C-B60E-4BF3B7FB1A3C}"/>
          </ac:spMkLst>
        </pc:spChg>
        <pc:spChg chg="add del mod">
          <ac:chgData name="Lamb, Ben" userId="88a6f5f3-f9e5-47eb-a109-670a0c68440d" providerId="ADAL" clId="{61283625-AFAA-A843-B4D4-BB41EDC646A4}" dt="2021-03-31T17:28:20.570" v="10334" actId="478"/>
          <ac:spMkLst>
            <pc:docMk/>
            <pc:sldMk cId="1852403570" sldId="1719"/>
            <ac:spMk id="16" creationId="{F3964CA1-5C53-944E-BE4D-873E96CC8134}"/>
          </ac:spMkLst>
        </pc:spChg>
        <pc:spChg chg="add del mod">
          <ac:chgData name="Lamb, Ben" userId="88a6f5f3-f9e5-47eb-a109-670a0c68440d" providerId="ADAL" clId="{61283625-AFAA-A843-B4D4-BB41EDC646A4}" dt="2021-03-31T17:28:20.570" v="10334" actId="478"/>
          <ac:spMkLst>
            <pc:docMk/>
            <pc:sldMk cId="1852403570" sldId="1719"/>
            <ac:spMk id="17" creationId="{BDCA04F6-A8A5-F245-906B-5CE548B01296}"/>
          </ac:spMkLst>
        </pc:spChg>
        <pc:spChg chg="add del mod">
          <ac:chgData name="Lamb, Ben" userId="88a6f5f3-f9e5-47eb-a109-670a0c68440d" providerId="ADAL" clId="{61283625-AFAA-A843-B4D4-BB41EDC646A4}" dt="2021-03-31T17:28:20.570" v="10334" actId="478"/>
          <ac:spMkLst>
            <pc:docMk/>
            <pc:sldMk cId="1852403570" sldId="1719"/>
            <ac:spMk id="19" creationId="{3342DC60-B4C4-554F-99E6-9199E24F0100}"/>
          </ac:spMkLst>
        </pc:spChg>
        <pc:spChg chg="add del mod">
          <ac:chgData name="Lamb, Ben" userId="88a6f5f3-f9e5-47eb-a109-670a0c68440d" providerId="ADAL" clId="{61283625-AFAA-A843-B4D4-BB41EDC646A4}" dt="2021-03-31T17:28:20.570" v="10334" actId="478"/>
          <ac:spMkLst>
            <pc:docMk/>
            <pc:sldMk cId="1852403570" sldId="1719"/>
            <ac:spMk id="20" creationId="{537D6583-5AB6-CC4B-835E-CF2C4594AE19}"/>
          </ac:spMkLst>
        </pc:spChg>
        <pc:spChg chg="add del mod">
          <ac:chgData name="Lamb, Ben" userId="88a6f5f3-f9e5-47eb-a109-670a0c68440d" providerId="ADAL" clId="{61283625-AFAA-A843-B4D4-BB41EDC646A4}" dt="2021-03-31T17:28:20.570" v="10334" actId="478"/>
          <ac:spMkLst>
            <pc:docMk/>
            <pc:sldMk cId="1852403570" sldId="1719"/>
            <ac:spMk id="24" creationId="{F7351B2F-9A20-8449-9299-CE30533DAC78}"/>
          </ac:spMkLst>
        </pc:spChg>
        <pc:spChg chg="add del mod">
          <ac:chgData name="Lamb, Ben" userId="88a6f5f3-f9e5-47eb-a109-670a0c68440d" providerId="ADAL" clId="{61283625-AFAA-A843-B4D4-BB41EDC646A4}" dt="2021-03-31T17:28:20.570" v="10334" actId="478"/>
          <ac:spMkLst>
            <pc:docMk/>
            <pc:sldMk cId="1852403570" sldId="1719"/>
            <ac:spMk id="25" creationId="{7CF6D7B7-7A74-E047-A961-7BC9622A2A7E}"/>
          </ac:spMkLst>
        </pc:spChg>
        <pc:spChg chg="add del mod">
          <ac:chgData name="Lamb, Ben" userId="88a6f5f3-f9e5-47eb-a109-670a0c68440d" providerId="ADAL" clId="{61283625-AFAA-A843-B4D4-BB41EDC646A4}" dt="2021-03-31T17:31:07.134" v="10453" actId="478"/>
          <ac:spMkLst>
            <pc:docMk/>
            <pc:sldMk cId="1852403570" sldId="1719"/>
            <ac:spMk id="27" creationId="{4AAD5FB7-1E4E-3E4E-BB12-B370B1EFEE08}"/>
          </ac:spMkLst>
        </pc:spChg>
        <pc:spChg chg="add del mod">
          <ac:chgData name="Lamb, Ben" userId="88a6f5f3-f9e5-47eb-a109-670a0c68440d" providerId="ADAL" clId="{61283625-AFAA-A843-B4D4-BB41EDC646A4}" dt="2021-03-31T17:28:20.570" v="10334" actId="478"/>
          <ac:spMkLst>
            <pc:docMk/>
            <pc:sldMk cId="1852403570" sldId="1719"/>
            <ac:spMk id="29" creationId="{2B18F133-96B0-9A44-B213-32A1B9DD0B7E}"/>
          </ac:spMkLst>
        </pc:spChg>
        <pc:spChg chg="add del mod">
          <ac:chgData name="Lamb, Ben" userId="88a6f5f3-f9e5-47eb-a109-670a0c68440d" providerId="ADAL" clId="{61283625-AFAA-A843-B4D4-BB41EDC646A4}" dt="2021-03-31T17:28:20.570" v="10334" actId="478"/>
          <ac:spMkLst>
            <pc:docMk/>
            <pc:sldMk cId="1852403570" sldId="1719"/>
            <ac:spMk id="30" creationId="{E725478C-1A86-BF43-B820-B53F205FE40E}"/>
          </ac:spMkLst>
        </pc:spChg>
        <pc:spChg chg="add del mod">
          <ac:chgData name="Lamb, Ben" userId="88a6f5f3-f9e5-47eb-a109-670a0c68440d" providerId="ADAL" clId="{61283625-AFAA-A843-B4D4-BB41EDC646A4}" dt="2021-03-31T17:28:20.570" v="10334" actId="478"/>
          <ac:spMkLst>
            <pc:docMk/>
            <pc:sldMk cId="1852403570" sldId="1719"/>
            <ac:spMk id="31" creationId="{29E0A5F8-BB14-414E-A029-E561B8445F86}"/>
          </ac:spMkLst>
        </pc:spChg>
        <pc:spChg chg="add del mod">
          <ac:chgData name="Lamb, Ben" userId="88a6f5f3-f9e5-47eb-a109-670a0c68440d" providerId="ADAL" clId="{61283625-AFAA-A843-B4D4-BB41EDC646A4}" dt="2021-03-31T17:28:20.570" v="10334" actId="478"/>
          <ac:spMkLst>
            <pc:docMk/>
            <pc:sldMk cId="1852403570" sldId="1719"/>
            <ac:spMk id="32" creationId="{140A4C04-3A73-714C-8AB7-57756C280E39}"/>
          </ac:spMkLst>
        </pc:spChg>
        <pc:spChg chg="add del mod">
          <ac:chgData name="Lamb, Ben" userId="88a6f5f3-f9e5-47eb-a109-670a0c68440d" providerId="ADAL" clId="{61283625-AFAA-A843-B4D4-BB41EDC646A4}" dt="2021-03-31T17:28:20.570" v="10334" actId="478"/>
          <ac:spMkLst>
            <pc:docMk/>
            <pc:sldMk cId="1852403570" sldId="1719"/>
            <ac:spMk id="35" creationId="{71E5C885-D5AF-BE4D-8AC7-49B7BCCA6A36}"/>
          </ac:spMkLst>
        </pc:spChg>
        <pc:spChg chg="add del mod">
          <ac:chgData name="Lamb, Ben" userId="88a6f5f3-f9e5-47eb-a109-670a0c68440d" providerId="ADAL" clId="{61283625-AFAA-A843-B4D4-BB41EDC646A4}" dt="2021-03-31T17:28:20.570" v="10334" actId="478"/>
          <ac:spMkLst>
            <pc:docMk/>
            <pc:sldMk cId="1852403570" sldId="1719"/>
            <ac:spMk id="39" creationId="{1854E713-67CE-B646-9CED-DFC8C5A66C10}"/>
          </ac:spMkLst>
        </pc:spChg>
        <pc:spChg chg="add del mod">
          <ac:chgData name="Lamb, Ben" userId="88a6f5f3-f9e5-47eb-a109-670a0c68440d" providerId="ADAL" clId="{61283625-AFAA-A843-B4D4-BB41EDC646A4}" dt="2021-03-31T17:28:20.570" v="10334" actId="478"/>
          <ac:spMkLst>
            <pc:docMk/>
            <pc:sldMk cId="1852403570" sldId="1719"/>
            <ac:spMk id="40" creationId="{A778FF52-C5A1-A646-BB53-2B275060D74E}"/>
          </ac:spMkLst>
        </pc:spChg>
        <pc:spChg chg="add del mod">
          <ac:chgData name="Lamb, Ben" userId="88a6f5f3-f9e5-47eb-a109-670a0c68440d" providerId="ADAL" clId="{61283625-AFAA-A843-B4D4-BB41EDC646A4}" dt="2021-03-31T17:28:20.570" v="10334" actId="478"/>
          <ac:spMkLst>
            <pc:docMk/>
            <pc:sldMk cId="1852403570" sldId="1719"/>
            <ac:spMk id="41" creationId="{ECB1D785-CA97-9E47-9A37-F03D5E2A33D6}"/>
          </ac:spMkLst>
        </pc:spChg>
        <pc:spChg chg="add del mod">
          <ac:chgData name="Lamb, Ben" userId="88a6f5f3-f9e5-47eb-a109-670a0c68440d" providerId="ADAL" clId="{61283625-AFAA-A843-B4D4-BB41EDC646A4}" dt="2021-03-31T17:28:20.570" v="10334" actId="478"/>
          <ac:spMkLst>
            <pc:docMk/>
            <pc:sldMk cId="1852403570" sldId="1719"/>
            <ac:spMk id="42" creationId="{EBDFB70E-303E-2044-A079-778C842753D9}"/>
          </ac:spMkLst>
        </pc:spChg>
        <pc:spChg chg="add del mod">
          <ac:chgData name="Lamb, Ben" userId="88a6f5f3-f9e5-47eb-a109-670a0c68440d" providerId="ADAL" clId="{61283625-AFAA-A843-B4D4-BB41EDC646A4}" dt="2021-03-31T17:32:33.880" v="10458" actId="478"/>
          <ac:spMkLst>
            <pc:docMk/>
            <pc:sldMk cId="1852403570" sldId="1719"/>
            <ac:spMk id="43" creationId="{80142124-51D7-B149-8543-3EF5AADD4695}"/>
          </ac:spMkLst>
        </pc:spChg>
        <pc:spChg chg="add del mod">
          <ac:chgData name="Lamb, Ben" userId="88a6f5f3-f9e5-47eb-a109-670a0c68440d" providerId="ADAL" clId="{61283625-AFAA-A843-B4D4-BB41EDC646A4}" dt="2021-03-31T17:28:20.570" v="10334" actId="478"/>
          <ac:spMkLst>
            <pc:docMk/>
            <pc:sldMk cId="1852403570" sldId="1719"/>
            <ac:spMk id="46" creationId="{251BA9C9-4461-4147-8285-BB5D9AAD7E6A}"/>
          </ac:spMkLst>
        </pc:spChg>
        <pc:spChg chg="add del mod">
          <ac:chgData name="Lamb, Ben" userId="88a6f5f3-f9e5-47eb-a109-670a0c68440d" providerId="ADAL" clId="{61283625-AFAA-A843-B4D4-BB41EDC646A4}" dt="2021-03-31T17:32:33.880" v="10458" actId="478"/>
          <ac:spMkLst>
            <pc:docMk/>
            <pc:sldMk cId="1852403570" sldId="1719"/>
            <ac:spMk id="47" creationId="{AA95311B-4B36-CB4D-AD39-D573C811DD03}"/>
          </ac:spMkLst>
        </pc:spChg>
        <pc:spChg chg="add del mod">
          <ac:chgData name="Lamb, Ben" userId="88a6f5f3-f9e5-47eb-a109-670a0c68440d" providerId="ADAL" clId="{61283625-AFAA-A843-B4D4-BB41EDC646A4}" dt="2021-03-31T17:32:33.880" v="10458" actId="478"/>
          <ac:spMkLst>
            <pc:docMk/>
            <pc:sldMk cId="1852403570" sldId="1719"/>
            <ac:spMk id="48" creationId="{73CD997A-3BCA-C545-A50B-0A084AD348E5}"/>
          </ac:spMkLst>
        </pc:spChg>
        <pc:spChg chg="add del mod">
          <ac:chgData name="Lamb, Ben" userId="88a6f5f3-f9e5-47eb-a109-670a0c68440d" providerId="ADAL" clId="{61283625-AFAA-A843-B4D4-BB41EDC646A4}" dt="2021-03-31T17:31:07.134" v="10453" actId="478"/>
          <ac:spMkLst>
            <pc:docMk/>
            <pc:sldMk cId="1852403570" sldId="1719"/>
            <ac:spMk id="49" creationId="{5F7BCB9C-D6CE-584D-B222-C8A9AAB8547D}"/>
          </ac:spMkLst>
        </pc:spChg>
        <pc:spChg chg="add mod">
          <ac:chgData name="Lamb, Ben" userId="88a6f5f3-f9e5-47eb-a109-670a0c68440d" providerId="ADAL" clId="{61283625-AFAA-A843-B4D4-BB41EDC646A4}" dt="2021-03-31T19:46:01.022" v="11267" actId="1076"/>
          <ac:spMkLst>
            <pc:docMk/>
            <pc:sldMk cId="1852403570" sldId="1719"/>
            <ac:spMk id="50" creationId="{12CB3105-F53F-1345-ACDA-7067BE72F885}"/>
          </ac:spMkLst>
        </pc:spChg>
        <pc:spChg chg="add del mod">
          <ac:chgData name="Lamb, Ben" userId="88a6f5f3-f9e5-47eb-a109-670a0c68440d" providerId="ADAL" clId="{61283625-AFAA-A843-B4D4-BB41EDC646A4}" dt="2021-03-31T17:35:25.506" v="10569" actId="478"/>
          <ac:spMkLst>
            <pc:docMk/>
            <pc:sldMk cId="1852403570" sldId="1719"/>
            <ac:spMk id="51" creationId="{14375A25-50AA-734E-B321-E74D60709CA1}"/>
          </ac:spMkLst>
        </pc:spChg>
        <pc:spChg chg="add mod">
          <ac:chgData name="Lamb, Ben" userId="88a6f5f3-f9e5-47eb-a109-670a0c68440d" providerId="ADAL" clId="{61283625-AFAA-A843-B4D4-BB41EDC646A4}" dt="2021-03-31T19:46:01.022" v="11267" actId="1076"/>
          <ac:spMkLst>
            <pc:docMk/>
            <pc:sldMk cId="1852403570" sldId="1719"/>
            <ac:spMk id="52" creationId="{E3292D97-B7C3-B74A-BF07-CFBC3BCE4F86}"/>
          </ac:spMkLst>
        </pc:spChg>
        <pc:spChg chg="add del mod">
          <ac:chgData name="Lamb, Ben" userId="88a6f5f3-f9e5-47eb-a109-670a0c68440d" providerId="ADAL" clId="{61283625-AFAA-A843-B4D4-BB41EDC646A4}" dt="2021-03-31T17:39:33.891" v="10799" actId="478"/>
          <ac:spMkLst>
            <pc:docMk/>
            <pc:sldMk cId="1852403570" sldId="1719"/>
            <ac:spMk id="54" creationId="{2D61676F-5F08-DE46-9206-39410A214001}"/>
          </ac:spMkLst>
        </pc:spChg>
        <pc:spChg chg="add del mod">
          <ac:chgData name="Lamb, Ben" userId="88a6f5f3-f9e5-47eb-a109-670a0c68440d" providerId="ADAL" clId="{61283625-AFAA-A843-B4D4-BB41EDC646A4}" dt="2021-03-31T17:42:48.179" v="10864" actId="478"/>
          <ac:spMkLst>
            <pc:docMk/>
            <pc:sldMk cId="1852403570" sldId="1719"/>
            <ac:spMk id="55" creationId="{D64703F4-FCEB-714D-94AF-374445C22C37}"/>
          </ac:spMkLst>
        </pc:spChg>
        <pc:spChg chg="add del mod">
          <ac:chgData name="Lamb, Ben" userId="88a6f5f3-f9e5-47eb-a109-670a0c68440d" providerId="ADAL" clId="{61283625-AFAA-A843-B4D4-BB41EDC646A4}" dt="2021-03-31T19:46:05.382" v="11268" actId="478"/>
          <ac:spMkLst>
            <pc:docMk/>
            <pc:sldMk cId="1852403570" sldId="1719"/>
            <ac:spMk id="56" creationId="{1D9800CE-6689-684D-B383-300603FDD5F6}"/>
          </ac:spMkLst>
        </pc:spChg>
        <pc:spChg chg="add del mod">
          <ac:chgData name="Lamb, Ben" userId="88a6f5f3-f9e5-47eb-a109-670a0c68440d" providerId="ADAL" clId="{61283625-AFAA-A843-B4D4-BB41EDC646A4}" dt="2021-03-31T17:35:39.630" v="10574" actId="478"/>
          <ac:spMkLst>
            <pc:docMk/>
            <pc:sldMk cId="1852403570" sldId="1719"/>
            <ac:spMk id="58" creationId="{BB038CCD-33BB-3E4F-B43E-41F2D88EEA49}"/>
          </ac:spMkLst>
        </pc:spChg>
        <pc:spChg chg="add del mod">
          <ac:chgData name="Lamb, Ben" userId="88a6f5f3-f9e5-47eb-a109-670a0c68440d" providerId="ADAL" clId="{61283625-AFAA-A843-B4D4-BB41EDC646A4}" dt="2021-03-31T17:35:37.982" v="10573" actId="478"/>
          <ac:spMkLst>
            <pc:docMk/>
            <pc:sldMk cId="1852403570" sldId="1719"/>
            <ac:spMk id="59" creationId="{289C5266-CEA2-B146-A3B3-7D232F8342C3}"/>
          </ac:spMkLst>
        </pc:spChg>
        <pc:spChg chg="add del mod">
          <ac:chgData name="Lamb, Ben" userId="88a6f5f3-f9e5-47eb-a109-670a0c68440d" providerId="ADAL" clId="{61283625-AFAA-A843-B4D4-BB41EDC646A4}" dt="2021-03-31T17:34:34.972" v="10494" actId="478"/>
          <ac:spMkLst>
            <pc:docMk/>
            <pc:sldMk cId="1852403570" sldId="1719"/>
            <ac:spMk id="62" creationId="{8D8C007C-BB67-DE43-B65B-151A5E7942C5}"/>
          </ac:spMkLst>
        </pc:spChg>
        <pc:spChg chg="add del mod">
          <ac:chgData name="Lamb, Ben" userId="88a6f5f3-f9e5-47eb-a109-670a0c68440d" providerId="ADAL" clId="{61283625-AFAA-A843-B4D4-BB41EDC646A4}" dt="2021-03-31T17:34:38.251" v="10496" actId="478"/>
          <ac:spMkLst>
            <pc:docMk/>
            <pc:sldMk cId="1852403570" sldId="1719"/>
            <ac:spMk id="63" creationId="{A6FCBA1A-B42C-6044-9622-5A6BC2B12DFE}"/>
          </ac:spMkLst>
        </pc:spChg>
        <pc:spChg chg="add del mod">
          <ac:chgData name="Lamb, Ben" userId="88a6f5f3-f9e5-47eb-a109-670a0c68440d" providerId="ADAL" clId="{61283625-AFAA-A843-B4D4-BB41EDC646A4}" dt="2021-03-31T19:34:35.364" v="11119" actId="478"/>
          <ac:spMkLst>
            <pc:docMk/>
            <pc:sldMk cId="1852403570" sldId="1719"/>
            <ac:spMk id="65" creationId="{06A96661-BF92-1A4C-830C-E39FDA40C924}"/>
          </ac:spMkLst>
        </pc:spChg>
        <pc:spChg chg="add mod">
          <ac:chgData name="Lamb, Ben" userId="88a6f5f3-f9e5-47eb-a109-670a0c68440d" providerId="ADAL" clId="{61283625-AFAA-A843-B4D4-BB41EDC646A4}" dt="2021-03-31T19:39:37.994" v="11198" actId="20577"/>
          <ac:spMkLst>
            <pc:docMk/>
            <pc:sldMk cId="1852403570" sldId="1719"/>
            <ac:spMk id="66" creationId="{459AC22F-F663-3A4D-B1C5-BD6D77477AF3}"/>
          </ac:spMkLst>
        </pc:spChg>
        <pc:spChg chg="add del mod">
          <ac:chgData name="Lamb, Ben" userId="88a6f5f3-f9e5-47eb-a109-670a0c68440d" providerId="ADAL" clId="{61283625-AFAA-A843-B4D4-BB41EDC646A4}" dt="2021-03-31T17:43:22.783" v="10889" actId="478"/>
          <ac:spMkLst>
            <pc:docMk/>
            <pc:sldMk cId="1852403570" sldId="1719"/>
            <ac:spMk id="70" creationId="{68757CD9-36D7-9147-8F35-C033FD6EA14C}"/>
          </ac:spMkLst>
        </pc:spChg>
        <pc:spChg chg="add del mod">
          <ac:chgData name="Lamb, Ben" userId="88a6f5f3-f9e5-47eb-a109-670a0c68440d" providerId="ADAL" clId="{61283625-AFAA-A843-B4D4-BB41EDC646A4}" dt="2021-03-31T17:34:34.972" v="10494" actId="478"/>
          <ac:spMkLst>
            <pc:docMk/>
            <pc:sldMk cId="1852403570" sldId="1719"/>
            <ac:spMk id="71" creationId="{3ACCC2B1-8E1B-9B40-B4E1-92BF49116668}"/>
          </ac:spMkLst>
        </pc:spChg>
        <pc:spChg chg="add del mod">
          <ac:chgData name="Lamb, Ben" userId="88a6f5f3-f9e5-47eb-a109-670a0c68440d" providerId="ADAL" clId="{61283625-AFAA-A843-B4D4-BB41EDC646A4}" dt="2021-03-31T17:33:59.129" v="10462" actId="478"/>
          <ac:spMkLst>
            <pc:docMk/>
            <pc:sldMk cId="1852403570" sldId="1719"/>
            <ac:spMk id="73" creationId="{89A3A9F0-31D2-6041-8512-67B97336F0FB}"/>
          </ac:spMkLst>
        </pc:spChg>
        <pc:spChg chg="add del mod">
          <ac:chgData name="Lamb, Ben" userId="88a6f5f3-f9e5-47eb-a109-670a0c68440d" providerId="ADAL" clId="{61283625-AFAA-A843-B4D4-BB41EDC646A4}" dt="2021-03-31T17:39:00.268" v="10792" actId="478"/>
          <ac:spMkLst>
            <pc:docMk/>
            <pc:sldMk cId="1852403570" sldId="1719"/>
            <ac:spMk id="75" creationId="{063902CB-7544-0943-AA7B-4684F49D880C}"/>
          </ac:spMkLst>
        </pc:spChg>
        <pc:spChg chg="add del mod">
          <ac:chgData name="Lamb, Ben" userId="88a6f5f3-f9e5-47eb-a109-670a0c68440d" providerId="ADAL" clId="{61283625-AFAA-A843-B4D4-BB41EDC646A4}" dt="2021-03-31T19:34:39.944" v="11121" actId="478"/>
          <ac:spMkLst>
            <pc:docMk/>
            <pc:sldMk cId="1852403570" sldId="1719"/>
            <ac:spMk id="76" creationId="{C829B452-DD71-0743-8424-AEE68FC1FC04}"/>
          </ac:spMkLst>
        </pc:spChg>
        <pc:spChg chg="add del mod">
          <ac:chgData name="Lamb, Ben" userId="88a6f5f3-f9e5-47eb-a109-670a0c68440d" providerId="ADAL" clId="{61283625-AFAA-A843-B4D4-BB41EDC646A4}" dt="2021-03-31T17:40:52.076" v="10804" actId="478"/>
          <ac:spMkLst>
            <pc:docMk/>
            <pc:sldMk cId="1852403570" sldId="1719"/>
            <ac:spMk id="77" creationId="{DBB515C2-2D20-0248-9B24-3FB200049906}"/>
          </ac:spMkLst>
        </pc:spChg>
        <pc:spChg chg="add mod">
          <ac:chgData name="Lamb, Ben" userId="88a6f5f3-f9e5-47eb-a109-670a0c68440d" providerId="ADAL" clId="{61283625-AFAA-A843-B4D4-BB41EDC646A4}" dt="2021-03-31T19:34:55.278" v="11125" actId="1076"/>
          <ac:spMkLst>
            <pc:docMk/>
            <pc:sldMk cId="1852403570" sldId="1719"/>
            <ac:spMk id="78" creationId="{1D1E8930-8861-0540-9F3C-60C75B90ED9A}"/>
          </ac:spMkLst>
        </pc:spChg>
        <pc:spChg chg="add del mod">
          <ac:chgData name="Lamb, Ben" userId="88a6f5f3-f9e5-47eb-a109-670a0c68440d" providerId="ADAL" clId="{61283625-AFAA-A843-B4D4-BB41EDC646A4}" dt="2021-03-31T19:15:10.587" v="10938" actId="478"/>
          <ac:spMkLst>
            <pc:docMk/>
            <pc:sldMk cId="1852403570" sldId="1719"/>
            <ac:spMk id="81" creationId="{3AF94410-74AF-1D4B-9526-0DFE33B0B5D2}"/>
          </ac:spMkLst>
        </pc:spChg>
        <pc:spChg chg="add del mod">
          <ac:chgData name="Lamb, Ben" userId="88a6f5f3-f9e5-47eb-a109-670a0c68440d" providerId="ADAL" clId="{61283625-AFAA-A843-B4D4-BB41EDC646A4}" dt="2021-03-31T17:38:19.842" v="10744" actId="478"/>
          <ac:spMkLst>
            <pc:docMk/>
            <pc:sldMk cId="1852403570" sldId="1719"/>
            <ac:spMk id="85" creationId="{1E434828-C9E7-194E-80D5-0D6F20B668CA}"/>
          </ac:spMkLst>
        </pc:spChg>
        <pc:spChg chg="add del mod">
          <ac:chgData name="Lamb, Ben" userId="88a6f5f3-f9e5-47eb-a109-670a0c68440d" providerId="ADAL" clId="{61283625-AFAA-A843-B4D4-BB41EDC646A4}" dt="2021-03-31T17:38:58.315" v="10791" actId="478"/>
          <ac:spMkLst>
            <pc:docMk/>
            <pc:sldMk cId="1852403570" sldId="1719"/>
            <ac:spMk id="86" creationId="{CF6561D2-D126-A54B-91B9-3683567A30F7}"/>
          </ac:spMkLst>
        </pc:spChg>
        <pc:spChg chg="add del mod">
          <ac:chgData name="Lamb, Ben" userId="88a6f5f3-f9e5-47eb-a109-670a0c68440d" providerId="ADAL" clId="{61283625-AFAA-A843-B4D4-BB41EDC646A4}" dt="2021-03-31T19:19:20.342" v="11012" actId="478"/>
          <ac:spMkLst>
            <pc:docMk/>
            <pc:sldMk cId="1852403570" sldId="1719"/>
            <ac:spMk id="87" creationId="{E731D998-BE30-6048-BE3F-D45E8FDC80D4}"/>
          </ac:spMkLst>
        </pc:spChg>
        <pc:spChg chg="add del mod">
          <ac:chgData name="Lamb, Ben" userId="88a6f5f3-f9e5-47eb-a109-670a0c68440d" providerId="ADAL" clId="{61283625-AFAA-A843-B4D4-BB41EDC646A4}" dt="2021-03-31T19:19:21.959" v="11013" actId="478"/>
          <ac:spMkLst>
            <pc:docMk/>
            <pc:sldMk cId="1852403570" sldId="1719"/>
            <ac:spMk id="88" creationId="{7FBA2406-B2BC-514E-B769-DB8D44655DA3}"/>
          </ac:spMkLst>
        </pc:spChg>
        <pc:spChg chg="add mod">
          <ac:chgData name="Lamb, Ben" userId="88a6f5f3-f9e5-47eb-a109-670a0c68440d" providerId="ADAL" clId="{61283625-AFAA-A843-B4D4-BB41EDC646A4}" dt="2021-03-31T19:17:02.036" v="10994" actId="1076"/>
          <ac:spMkLst>
            <pc:docMk/>
            <pc:sldMk cId="1852403570" sldId="1719"/>
            <ac:spMk id="89" creationId="{24650D94-6052-F340-A39C-42FAD72C91D7}"/>
          </ac:spMkLst>
        </pc:spChg>
        <pc:spChg chg="add del mod">
          <ac:chgData name="Lamb, Ben" userId="88a6f5f3-f9e5-47eb-a109-670a0c68440d" providerId="ADAL" clId="{61283625-AFAA-A843-B4D4-BB41EDC646A4}" dt="2021-03-31T17:43:34.423" v="10890" actId="478"/>
          <ac:spMkLst>
            <pc:docMk/>
            <pc:sldMk cId="1852403570" sldId="1719"/>
            <ac:spMk id="92" creationId="{B3A2F617-7932-4C41-87FC-4343744C7D06}"/>
          </ac:spMkLst>
        </pc:spChg>
        <pc:spChg chg="add mod">
          <ac:chgData name="Lamb, Ben" userId="88a6f5f3-f9e5-47eb-a109-670a0c68440d" providerId="ADAL" clId="{61283625-AFAA-A843-B4D4-BB41EDC646A4}" dt="2021-03-31T19:35:02.075" v="11129" actId="20577"/>
          <ac:spMkLst>
            <pc:docMk/>
            <pc:sldMk cId="1852403570" sldId="1719"/>
            <ac:spMk id="93" creationId="{AB9D4F6D-C36F-E64A-B8A1-DCA88082AA53}"/>
          </ac:spMkLst>
        </pc:spChg>
        <pc:spChg chg="add del mod">
          <ac:chgData name="Lamb, Ben" userId="88a6f5f3-f9e5-47eb-a109-670a0c68440d" providerId="ADAL" clId="{61283625-AFAA-A843-B4D4-BB41EDC646A4}" dt="2021-03-31T19:15:22.347" v="10940" actId="478"/>
          <ac:spMkLst>
            <pc:docMk/>
            <pc:sldMk cId="1852403570" sldId="1719"/>
            <ac:spMk id="96" creationId="{7B7BB790-ACC3-2E4C-B26D-273169368148}"/>
          </ac:spMkLst>
        </pc:spChg>
        <pc:spChg chg="add del mod">
          <ac:chgData name="Lamb, Ben" userId="88a6f5f3-f9e5-47eb-a109-670a0c68440d" providerId="ADAL" clId="{61283625-AFAA-A843-B4D4-BB41EDC646A4}" dt="2021-03-31T17:42:49.652" v="10865" actId="478"/>
          <ac:spMkLst>
            <pc:docMk/>
            <pc:sldMk cId="1852403570" sldId="1719"/>
            <ac:spMk id="97" creationId="{D96194FE-1CC7-8C46-91C6-F2E345B3729D}"/>
          </ac:spMkLst>
        </pc:spChg>
        <pc:spChg chg="add del mod">
          <ac:chgData name="Lamb, Ben" userId="88a6f5f3-f9e5-47eb-a109-670a0c68440d" providerId="ADAL" clId="{61283625-AFAA-A843-B4D4-BB41EDC646A4}" dt="2021-03-31T17:42:51.017" v="10866" actId="478"/>
          <ac:spMkLst>
            <pc:docMk/>
            <pc:sldMk cId="1852403570" sldId="1719"/>
            <ac:spMk id="98" creationId="{8B17B3DE-C754-F540-A28B-87BE3BA08675}"/>
          </ac:spMkLst>
        </pc:spChg>
        <pc:spChg chg="add del mod">
          <ac:chgData name="Lamb, Ben" userId="88a6f5f3-f9e5-47eb-a109-670a0c68440d" providerId="ADAL" clId="{61283625-AFAA-A843-B4D4-BB41EDC646A4}" dt="2021-03-31T19:15:22.347" v="10940" actId="478"/>
          <ac:spMkLst>
            <pc:docMk/>
            <pc:sldMk cId="1852403570" sldId="1719"/>
            <ac:spMk id="99" creationId="{9B035D41-02ED-5242-9D2F-013F3DB8B320}"/>
          </ac:spMkLst>
        </pc:spChg>
        <pc:spChg chg="add del mod">
          <ac:chgData name="Lamb, Ben" userId="88a6f5f3-f9e5-47eb-a109-670a0c68440d" providerId="ADAL" clId="{61283625-AFAA-A843-B4D4-BB41EDC646A4}" dt="2021-03-31T17:38:56.810" v="10790" actId="478"/>
          <ac:spMkLst>
            <pc:docMk/>
            <pc:sldMk cId="1852403570" sldId="1719"/>
            <ac:spMk id="100" creationId="{E264DF90-C1D5-944C-820F-5F0EEF224B81}"/>
          </ac:spMkLst>
        </pc:spChg>
        <pc:spChg chg="add mod">
          <ac:chgData name="Lamb, Ben" userId="88a6f5f3-f9e5-47eb-a109-670a0c68440d" providerId="ADAL" clId="{61283625-AFAA-A843-B4D4-BB41EDC646A4}" dt="2021-03-31T19:17:02.036" v="10994" actId="1076"/>
          <ac:spMkLst>
            <pc:docMk/>
            <pc:sldMk cId="1852403570" sldId="1719"/>
            <ac:spMk id="109" creationId="{78EA0D09-D310-4D42-A71E-87304FA5CCB9}"/>
          </ac:spMkLst>
        </pc:spChg>
        <pc:spChg chg="add del mod">
          <ac:chgData name="Lamb, Ben" userId="88a6f5f3-f9e5-47eb-a109-670a0c68440d" providerId="ADAL" clId="{61283625-AFAA-A843-B4D4-BB41EDC646A4}" dt="2021-03-31T19:14:00.177" v="10926" actId="478"/>
          <ac:spMkLst>
            <pc:docMk/>
            <pc:sldMk cId="1852403570" sldId="1719"/>
            <ac:spMk id="110" creationId="{A52B92DB-DAD0-614D-9028-1C080A582E7F}"/>
          </ac:spMkLst>
        </pc:spChg>
        <pc:spChg chg="add mod">
          <ac:chgData name="Lamb, Ben" userId="88a6f5f3-f9e5-47eb-a109-670a0c68440d" providerId="ADAL" clId="{61283625-AFAA-A843-B4D4-BB41EDC646A4}" dt="2021-03-31T19:17:02.036" v="10994" actId="1076"/>
          <ac:spMkLst>
            <pc:docMk/>
            <pc:sldMk cId="1852403570" sldId="1719"/>
            <ac:spMk id="118" creationId="{9BA18230-CFA4-8E40-A02A-62FD29108EE1}"/>
          </ac:spMkLst>
        </pc:spChg>
        <pc:spChg chg="add mod">
          <ac:chgData name="Lamb, Ben" userId="88a6f5f3-f9e5-47eb-a109-670a0c68440d" providerId="ADAL" clId="{61283625-AFAA-A843-B4D4-BB41EDC646A4}" dt="2021-03-31T19:17:02.036" v="10994" actId="1076"/>
          <ac:spMkLst>
            <pc:docMk/>
            <pc:sldMk cId="1852403570" sldId="1719"/>
            <ac:spMk id="119" creationId="{A5E5C903-2D36-BA4D-8681-5FF8C059ECD1}"/>
          </ac:spMkLst>
        </pc:spChg>
        <pc:spChg chg="add mod">
          <ac:chgData name="Lamb, Ben" userId="88a6f5f3-f9e5-47eb-a109-670a0c68440d" providerId="ADAL" clId="{61283625-AFAA-A843-B4D4-BB41EDC646A4}" dt="2021-03-31T19:46:01.022" v="11267" actId="1076"/>
          <ac:spMkLst>
            <pc:docMk/>
            <pc:sldMk cId="1852403570" sldId="1719"/>
            <ac:spMk id="122" creationId="{2D1B9171-C30C-824C-8A59-62527A0BD6AC}"/>
          </ac:spMkLst>
        </pc:spChg>
        <pc:spChg chg="add mod">
          <ac:chgData name="Lamb, Ben" userId="88a6f5f3-f9e5-47eb-a109-670a0c68440d" providerId="ADAL" clId="{61283625-AFAA-A843-B4D4-BB41EDC646A4}" dt="2021-03-31T19:46:01.022" v="11267" actId="1076"/>
          <ac:spMkLst>
            <pc:docMk/>
            <pc:sldMk cId="1852403570" sldId="1719"/>
            <ac:spMk id="133" creationId="{5FC547F7-A139-384C-90ED-A1C9BFA29D09}"/>
          </ac:spMkLst>
        </pc:spChg>
        <pc:spChg chg="add del mod">
          <ac:chgData name="Lamb, Ben" userId="88a6f5f3-f9e5-47eb-a109-670a0c68440d" providerId="ADAL" clId="{61283625-AFAA-A843-B4D4-BB41EDC646A4}" dt="2021-03-31T19:45:32.251" v="11243" actId="478"/>
          <ac:spMkLst>
            <pc:docMk/>
            <pc:sldMk cId="1852403570" sldId="1719"/>
            <ac:spMk id="143" creationId="{BB9A9CCC-67CC-1F4D-BAAA-52A959E63ED6}"/>
          </ac:spMkLst>
        </pc:spChg>
        <pc:spChg chg="add mod">
          <ac:chgData name="Lamb, Ben" userId="88a6f5f3-f9e5-47eb-a109-670a0c68440d" providerId="ADAL" clId="{61283625-AFAA-A843-B4D4-BB41EDC646A4}" dt="2021-03-31T19:46:09.324" v="11269" actId="1076"/>
          <ac:spMkLst>
            <pc:docMk/>
            <pc:sldMk cId="1852403570" sldId="1719"/>
            <ac:spMk id="148" creationId="{61575A44-006B-654E-9FB4-CFB2017AF9D2}"/>
          </ac:spMkLst>
        </pc:spChg>
        <pc:spChg chg="mod">
          <ac:chgData name="Lamb, Ben" userId="88a6f5f3-f9e5-47eb-a109-670a0c68440d" providerId="ADAL" clId="{61283625-AFAA-A843-B4D4-BB41EDC646A4}" dt="2021-03-31T20:01:35.094" v="11539" actId="20577"/>
          <ac:spMkLst>
            <pc:docMk/>
            <pc:sldMk cId="1852403570" sldId="1719"/>
            <ac:spMk id="156" creationId="{5607F301-389A-8E43-994E-3E980A3474AA}"/>
          </ac:spMkLst>
        </pc:spChg>
        <pc:spChg chg="mod">
          <ac:chgData name="Lamb, Ben" userId="88a6f5f3-f9e5-47eb-a109-670a0c68440d" providerId="ADAL" clId="{61283625-AFAA-A843-B4D4-BB41EDC646A4}" dt="2021-03-31T20:01:05.138" v="11525"/>
          <ac:spMkLst>
            <pc:docMk/>
            <pc:sldMk cId="1852403570" sldId="1719"/>
            <ac:spMk id="157" creationId="{8DFB5ACD-BB99-7642-AAB3-D70064B753AF}"/>
          </ac:spMkLst>
        </pc:spChg>
        <pc:grpChg chg="add mod">
          <ac:chgData name="Lamb, Ben" userId="88a6f5f3-f9e5-47eb-a109-670a0c68440d" providerId="ADAL" clId="{61283625-AFAA-A843-B4D4-BB41EDC646A4}" dt="2021-03-31T20:01:13.570" v="11526" actId="1076"/>
          <ac:grpSpMkLst>
            <pc:docMk/>
            <pc:sldMk cId="1852403570" sldId="1719"/>
            <ac:grpSpMk id="155" creationId="{C61757CD-55CA-8B41-AD14-645D22FFF44B}"/>
          </ac:grpSpMkLst>
        </pc:grpChg>
        <pc:picChg chg="add del mod">
          <ac:chgData name="Lamb, Ben" userId="88a6f5f3-f9e5-47eb-a109-670a0c68440d" providerId="ADAL" clId="{61283625-AFAA-A843-B4D4-BB41EDC646A4}" dt="2021-03-31T17:28:20.570" v="10334" actId="478"/>
          <ac:picMkLst>
            <pc:docMk/>
            <pc:sldMk cId="1852403570" sldId="1719"/>
            <ac:picMk id="21" creationId="{22D4A824-FD31-E344-B3DB-3E5A794681AA}"/>
          </ac:picMkLst>
        </pc:picChg>
        <pc:picChg chg="add del mod">
          <ac:chgData name="Lamb, Ben" userId="88a6f5f3-f9e5-47eb-a109-670a0c68440d" providerId="ADAL" clId="{61283625-AFAA-A843-B4D4-BB41EDC646A4}" dt="2021-03-31T17:28:20.570" v="10334" actId="478"/>
          <ac:picMkLst>
            <pc:docMk/>
            <pc:sldMk cId="1852403570" sldId="1719"/>
            <ac:picMk id="22" creationId="{1D549321-0C19-DF4E-AC1D-3F2648753E11}"/>
          </ac:picMkLst>
        </pc:picChg>
        <pc:picChg chg="add del mod">
          <ac:chgData name="Lamb, Ben" userId="88a6f5f3-f9e5-47eb-a109-670a0c68440d" providerId="ADAL" clId="{61283625-AFAA-A843-B4D4-BB41EDC646A4}" dt="2021-03-31T17:28:20.570" v="10334" actId="478"/>
          <ac:picMkLst>
            <pc:docMk/>
            <pc:sldMk cId="1852403570" sldId="1719"/>
            <ac:picMk id="23" creationId="{6C298CD6-C728-A745-B204-3175C34B41C6}"/>
          </ac:picMkLst>
        </pc:picChg>
        <pc:picChg chg="add del mod">
          <ac:chgData name="Lamb, Ben" userId="88a6f5f3-f9e5-47eb-a109-670a0c68440d" providerId="ADAL" clId="{61283625-AFAA-A843-B4D4-BB41EDC646A4}" dt="2021-03-31T17:28:20.570" v="10334" actId="478"/>
          <ac:picMkLst>
            <pc:docMk/>
            <pc:sldMk cId="1852403570" sldId="1719"/>
            <ac:picMk id="33" creationId="{55C688CE-7E23-D84C-B020-FE0D3460994E}"/>
          </ac:picMkLst>
        </pc:picChg>
        <pc:picChg chg="add del mod">
          <ac:chgData name="Lamb, Ben" userId="88a6f5f3-f9e5-47eb-a109-670a0c68440d" providerId="ADAL" clId="{61283625-AFAA-A843-B4D4-BB41EDC646A4}" dt="2021-03-31T19:34:37.871" v="11120" actId="478"/>
          <ac:picMkLst>
            <pc:docMk/>
            <pc:sldMk cId="1852403570" sldId="1719"/>
            <ac:picMk id="67" creationId="{F4ADCDAE-F6E9-B84C-B2D2-C0D1512A6AF3}"/>
          </ac:picMkLst>
        </pc:picChg>
        <pc:picChg chg="add del mod">
          <ac:chgData name="Lamb, Ben" userId="88a6f5f3-f9e5-47eb-a109-670a0c68440d" providerId="ADAL" clId="{61283625-AFAA-A843-B4D4-BB41EDC646A4}" dt="2021-03-31T17:35:26.563" v="10570" actId="478"/>
          <ac:picMkLst>
            <pc:docMk/>
            <pc:sldMk cId="1852403570" sldId="1719"/>
            <ac:picMk id="68" creationId="{84D038FD-91A6-0143-90BF-D4A46AAED7A2}"/>
          </ac:picMkLst>
        </pc:picChg>
        <pc:picChg chg="add del mod">
          <ac:chgData name="Lamb, Ben" userId="88a6f5f3-f9e5-47eb-a109-670a0c68440d" providerId="ADAL" clId="{61283625-AFAA-A843-B4D4-BB41EDC646A4}" dt="2021-03-31T19:15:22.347" v="10940" actId="478"/>
          <ac:picMkLst>
            <pc:docMk/>
            <pc:sldMk cId="1852403570" sldId="1719"/>
            <ac:picMk id="69" creationId="{E4B087C9-36FB-5647-94F7-A95779DA5EB7}"/>
          </ac:picMkLst>
        </pc:picChg>
        <pc:picChg chg="add del mod">
          <ac:chgData name="Lamb, Ben" userId="88a6f5f3-f9e5-47eb-a109-670a0c68440d" providerId="ADAL" clId="{61283625-AFAA-A843-B4D4-BB41EDC646A4}" dt="2021-03-31T19:15:22.347" v="10940" actId="478"/>
          <ac:picMkLst>
            <pc:docMk/>
            <pc:sldMk cId="1852403570" sldId="1719"/>
            <ac:picMk id="79" creationId="{87A73E67-73C8-0944-AE93-DD67D08A8544}"/>
          </ac:picMkLst>
        </pc:picChg>
        <pc:cxnChg chg="add del mod">
          <ac:chgData name="Lamb, Ben" userId="88a6f5f3-f9e5-47eb-a109-670a0c68440d" providerId="ADAL" clId="{61283625-AFAA-A843-B4D4-BB41EDC646A4}" dt="2021-03-31T17:28:20.570" v="10334" actId="478"/>
          <ac:cxnSpMkLst>
            <pc:docMk/>
            <pc:sldMk cId="1852403570" sldId="1719"/>
            <ac:cxnSpMk id="7" creationId="{14861F4E-4279-B540-A738-6055AA1DA101}"/>
          </ac:cxnSpMkLst>
        </pc:cxnChg>
        <pc:cxnChg chg="add del mod">
          <ac:chgData name="Lamb, Ben" userId="88a6f5f3-f9e5-47eb-a109-670a0c68440d" providerId="ADAL" clId="{61283625-AFAA-A843-B4D4-BB41EDC646A4}" dt="2021-03-31T17:28:20.570" v="10334" actId="478"/>
          <ac:cxnSpMkLst>
            <pc:docMk/>
            <pc:sldMk cId="1852403570" sldId="1719"/>
            <ac:cxnSpMk id="11" creationId="{3020DF65-C315-5F44-B2E9-39E8EE89708A}"/>
          </ac:cxnSpMkLst>
        </pc:cxnChg>
        <pc:cxnChg chg="add del mod">
          <ac:chgData name="Lamb, Ben" userId="88a6f5f3-f9e5-47eb-a109-670a0c68440d" providerId="ADAL" clId="{61283625-AFAA-A843-B4D4-BB41EDC646A4}" dt="2021-03-31T17:28:20.570" v="10334" actId="478"/>
          <ac:cxnSpMkLst>
            <pc:docMk/>
            <pc:sldMk cId="1852403570" sldId="1719"/>
            <ac:cxnSpMk id="14" creationId="{6F2AF966-7217-ED41-8134-B9C0E03BDC88}"/>
          </ac:cxnSpMkLst>
        </pc:cxnChg>
        <pc:cxnChg chg="add del mod">
          <ac:chgData name="Lamb, Ben" userId="88a6f5f3-f9e5-47eb-a109-670a0c68440d" providerId="ADAL" clId="{61283625-AFAA-A843-B4D4-BB41EDC646A4}" dt="2021-03-31T17:28:20.570" v="10334" actId="478"/>
          <ac:cxnSpMkLst>
            <pc:docMk/>
            <pc:sldMk cId="1852403570" sldId="1719"/>
            <ac:cxnSpMk id="15" creationId="{A0372CEC-018B-314D-9D00-4AB6B23A2433}"/>
          </ac:cxnSpMkLst>
        </pc:cxnChg>
        <pc:cxnChg chg="add del mod">
          <ac:chgData name="Lamb, Ben" userId="88a6f5f3-f9e5-47eb-a109-670a0c68440d" providerId="ADAL" clId="{61283625-AFAA-A843-B4D4-BB41EDC646A4}" dt="2021-03-31T17:28:20.570" v="10334" actId="478"/>
          <ac:cxnSpMkLst>
            <pc:docMk/>
            <pc:sldMk cId="1852403570" sldId="1719"/>
            <ac:cxnSpMk id="18" creationId="{6BA9C99B-CE53-AC43-9161-2826782906A4}"/>
          </ac:cxnSpMkLst>
        </pc:cxnChg>
        <pc:cxnChg chg="add del mod">
          <ac:chgData name="Lamb, Ben" userId="88a6f5f3-f9e5-47eb-a109-670a0c68440d" providerId="ADAL" clId="{61283625-AFAA-A843-B4D4-BB41EDC646A4}" dt="2021-03-31T17:28:20.570" v="10334" actId="478"/>
          <ac:cxnSpMkLst>
            <pc:docMk/>
            <pc:sldMk cId="1852403570" sldId="1719"/>
            <ac:cxnSpMk id="26" creationId="{8CBE056B-1453-9D49-9FBA-7F63EF06863A}"/>
          </ac:cxnSpMkLst>
        </pc:cxnChg>
        <pc:cxnChg chg="add del mod">
          <ac:chgData name="Lamb, Ben" userId="88a6f5f3-f9e5-47eb-a109-670a0c68440d" providerId="ADAL" clId="{61283625-AFAA-A843-B4D4-BB41EDC646A4}" dt="2021-03-31T17:28:20.570" v="10334" actId="478"/>
          <ac:cxnSpMkLst>
            <pc:docMk/>
            <pc:sldMk cId="1852403570" sldId="1719"/>
            <ac:cxnSpMk id="28" creationId="{740EF9ED-1496-A842-A9B2-330B8595D8AF}"/>
          </ac:cxnSpMkLst>
        </pc:cxnChg>
        <pc:cxnChg chg="add del mod">
          <ac:chgData name="Lamb, Ben" userId="88a6f5f3-f9e5-47eb-a109-670a0c68440d" providerId="ADAL" clId="{61283625-AFAA-A843-B4D4-BB41EDC646A4}" dt="2021-03-31T17:28:20.570" v="10334" actId="478"/>
          <ac:cxnSpMkLst>
            <pc:docMk/>
            <pc:sldMk cId="1852403570" sldId="1719"/>
            <ac:cxnSpMk id="34" creationId="{E3F7BF0B-B85D-6E4C-827F-09F597336FF9}"/>
          </ac:cxnSpMkLst>
        </pc:cxnChg>
        <pc:cxnChg chg="add del mod">
          <ac:chgData name="Lamb, Ben" userId="88a6f5f3-f9e5-47eb-a109-670a0c68440d" providerId="ADAL" clId="{61283625-AFAA-A843-B4D4-BB41EDC646A4}" dt="2021-03-31T17:28:20.570" v="10334" actId="478"/>
          <ac:cxnSpMkLst>
            <pc:docMk/>
            <pc:sldMk cId="1852403570" sldId="1719"/>
            <ac:cxnSpMk id="36" creationId="{5516B60F-FD31-5343-AAD1-90EA218A32AF}"/>
          </ac:cxnSpMkLst>
        </pc:cxnChg>
        <pc:cxnChg chg="add del mod">
          <ac:chgData name="Lamb, Ben" userId="88a6f5f3-f9e5-47eb-a109-670a0c68440d" providerId="ADAL" clId="{61283625-AFAA-A843-B4D4-BB41EDC646A4}" dt="2021-03-31T17:28:20.570" v="10334" actId="478"/>
          <ac:cxnSpMkLst>
            <pc:docMk/>
            <pc:sldMk cId="1852403570" sldId="1719"/>
            <ac:cxnSpMk id="37" creationId="{FBB7FEBD-5D90-434F-AC1B-BA28144F569D}"/>
          </ac:cxnSpMkLst>
        </pc:cxnChg>
        <pc:cxnChg chg="add del mod">
          <ac:chgData name="Lamb, Ben" userId="88a6f5f3-f9e5-47eb-a109-670a0c68440d" providerId="ADAL" clId="{61283625-AFAA-A843-B4D4-BB41EDC646A4}" dt="2021-03-31T17:28:20.570" v="10334" actId="478"/>
          <ac:cxnSpMkLst>
            <pc:docMk/>
            <pc:sldMk cId="1852403570" sldId="1719"/>
            <ac:cxnSpMk id="38" creationId="{07158154-44DB-A042-AA15-0C16842B3B0E}"/>
          </ac:cxnSpMkLst>
        </pc:cxnChg>
        <pc:cxnChg chg="add del mod">
          <ac:chgData name="Lamb, Ben" userId="88a6f5f3-f9e5-47eb-a109-670a0c68440d" providerId="ADAL" clId="{61283625-AFAA-A843-B4D4-BB41EDC646A4}" dt="2021-03-31T17:28:20.570" v="10334" actId="478"/>
          <ac:cxnSpMkLst>
            <pc:docMk/>
            <pc:sldMk cId="1852403570" sldId="1719"/>
            <ac:cxnSpMk id="44" creationId="{C5B11554-4B20-0B4B-900D-B503627FEA09}"/>
          </ac:cxnSpMkLst>
        </pc:cxnChg>
        <pc:cxnChg chg="add del mod">
          <ac:chgData name="Lamb, Ben" userId="88a6f5f3-f9e5-47eb-a109-670a0c68440d" providerId="ADAL" clId="{61283625-AFAA-A843-B4D4-BB41EDC646A4}" dt="2021-03-31T17:32:33.880" v="10458" actId="478"/>
          <ac:cxnSpMkLst>
            <pc:docMk/>
            <pc:sldMk cId="1852403570" sldId="1719"/>
            <ac:cxnSpMk id="45" creationId="{1CE0E3C6-0EC6-DF41-AED0-18B4C63DD642}"/>
          </ac:cxnSpMkLst>
        </pc:cxnChg>
        <pc:cxnChg chg="add mod">
          <ac:chgData name="Lamb, Ben" userId="88a6f5f3-f9e5-47eb-a109-670a0c68440d" providerId="ADAL" clId="{61283625-AFAA-A843-B4D4-BB41EDC646A4}" dt="2021-03-31T19:46:01.022" v="11267" actId="1076"/>
          <ac:cxnSpMkLst>
            <pc:docMk/>
            <pc:sldMk cId="1852403570" sldId="1719"/>
            <ac:cxnSpMk id="53" creationId="{B50A620B-A83B-4C46-95C0-99B45BCBCDCB}"/>
          </ac:cxnSpMkLst>
        </pc:cxnChg>
        <pc:cxnChg chg="add del mod">
          <ac:chgData name="Lamb, Ben" userId="88a6f5f3-f9e5-47eb-a109-670a0c68440d" providerId="ADAL" clId="{61283625-AFAA-A843-B4D4-BB41EDC646A4}" dt="2021-03-31T17:35:27.951" v="10571" actId="478"/>
          <ac:cxnSpMkLst>
            <pc:docMk/>
            <pc:sldMk cId="1852403570" sldId="1719"/>
            <ac:cxnSpMk id="57" creationId="{042F114E-105E-2848-91C1-C2EF629CC3A9}"/>
          </ac:cxnSpMkLst>
        </pc:cxnChg>
        <pc:cxnChg chg="add del mod">
          <ac:chgData name="Lamb, Ben" userId="88a6f5f3-f9e5-47eb-a109-670a0c68440d" providerId="ADAL" clId="{61283625-AFAA-A843-B4D4-BB41EDC646A4}" dt="2021-03-31T19:15:48.062" v="10943" actId="478"/>
          <ac:cxnSpMkLst>
            <pc:docMk/>
            <pc:sldMk cId="1852403570" sldId="1719"/>
            <ac:cxnSpMk id="60" creationId="{54D998F0-7AFD-1847-8C10-60DF92C78FEB}"/>
          </ac:cxnSpMkLst>
        </pc:cxnChg>
        <pc:cxnChg chg="add del mod">
          <ac:chgData name="Lamb, Ben" userId="88a6f5f3-f9e5-47eb-a109-670a0c68440d" providerId="ADAL" clId="{61283625-AFAA-A843-B4D4-BB41EDC646A4}" dt="2021-03-31T17:35:44.230" v="10575" actId="478"/>
          <ac:cxnSpMkLst>
            <pc:docMk/>
            <pc:sldMk cId="1852403570" sldId="1719"/>
            <ac:cxnSpMk id="61" creationId="{F4BE6DB9-7099-C142-BE04-CC30515D37F8}"/>
          </ac:cxnSpMkLst>
        </pc:cxnChg>
        <pc:cxnChg chg="add del mod">
          <ac:chgData name="Lamb, Ben" userId="88a6f5f3-f9e5-47eb-a109-670a0c68440d" providerId="ADAL" clId="{61283625-AFAA-A843-B4D4-BB41EDC646A4}" dt="2021-03-31T17:34:40.523" v="10497" actId="478"/>
          <ac:cxnSpMkLst>
            <pc:docMk/>
            <pc:sldMk cId="1852403570" sldId="1719"/>
            <ac:cxnSpMk id="64" creationId="{176900EE-742B-FB49-8986-E89CC7477A3F}"/>
          </ac:cxnSpMkLst>
        </pc:cxnChg>
        <pc:cxnChg chg="add del mod">
          <ac:chgData name="Lamb, Ben" userId="88a6f5f3-f9e5-47eb-a109-670a0c68440d" providerId="ADAL" clId="{61283625-AFAA-A843-B4D4-BB41EDC646A4}" dt="2021-03-31T17:34:40.523" v="10497" actId="478"/>
          <ac:cxnSpMkLst>
            <pc:docMk/>
            <pc:sldMk cId="1852403570" sldId="1719"/>
            <ac:cxnSpMk id="72" creationId="{D0077D5C-519F-5C4B-B395-B8BEEB1EAFB5}"/>
          </ac:cxnSpMkLst>
        </pc:cxnChg>
        <pc:cxnChg chg="add del mod">
          <ac:chgData name="Lamb, Ben" userId="88a6f5f3-f9e5-47eb-a109-670a0c68440d" providerId="ADAL" clId="{61283625-AFAA-A843-B4D4-BB41EDC646A4}" dt="2021-03-31T17:34:03.187" v="10463" actId="478"/>
          <ac:cxnSpMkLst>
            <pc:docMk/>
            <pc:sldMk cId="1852403570" sldId="1719"/>
            <ac:cxnSpMk id="74" creationId="{9CDBE477-44E2-9548-8E77-1FEAFD3B1FA3}"/>
          </ac:cxnSpMkLst>
        </pc:cxnChg>
        <pc:cxnChg chg="add del mod">
          <ac:chgData name="Lamb, Ben" userId="88a6f5f3-f9e5-47eb-a109-670a0c68440d" providerId="ADAL" clId="{61283625-AFAA-A843-B4D4-BB41EDC646A4}" dt="2021-03-31T17:41:16.327" v="10807" actId="478"/>
          <ac:cxnSpMkLst>
            <pc:docMk/>
            <pc:sldMk cId="1852403570" sldId="1719"/>
            <ac:cxnSpMk id="80" creationId="{BCFA724F-40E3-7B4F-B3DD-8152D38C66D1}"/>
          </ac:cxnSpMkLst>
        </pc:cxnChg>
        <pc:cxnChg chg="add mod">
          <ac:chgData name="Lamb, Ben" userId="88a6f5f3-f9e5-47eb-a109-670a0c68440d" providerId="ADAL" clId="{61283625-AFAA-A843-B4D4-BB41EDC646A4}" dt="2021-03-31T19:34:55.278" v="11125" actId="1076"/>
          <ac:cxnSpMkLst>
            <pc:docMk/>
            <pc:sldMk cId="1852403570" sldId="1719"/>
            <ac:cxnSpMk id="82" creationId="{8EC7B246-00F1-6047-A07A-394A3402245E}"/>
          </ac:cxnSpMkLst>
        </pc:cxnChg>
        <pc:cxnChg chg="add mod">
          <ac:chgData name="Lamb, Ben" userId="88a6f5f3-f9e5-47eb-a109-670a0c68440d" providerId="ADAL" clId="{61283625-AFAA-A843-B4D4-BB41EDC646A4}" dt="2021-03-31T19:34:55.278" v="11125" actId="1076"/>
          <ac:cxnSpMkLst>
            <pc:docMk/>
            <pc:sldMk cId="1852403570" sldId="1719"/>
            <ac:cxnSpMk id="83" creationId="{6B2CAEBA-918A-FF47-93C8-6BB213F95053}"/>
          </ac:cxnSpMkLst>
        </pc:cxnChg>
        <pc:cxnChg chg="add del mod">
          <ac:chgData name="Lamb, Ben" userId="88a6f5f3-f9e5-47eb-a109-670a0c68440d" providerId="ADAL" clId="{61283625-AFAA-A843-B4D4-BB41EDC646A4}" dt="2021-03-31T17:43:35.921" v="10891" actId="478"/>
          <ac:cxnSpMkLst>
            <pc:docMk/>
            <pc:sldMk cId="1852403570" sldId="1719"/>
            <ac:cxnSpMk id="84" creationId="{A707A20B-4931-E047-BC34-63EBABA166FB}"/>
          </ac:cxnSpMkLst>
        </pc:cxnChg>
        <pc:cxnChg chg="add del mod">
          <ac:chgData name="Lamb, Ben" userId="88a6f5f3-f9e5-47eb-a109-670a0c68440d" providerId="ADAL" clId="{61283625-AFAA-A843-B4D4-BB41EDC646A4}" dt="2021-03-31T19:34:43.928" v="11122" actId="478"/>
          <ac:cxnSpMkLst>
            <pc:docMk/>
            <pc:sldMk cId="1852403570" sldId="1719"/>
            <ac:cxnSpMk id="90" creationId="{5C443B11-AC20-C244-A6C8-C11461929686}"/>
          </ac:cxnSpMkLst>
        </pc:cxnChg>
        <pc:cxnChg chg="add mod">
          <ac:chgData name="Lamb, Ben" userId="88a6f5f3-f9e5-47eb-a109-670a0c68440d" providerId="ADAL" clId="{61283625-AFAA-A843-B4D4-BB41EDC646A4}" dt="2021-03-31T19:34:55.278" v="11125" actId="1076"/>
          <ac:cxnSpMkLst>
            <pc:docMk/>
            <pc:sldMk cId="1852403570" sldId="1719"/>
            <ac:cxnSpMk id="91" creationId="{34D62801-7B30-E24E-BD04-A036279B68B9}"/>
          </ac:cxnSpMkLst>
        </pc:cxnChg>
        <pc:cxnChg chg="add mod">
          <ac:chgData name="Lamb, Ben" userId="88a6f5f3-f9e5-47eb-a109-670a0c68440d" providerId="ADAL" clId="{61283625-AFAA-A843-B4D4-BB41EDC646A4}" dt="2021-03-31T19:46:01.022" v="11267" actId="1076"/>
          <ac:cxnSpMkLst>
            <pc:docMk/>
            <pc:sldMk cId="1852403570" sldId="1719"/>
            <ac:cxnSpMk id="101" creationId="{5992EC37-69E5-0844-9242-E13A95B2FDC9}"/>
          </ac:cxnSpMkLst>
        </pc:cxnChg>
        <pc:cxnChg chg="add mod">
          <ac:chgData name="Lamb, Ben" userId="88a6f5f3-f9e5-47eb-a109-670a0c68440d" providerId="ADAL" clId="{61283625-AFAA-A843-B4D4-BB41EDC646A4}" dt="2021-03-31T19:34:35.364" v="11119" actId="478"/>
          <ac:cxnSpMkLst>
            <pc:docMk/>
            <pc:sldMk cId="1852403570" sldId="1719"/>
            <ac:cxnSpMk id="111" creationId="{46708EF9-3195-FB49-A789-8BAC4422E080}"/>
          </ac:cxnSpMkLst>
        </pc:cxnChg>
        <pc:cxnChg chg="add mod">
          <ac:chgData name="Lamb, Ben" userId="88a6f5f3-f9e5-47eb-a109-670a0c68440d" providerId="ADAL" clId="{61283625-AFAA-A843-B4D4-BB41EDC646A4}" dt="2021-03-31T19:46:01.022" v="11267" actId="1076"/>
          <ac:cxnSpMkLst>
            <pc:docMk/>
            <pc:sldMk cId="1852403570" sldId="1719"/>
            <ac:cxnSpMk id="125" creationId="{F904B91D-ED4B-6B49-A3D3-06DD240793F1}"/>
          </ac:cxnSpMkLst>
        </pc:cxnChg>
        <pc:cxnChg chg="add mod">
          <ac:chgData name="Lamb, Ben" userId="88a6f5f3-f9e5-47eb-a109-670a0c68440d" providerId="ADAL" clId="{61283625-AFAA-A843-B4D4-BB41EDC646A4}" dt="2021-03-31T19:46:01.022" v="11267" actId="1076"/>
          <ac:cxnSpMkLst>
            <pc:docMk/>
            <pc:sldMk cId="1852403570" sldId="1719"/>
            <ac:cxnSpMk id="134" creationId="{75CB0868-1C54-954F-B6FE-71E2FEED2145}"/>
          </ac:cxnSpMkLst>
        </pc:cxnChg>
        <pc:cxnChg chg="add mod">
          <ac:chgData name="Lamb, Ben" userId="88a6f5f3-f9e5-47eb-a109-670a0c68440d" providerId="ADAL" clId="{61283625-AFAA-A843-B4D4-BB41EDC646A4}" dt="2021-03-31T19:46:01.022" v="11267" actId="1076"/>
          <ac:cxnSpMkLst>
            <pc:docMk/>
            <pc:sldMk cId="1852403570" sldId="1719"/>
            <ac:cxnSpMk id="142" creationId="{B2148362-C5A4-CC4C-B03E-6A2C3856B14C}"/>
          </ac:cxnSpMkLst>
        </pc:cxnChg>
        <pc:cxnChg chg="add mod">
          <ac:chgData name="Lamb, Ben" userId="88a6f5f3-f9e5-47eb-a109-670a0c68440d" providerId="ADAL" clId="{61283625-AFAA-A843-B4D4-BB41EDC646A4}" dt="2021-03-31T19:46:18.109" v="11274" actId="14100"/>
          <ac:cxnSpMkLst>
            <pc:docMk/>
            <pc:sldMk cId="1852403570" sldId="1719"/>
            <ac:cxnSpMk id="150" creationId="{B575B980-48FF-E841-9C80-7C7E68D27A79}"/>
          </ac:cxnSpMkLst>
        </pc:cxnChg>
      </pc:sldChg>
      <pc:sldChg chg="addSp delSp modSp new mod ord modClrScheme chgLayout">
        <pc:chgData name="Lamb, Ben" userId="88a6f5f3-f9e5-47eb-a109-670a0c68440d" providerId="ADAL" clId="{61283625-AFAA-A843-B4D4-BB41EDC646A4}" dt="2021-04-01T18:03:35.104" v="16605" actId="20578"/>
        <pc:sldMkLst>
          <pc:docMk/>
          <pc:sldMk cId="1701660278" sldId="1720"/>
        </pc:sldMkLst>
        <pc:spChg chg="mod ord">
          <ac:chgData name="Lamb, Ben" userId="88a6f5f3-f9e5-47eb-a109-670a0c68440d" providerId="ADAL" clId="{61283625-AFAA-A843-B4D4-BB41EDC646A4}" dt="2021-04-01T13:59:28.981" v="13594" actId="1076"/>
          <ac:spMkLst>
            <pc:docMk/>
            <pc:sldMk cId="1701660278" sldId="1720"/>
            <ac:spMk id="2" creationId="{DA833CC4-1A54-8E49-8B13-E092E92DC89E}"/>
          </ac:spMkLst>
        </pc:spChg>
        <pc:spChg chg="del mod ord">
          <ac:chgData name="Lamb, Ben" userId="88a6f5f3-f9e5-47eb-a109-670a0c68440d" providerId="ADAL" clId="{61283625-AFAA-A843-B4D4-BB41EDC646A4}" dt="2021-04-01T13:57:15.622" v="13584" actId="478"/>
          <ac:spMkLst>
            <pc:docMk/>
            <pc:sldMk cId="1701660278" sldId="1720"/>
            <ac:spMk id="3" creationId="{A7F6FDDE-446E-804E-AAFE-78916AA1B1CB}"/>
          </ac:spMkLst>
        </pc:spChg>
        <pc:spChg chg="mod ord">
          <ac:chgData name="Lamb, Ben" userId="88a6f5f3-f9e5-47eb-a109-670a0c68440d" providerId="ADAL" clId="{61283625-AFAA-A843-B4D4-BB41EDC646A4}" dt="2021-04-01T13:59:28.981" v="13594" actId="1076"/>
          <ac:spMkLst>
            <pc:docMk/>
            <pc:sldMk cId="1701660278" sldId="1720"/>
            <ac:spMk id="4" creationId="{35587B69-5E2E-7841-B137-1491C6F88BB6}"/>
          </ac:spMkLst>
        </pc:spChg>
        <pc:spChg chg="add mod">
          <ac:chgData name="Lamb, Ben" userId="88a6f5f3-f9e5-47eb-a109-670a0c68440d" providerId="ADAL" clId="{61283625-AFAA-A843-B4D4-BB41EDC646A4}" dt="2021-04-01T14:03:57.330" v="13686" actId="1076"/>
          <ac:spMkLst>
            <pc:docMk/>
            <pc:sldMk cId="1701660278" sldId="1720"/>
            <ac:spMk id="5" creationId="{F421EB39-2E60-0B4D-9E17-C0CC6CD3A708}"/>
          </ac:spMkLst>
        </pc:spChg>
        <pc:spChg chg="add del mod ord">
          <ac:chgData name="Lamb, Ben" userId="88a6f5f3-f9e5-47eb-a109-670a0c68440d" providerId="ADAL" clId="{61283625-AFAA-A843-B4D4-BB41EDC646A4}" dt="2021-03-31T22:47:38.378" v="13130" actId="478"/>
          <ac:spMkLst>
            <pc:docMk/>
            <pc:sldMk cId="1701660278" sldId="1720"/>
            <ac:spMk id="6" creationId="{BC0D9DFD-5973-D046-9A36-DBE83B56C3F9}"/>
          </ac:spMkLst>
        </pc:spChg>
        <pc:spChg chg="add del mod">
          <ac:chgData name="Lamb, Ben" userId="88a6f5f3-f9e5-47eb-a109-670a0c68440d" providerId="ADAL" clId="{61283625-AFAA-A843-B4D4-BB41EDC646A4}" dt="2021-03-30T23:16:20.807" v="8586" actId="478"/>
          <ac:spMkLst>
            <pc:docMk/>
            <pc:sldMk cId="1701660278" sldId="1720"/>
            <ac:spMk id="6" creationId="{F627EEA7-64F5-C048-9D18-97AD6EB02D30}"/>
          </ac:spMkLst>
        </pc:spChg>
        <pc:spChg chg="add del mod">
          <ac:chgData name="Lamb, Ben" userId="88a6f5f3-f9e5-47eb-a109-670a0c68440d" providerId="ADAL" clId="{61283625-AFAA-A843-B4D4-BB41EDC646A4}" dt="2021-03-30T23:16:20.807" v="8586" actId="478"/>
          <ac:spMkLst>
            <pc:docMk/>
            <pc:sldMk cId="1701660278" sldId="1720"/>
            <ac:spMk id="7" creationId="{2CBFEFBC-C2BF-2D49-AA07-9A8BE9AEAB43}"/>
          </ac:spMkLst>
        </pc:spChg>
        <pc:spChg chg="add mod">
          <ac:chgData name="Lamb, Ben" userId="88a6f5f3-f9e5-47eb-a109-670a0c68440d" providerId="ADAL" clId="{61283625-AFAA-A843-B4D4-BB41EDC646A4}" dt="2021-04-01T13:59:22.741" v="13593" actId="1076"/>
          <ac:spMkLst>
            <pc:docMk/>
            <pc:sldMk cId="1701660278" sldId="1720"/>
            <ac:spMk id="7" creationId="{5B0B2203-E086-6D4A-B57F-95302EB8A52F}"/>
          </ac:spMkLst>
        </pc:spChg>
        <pc:spChg chg="add del mod">
          <ac:chgData name="Lamb, Ben" userId="88a6f5f3-f9e5-47eb-a109-670a0c68440d" providerId="ADAL" clId="{61283625-AFAA-A843-B4D4-BB41EDC646A4}" dt="2021-04-01T13:56:14.766" v="13579" actId="478"/>
          <ac:spMkLst>
            <pc:docMk/>
            <pc:sldMk cId="1701660278" sldId="1720"/>
            <ac:spMk id="8" creationId="{D29419D7-4BF8-E54A-85A8-8442232B5546}"/>
          </ac:spMkLst>
        </pc:spChg>
        <pc:spChg chg="add mod">
          <ac:chgData name="Lamb, Ben" userId="88a6f5f3-f9e5-47eb-a109-670a0c68440d" providerId="ADAL" clId="{61283625-AFAA-A843-B4D4-BB41EDC646A4}" dt="2021-04-01T14:03:57.330" v="13686" actId="1076"/>
          <ac:spMkLst>
            <pc:docMk/>
            <pc:sldMk cId="1701660278" sldId="1720"/>
            <ac:spMk id="10" creationId="{57E4E865-0E5F-1949-9B21-A7C580C4E991}"/>
          </ac:spMkLst>
        </pc:spChg>
        <pc:spChg chg="add mod">
          <ac:chgData name="Lamb, Ben" userId="88a6f5f3-f9e5-47eb-a109-670a0c68440d" providerId="ADAL" clId="{61283625-AFAA-A843-B4D4-BB41EDC646A4}" dt="2021-04-01T14:03:57.330" v="13686" actId="1076"/>
          <ac:spMkLst>
            <pc:docMk/>
            <pc:sldMk cId="1701660278" sldId="1720"/>
            <ac:spMk id="12" creationId="{F2918E25-2847-7D4C-9666-4F8FE418C64D}"/>
          </ac:spMkLst>
        </pc:spChg>
        <pc:spChg chg="add mod">
          <ac:chgData name="Lamb, Ben" userId="88a6f5f3-f9e5-47eb-a109-670a0c68440d" providerId="ADAL" clId="{61283625-AFAA-A843-B4D4-BB41EDC646A4}" dt="2021-04-01T14:03:57.330" v="13686" actId="1076"/>
          <ac:spMkLst>
            <pc:docMk/>
            <pc:sldMk cId="1701660278" sldId="1720"/>
            <ac:spMk id="13" creationId="{605D9811-BB14-C644-A8BD-BD8281F50C71}"/>
          </ac:spMkLst>
        </pc:spChg>
        <pc:spChg chg="add del mod">
          <ac:chgData name="Lamb, Ben" userId="88a6f5f3-f9e5-47eb-a109-670a0c68440d" providerId="ADAL" clId="{61283625-AFAA-A843-B4D4-BB41EDC646A4}" dt="2021-04-01T13:57:19.338" v="13585" actId="478"/>
          <ac:spMkLst>
            <pc:docMk/>
            <pc:sldMk cId="1701660278" sldId="1720"/>
            <ac:spMk id="15" creationId="{E6AB9D22-0465-4142-AEE9-4803D68807EB}"/>
          </ac:spMkLst>
        </pc:spChg>
        <pc:spChg chg="add mod">
          <ac:chgData name="Lamb, Ben" userId="88a6f5f3-f9e5-47eb-a109-670a0c68440d" providerId="ADAL" clId="{61283625-AFAA-A843-B4D4-BB41EDC646A4}" dt="2021-04-01T14:03:57.330" v="13686" actId="1076"/>
          <ac:spMkLst>
            <pc:docMk/>
            <pc:sldMk cId="1701660278" sldId="1720"/>
            <ac:spMk id="19" creationId="{15E0B9FF-98E0-6A4C-AAF4-21EAFF003F74}"/>
          </ac:spMkLst>
        </pc:spChg>
        <pc:spChg chg="add mod">
          <ac:chgData name="Lamb, Ben" userId="88a6f5f3-f9e5-47eb-a109-670a0c68440d" providerId="ADAL" clId="{61283625-AFAA-A843-B4D4-BB41EDC646A4}" dt="2021-04-01T14:04:00.118" v="13687" actId="1076"/>
          <ac:spMkLst>
            <pc:docMk/>
            <pc:sldMk cId="1701660278" sldId="1720"/>
            <ac:spMk id="21" creationId="{12BBCD5B-6E39-4747-98E2-8326FBF124A4}"/>
          </ac:spMkLst>
        </pc:spChg>
        <pc:spChg chg="add mod">
          <ac:chgData name="Lamb, Ben" userId="88a6f5f3-f9e5-47eb-a109-670a0c68440d" providerId="ADAL" clId="{61283625-AFAA-A843-B4D4-BB41EDC646A4}" dt="2021-04-01T15:28:01.345" v="14011" actId="1076"/>
          <ac:spMkLst>
            <pc:docMk/>
            <pc:sldMk cId="1701660278" sldId="1720"/>
            <ac:spMk id="31" creationId="{B85C8042-9198-D44D-8A0F-B347EEDE6DBE}"/>
          </ac:spMkLst>
        </pc:spChg>
        <pc:spChg chg="add mod">
          <ac:chgData name="Lamb, Ben" userId="88a6f5f3-f9e5-47eb-a109-670a0c68440d" providerId="ADAL" clId="{61283625-AFAA-A843-B4D4-BB41EDC646A4}" dt="2021-04-01T14:03:57.330" v="13686" actId="1076"/>
          <ac:spMkLst>
            <pc:docMk/>
            <pc:sldMk cId="1701660278" sldId="1720"/>
            <ac:spMk id="33" creationId="{598509A3-B9DE-8042-93D9-3B6F328D524D}"/>
          </ac:spMkLst>
        </pc:spChg>
        <pc:spChg chg="add del mod">
          <ac:chgData name="Lamb, Ben" userId="88a6f5f3-f9e5-47eb-a109-670a0c68440d" providerId="ADAL" clId="{61283625-AFAA-A843-B4D4-BB41EDC646A4}" dt="2021-03-30T23:24:55.952" v="8760" actId="478"/>
          <ac:spMkLst>
            <pc:docMk/>
            <pc:sldMk cId="1701660278" sldId="1720"/>
            <ac:spMk id="34" creationId="{DA4F3F80-05B5-6F4F-A3E7-343FAB130973}"/>
          </ac:spMkLst>
        </pc:spChg>
        <pc:spChg chg="add del mod">
          <ac:chgData name="Lamb, Ben" userId="88a6f5f3-f9e5-47eb-a109-670a0c68440d" providerId="ADAL" clId="{61283625-AFAA-A843-B4D4-BB41EDC646A4}" dt="2021-03-30T23:25:10.595" v="8763" actId="478"/>
          <ac:spMkLst>
            <pc:docMk/>
            <pc:sldMk cId="1701660278" sldId="1720"/>
            <ac:spMk id="36" creationId="{7C9F9CF4-BA2E-674B-8268-CFA091719B6B}"/>
          </ac:spMkLst>
        </pc:spChg>
        <pc:spChg chg="add mod">
          <ac:chgData name="Lamb, Ben" userId="88a6f5f3-f9e5-47eb-a109-670a0c68440d" providerId="ADAL" clId="{61283625-AFAA-A843-B4D4-BB41EDC646A4}" dt="2021-04-01T14:03:57.330" v="13686" actId="1076"/>
          <ac:spMkLst>
            <pc:docMk/>
            <pc:sldMk cId="1701660278" sldId="1720"/>
            <ac:spMk id="38" creationId="{644E9800-C3D7-E543-AD94-0BD793B26AB1}"/>
          </ac:spMkLst>
        </pc:spChg>
        <pc:spChg chg="add mod">
          <ac:chgData name="Lamb, Ben" userId="88a6f5f3-f9e5-47eb-a109-670a0c68440d" providerId="ADAL" clId="{61283625-AFAA-A843-B4D4-BB41EDC646A4}" dt="2021-04-01T14:03:57.330" v="13686" actId="1076"/>
          <ac:spMkLst>
            <pc:docMk/>
            <pc:sldMk cId="1701660278" sldId="1720"/>
            <ac:spMk id="39" creationId="{7927626D-A6E5-CC43-8E23-2566D169ADF9}"/>
          </ac:spMkLst>
        </pc:spChg>
        <pc:spChg chg="add mod">
          <ac:chgData name="Lamb, Ben" userId="88a6f5f3-f9e5-47eb-a109-670a0c68440d" providerId="ADAL" clId="{61283625-AFAA-A843-B4D4-BB41EDC646A4}" dt="2021-04-01T14:03:57.330" v="13686" actId="1076"/>
          <ac:spMkLst>
            <pc:docMk/>
            <pc:sldMk cId="1701660278" sldId="1720"/>
            <ac:spMk id="40" creationId="{B0366ECE-27D4-7A48-88B8-6A874D04AD97}"/>
          </ac:spMkLst>
        </pc:spChg>
        <pc:spChg chg="add mod">
          <ac:chgData name="Lamb, Ben" userId="88a6f5f3-f9e5-47eb-a109-670a0c68440d" providerId="ADAL" clId="{61283625-AFAA-A843-B4D4-BB41EDC646A4}" dt="2021-04-01T14:03:57.330" v="13686" actId="1076"/>
          <ac:spMkLst>
            <pc:docMk/>
            <pc:sldMk cId="1701660278" sldId="1720"/>
            <ac:spMk id="42" creationId="{810E3158-0FEA-F348-8A61-AA998DD71CF6}"/>
          </ac:spMkLst>
        </pc:spChg>
        <pc:spChg chg="add mod">
          <ac:chgData name="Lamb, Ben" userId="88a6f5f3-f9e5-47eb-a109-670a0c68440d" providerId="ADAL" clId="{61283625-AFAA-A843-B4D4-BB41EDC646A4}" dt="2021-04-01T13:59:19.734" v="13592" actId="1076"/>
          <ac:spMkLst>
            <pc:docMk/>
            <pc:sldMk cId="1701660278" sldId="1720"/>
            <ac:spMk id="46" creationId="{3C1DC4FD-8067-8A4C-9311-3EB305B545BF}"/>
          </ac:spMkLst>
        </pc:spChg>
        <pc:picChg chg="add mod">
          <ac:chgData name="Lamb, Ben" userId="88a6f5f3-f9e5-47eb-a109-670a0c68440d" providerId="ADAL" clId="{61283625-AFAA-A843-B4D4-BB41EDC646A4}" dt="2021-04-01T14:00:49.634" v="13612" actId="1076"/>
          <ac:picMkLst>
            <pc:docMk/>
            <pc:sldMk cId="1701660278" sldId="1720"/>
            <ac:picMk id="17410" creationId="{3E0DB866-FFF0-7946-A3AB-178EF2989498}"/>
          </ac:picMkLst>
        </pc:picChg>
        <pc:cxnChg chg="add del mod">
          <ac:chgData name="Lamb, Ben" userId="88a6f5f3-f9e5-47eb-a109-670a0c68440d" providerId="ADAL" clId="{61283625-AFAA-A843-B4D4-BB41EDC646A4}" dt="2021-03-30T23:16:32.040" v="8597" actId="478"/>
          <ac:cxnSpMkLst>
            <pc:docMk/>
            <pc:sldMk cId="1701660278" sldId="1720"/>
            <ac:cxnSpMk id="8" creationId="{4CF089DB-5261-C745-AFC3-7EDDF7044111}"/>
          </ac:cxnSpMkLst>
        </pc:cxnChg>
        <pc:cxnChg chg="add mod">
          <ac:chgData name="Lamb, Ben" userId="88a6f5f3-f9e5-47eb-a109-670a0c68440d" providerId="ADAL" clId="{61283625-AFAA-A843-B4D4-BB41EDC646A4}" dt="2021-04-01T14:03:57.330" v="13686" actId="1076"/>
          <ac:cxnSpMkLst>
            <pc:docMk/>
            <pc:sldMk cId="1701660278" sldId="1720"/>
            <ac:cxnSpMk id="9" creationId="{4B4D2DE5-DB43-C040-AC41-7CBC361E00CF}"/>
          </ac:cxnSpMkLst>
        </pc:cxnChg>
        <pc:cxnChg chg="add mod">
          <ac:chgData name="Lamb, Ben" userId="88a6f5f3-f9e5-47eb-a109-670a0c68440d" providerId="ADAL" clId="{61283625-AFAA-A843-B4D4-BB41EDC646A4}" dt="2021-04-01T14:03:57.330" v="13686" actId="1076"/>
          <ac:cxnSpMkLst>
            <pc:docMk/>
            <pc:sldMk cId="1701660278" sldId="1720"/>
            <ac:cxnSpMk id="11" creationId="{167F2E4C-15DB-534D-80E9-247F674BCB9D}"/>
          </ac:cxnSpMkLst>
        </pc:cxnChg>
        <pc:cxnChg chg="add mod">
          <ac:chgData name="Lamb, Ben" userId="88a6f5f3-f9e5-47eb-a109-670a0c68440d" providerId="ADAL" clId="{61283625-AFAA-A843-B4D4-BB41EDC646A4}" dt="2021-04-01T14:03:57.330" v="13686" actId="1076"/>
          <ac:cxnSpMkLst>
            <pc:docMk/>
            <pc:sldMk cId="1701660278" sldId="1720"/>
            <ac:cxnSpMk id="29" creationId="{233ED01F-72DF-5646-8630-47789D081FDC}"/>
          </ac:cxnSpMkLst>
        </pc:cxnChg>
        <pc:cxnChg chg="add del mod">
          <ac:chgData name="Lamb, Ben" userId="88a6f5f3-f9e5-47eb-a109-670a0c68440d" providerId="ADAL" clId="{61283625-AFAA-A843-B4D4-BB41EDC646A4}" dt="2021-03-30T23:24:53.916" v="8759" actId="478"/>
          <ac:cxnSpMkLst>
            <pc:docMk/>
            <pc:sldMk cId="1701660278" sldId="1720"/>
            <ac:cxnSpMk id="35" creationId="{1B546BB2-6934-A248-9CEC-B211406BB264}"/>
          </ac:cxnSpMkLst>
        </pc:cxnChg>
        <pc:cxnChg chg="add mod">
          <ac:chgData name="Lamb, Ben" userId="88a6f5f3-f9e5-47eb-a109-670a0c68440d" providerId="ADAL" clId="{61283625-AFAA-A843-B4D4-BB41EDC646A4}" dt="2021-04-01T14:03:57.330" v="13686" actId="1076"/>
          <ac:cxnSpMkLst>
            <pc:docMk/>
            <pc:sldMk cId="1701660278" sldId="1720"/>
            <ac:cxnSpMk id="37" creationId="{05AF7645-DA75-394E-9D3C-FEAF79A9BB9C}"/>
          </ac:cxnSpMkLst>
        </pc:cxnChg>
        <pc:cxnChg chg="add del mod">
          <ac:chgData name="Lamb, Ben" userId="88a6f5f3-f9e5-47eb-a109-670a0c68440d" providerId="ADAL" clId="{61283625-AFAA-A843-B4D4-BB41EDC646A4}" dt="2021-03-30T23:25:26.145" v="8768" actId="478"/>
          <ac:cxnSpMkLst>
            <pc:docMk/>
            <pc:sldMk cId="1701660278" sldId="1720"/>
            <ac:cxnSpMk id="41" creationId="{4EDED10F-97A0-DD46-B842-FB32098DE72C}"/>
          </ac:cxnSpMkLst>
        </pc:cxnChg>
      </pc:sldChg>
      <pc:sldChg chg="addSp delSp modSp add del mod ord">
        <pc:chgData name="Lamb, Ben" userId="88a6f5f3-f9e5-47eb-a109-670a0c68440d" providerId="ADAL" clId="{61283625-AFAA-A843-B4D4-BB41EDC646A4}" dt="2021-04-01T18:03:06.120" v="16603" actId="2696"/>
        <pc:sldMkLst>
          <pc:docMk/>
          <pc:sldMk cId="3059411151" sldId="1721"/>
        </pc:sldMkLst>
        <pc:spChg chg="mod">
          <ac:chgData name="Lamb, Ben" userId="88a6f5f3-f9e5-47eb-a109-670a0c68440d" providerId="ADAL" clId="{61283625-AFAA-A843-B4D4-BB41EDC646A4}" dt="2021-03-31T16:43:04.264" v="10311" actId="20577"/>
          <ac:spMkLst>
            <pc:docMk/>
            <pc:sldMk cId="3059411151" sldId="1721"/>
            <ac:spMk id="2" creationId="{E4576F96-D6BB-DD40-AD3C-8C50B0DFF80B}"/>
          </ac:spMkLst>
        </pc:spChg>
        <pc:spChg chg="del">
          <ac:chgData name="Lamb, Ben" userId="88a6f5f3-f9e5-47eb-a109-670a0c68440d" providerId="ADAL" clId="{61283625-AFAA-A843-B4D4-BB41EDC646A4}" dt="2021-03-31T16:34:30.904" v="10035" actId="3680"/>
          <ac:spMkLst>
            <pc:docMk/>
            <pc:sldMk cId="3059411151" sldId="1721"/>
            <ac:spMk id="3" creationId="{485C14EB-502E-EF48-A233-BEEE5A2D17A4}"/>
          </ac:spMkLst>
        </pc:spChg>
        <pc:spChg chg="add del mod">
          <ac:chgData name="Lamb, Ben" userId="88a6f5f3-f9e5-47eb-a109-670a0c68440d" providerId="ADAL" clId="{61283625-AFAA-A843-B4D4-BB41EDC646A4}" dt="2021-04-01T17:03:09.688" v="15764" actId="478"/>
          <ac:spMkLst>
            <pc:docMk/>
            <pc:sldMk cId="3059411151" sldId="1721"/>
            <ac:spMk id="6" creationId="{A8CB15A0-69BE-F54A-9DFD-13B28B138DED}"/>
          </ac:spMkLst>
        </pc:spChg>
        <pc:graphicFrameChg chg="add del mod ord modGraphic">
          <ac:chgData name="Lamb, Ben" userId="88a6f5f3-f9e5-47eb-a109-670a0c68440d" providerId="ADAL" clId="{61283625-AFAA-A843-B4D4-BB41EDC646A4}" dt="2021-04-01T17:04:20.279" v="15767" actId="14100"/>
          <ac:graphicFrameMkLst>
            <pc:docMk/>
            <pc:sldMk cId="3059411151" sldId="1721"/>
            <ac:graphicFrameMk id="4" creationId="{B181A061-B654-F94D-9DE5-4CB93BFE3D10}"/>
          </ac:graphicFrameMkLst>
        </pc:graphicFrameChg>
      </pc:sldChg>
      <pc:sldChg chg="addSp delSp modSp add mod">
        <pc:chgData name="Lamb, Ben" userId="88a6f5f3-f9e5-47eb-a109-670a0c68440d" providerId="ADAL" clId="{61283625-AFAA-A843-B4D4-BB41EDC646A4}" dt="2021-04-01T16:56:29.505" v="15762" actId="20577"/>
        <pc:sldMkLst>
          <pc:docMk/>
          <pc:sldMk cId="1997701517" sldId="1722"/>
        </pc:sldMkLst>
        <pc:spChg chg="mod">
          <ac:chgData name="Lamb, Ben" userId="88a6f5f3-f9e5-47eb-a109-670a0c68440d" providerId="ADAL" clId="{61283625-AFAA-A843-B4D4-BB41EDC646A4}" dt="2021-04-01T16:56:29.505" v="15762" actId="20577"/>
          <ac:spMkLst>
            <pc:docMk/>
            <pc:sldMk cId="1997701517" sldId="1722"/>
            <ac:spMk id="2" creationId="{E4576F96-D6BB-DD40-AD3C-8C50B0DFF80B}"/>
          </ac:spMkLst>
        </pc:spChg>
        <pc:spChg chg="add mod">
          <ac:chgData name="Lamb, Ben" userId="88a6f5f3-f9e5-47eb-a109-670a0c68440d" providerId="ADAL" clId="{61283625-AFAA-A843-B4D4-BB41EDC646A4}" dt="2021-03-31T19:30:44.803" v="11085" actId="1076"/>
          <ac:spMkLst>
            <pc:docMk/>
            <pc:sldMk cId="1997701517" sldId="1722"/>
            <ac:spMk id="26" creationId="{93975108-787E-DC47-A436-53E74110C775}"/>
          </ac:spMkLst>
        </pc:spChg>
        <pc:spChg chg="add mod">
          <ac:chgData name="Lamb, Ben" userId="88a6f5f3-f9e5-47eb-a109-670a0c68440d" providerId="ADAL" clId="{61283625-AFAA-A843-B4D4-BB41EDC646A4}" dt="2021-03-31T19:47:04.853" v="11276" actId="20577"/>
          <ac:spMkLst>
            <pc:docMk/>
            <pc:sldMk cId="1997701517" sldId="1722"/>
            <ac:spMk id="27" creationId="{E49F03CE-6668-424E-9DE7-E6EC9AD65113}"/>
          </ac:spMkLst>
        </pc:spChg>
        <pc:spChg chg="add mod">
          <ac:chgData name="Lamb, Ben" userId="88a6f5f3-f9e5-47eb-a109-670a0c68440d" providerId="ADAL" clId="{61283625-AFAA-A843-B4D4-BB41EDC646A4}" dt="2021-03-31T19:30:44.803" v="11085" actId="1076"/>
          <ac:spMkLst>
            <pc:docMk/>
            <pc:sldMk cId="1997701517" sldId="1722"/>
            <ac:spMk id="31" creationId="{7A70AED6-ECE1-BC4F-998E-84AC3554F47A}"/>
          </ac:spMkLst>
        </pc:spChg>
        <pc:spChg chg="add mod">
          <ac:chgData name="Lamb, Ben" userId="88a6f5f3-f9e5-47eb-a109-670a0c68440d" providerId="ADAL" clId="{61283625-AFAA-A843-B4D4-BB41EDC646A4}" dt="2021-03-31T19:30:44.803" v="11085" actId="1076"/>
          <ac:spMkLst>
            <pc:docMk/>
            <pc:sldMk cId="1997701517" sldId="1722"/>
            <ac:spMk id="32" creationId="{7C6E2905-E8DA-B34B-8CBD-B671DDCA5FAD}"/>
          </ac:spMkLst>
        </pc:spChg>
        <pc:spChg chg="add mod">
          <ac:chgData name="Lamb, Ben" userId="88a6f5f3-f9e5-47eb-a109-670a0c68440d" providerId="ADAL" clId="{61283625-AFAA-A843-B4D4-BB41EDC646A4}" dt="2021-03-31T19:30:44.803" v="11085" actId="1076"/>
          <ac:spMkLst>
            <pc:docMk/>
            <pc:sldMk cId="1997701517" sldId="1722"/>
            <ac:spMk id="33" creationId="{C0EFB6F1-DFB5-EE47-B2A0-6845C7A6923B}"/>
          </ac:spMkLst>
        </pc:spChg>
        <pc:spChg chg="add mod">
          <ac:chgData name="Lamb, Ben" userId="88a6f5f3-f9e5-47eb-a109-670a0c68440d" providerId="ADAL" clId="{61283625-AFAA-A843-B4D4-BB41EDC646A4}" dt="2021-03-31T19:30:44.803" v="11085" actId="1076"/>
          <ac:spMkLst>
            <pc:docMk/>
            <pc:sldMk cId="1997701517" sldId="1722"/>
            <ac:spMk id="34" creationId="{FBC804E9-8A3A-7F4E-B5A9-5332205D75C2}"/>
          </ac:spMkLst>
        </pc:spChg>
        <pc:spChg chg="add mod">
          <ac:chgData name="Lamb, Ben" userId="88a6f5f3-f9e5-47eb-a109-670a0c68440d" providerId="ADAL" clId="{61283625-AFAA-A843-B4D4-BB41EDC646A4}" dt="2021-03-31T19:30:44.803" v="11085" actId="1076"/>
          <ac:spMkLst>
            <pc:docMk/>
            <pc:sldMk cId="1997701517" sldId="1722"/>
            <ac:spMk id="35" creationId="{18F1E03E-8F87-0942-A540-F5199939F3BB}"/>
          </ac:spMkLst>
        </pc:spChg>
        <pc:spChg chg="add mod">
          <ac:chgData name="Lamb, Ben" userId="88a6f5f3-f9e5-47eb-a109-670a0c68440d" providerId="ADAL" clId="{61283625-AFAA-A843-B4D4-BB41EDC646A4}" dt="2021-03-31T19:30:44.803" v="11085" actId="1076"/>
          <ac:spMkLst>
            <pc:docMk/>
            <pc:sldMk cId="1997701517" sldId="1722"/>
            <ac:spMk id="36" creationId="{BA1568D4-8A30-B142-B13B-D1EC69C36E1C}"/>
          </ac:spMkLst>
        </pc:spChg>
        <pc:spChg chg="add mod">
          <ac:chgData name="Lamb, Ben" userId="88a6f5f3-f9e5-47eb-a109-670a0c68440d" providerId="ADAL" clId="{61283625-AFAA-A843-B4D4-BB41EDC646A4}" dt="2021-03-31T19:30:44.803" v="11085" actId="1076"/>
          <ac:spMkLst>
            <pc:docMk/>
            <pc:sldMk cId="1997701517" sldId="1722"/>
            <ac:spMk id="39" creationId="{B5BB4F0D-D387-3340-BDD7-443EAA32B857}"/>
          </ac:spMkLst>
        </pc:spChg>
        <pc:spChg chg="add mod">
          <ac:chgData name="Lamb, Ben" userId="88a6f5f3-f9e5-47eb-a109-670a0c68440d" providerId="ADAL" clId="{61283625-AFAA-A843-B4D4-BB41EDC646A4}" dt="2021-03-31T19:30:44.803" v="11085" actId="1076"/>
          <ac:spMkLst>
            <pc:docMk/>
            <pc:sldMk cId="1997701517" sldId="1722"/>
            <ac:spMk id="42" creationId="{E8FB0E9D-0207-FE44-921D-3A04E3ACE183}"/>
          </ac:spMkLst>
        </pc:spChg>
        <pc:spChg chg="add mod">
          <ac:chgData name="Lamb, Ben" userId="88a6f5f3-f9e5-47eb-a109-670a0c68440d" providerId="ADAL" clId="{61283625-AFAA-A843-B4D4-BB41EDC646A4}" dt="2021-03-31T19:30:44.803" v="11085" actId="1076"/>
          <ac:spMkLst>
            <pc:docMk/>
            <pc:sldMk cId="1997701517" sldId="1722"/>
            <ac:spMk id="43" creationId="{1B7DB2FC-A67C-5443-992C-979AF20593A8}"/>
          </ac:spMkLst>
        </pc:spChg>
        <pc:spChg chg="add del mod">
          <ac:chgData name="Lamb, Ben" userId="88a6f5f3-f9e5-47eb-a109-670a0c68440d" providerId="ADAL" clId="{61283625-AFAA-A843-B4D4-BB41EDC646A4}" dt="2021-03-31T20:06:52.990" v="11650" actId="478"/>
          <ac:spMkLst>
            <pc:docMk/>
            <pc:sldMk cId="1997701517" sldId="1722"/>
            <ac:spMk id="45" creationId="{89F1DCA4-7599-964F-8FD3-7C1A7BA5C1BD}"/>
          </ac:spMkLst>
        </pc:spChg>
        <pc:spChg chg="mod">
          <ac:chgData name="Lamb, Ben" userId="88a6f5f3-f9e5-47eb-a109-670a0c68440d" providerId="ADAL" clId="{61283625-AFAA-A843-B4D4-BB41EDC646A4}" dt="2021-03-31T19:22:15.463" v="11079"/>
          <ac:spMkLst>
            <pc:docMk/>
            <pc:sldMk cId="1997701517" sldId="1722"/>
            <ac:spMk id="49" creationId="{2C5DF9E8-0235-DD40-8628-4B68B69D36EC}"/>
          </ac:spMkLst>
        </pc:spChg>
        <pc:spChg chg="del mod">
          <ac:chgData name="Lamb, Ben" userId="88a6f5f3-f9e5-47eb-a109-670a0c68440d" providerId="ADAL" clId="{61283625-AFAA-A843-B4D4-BB41EDC646A4}" dt="2021-03-31T19:22:14.995" v="11078" actId="478"/>
          <ac:spMkLst>
            <pc:docMk/>
            <pc:sldMk cId="1997701517" sldId="1722"/>
            <ac:spMk id="50" creationId="{12CB3105-F53F-1345-ACDA-7067BE72F885}"/>
          </ac:spMkLst>
        </pc:spChg>
        <pc:spChg chg="mod">
          <ac:chgData name="Lamb, Ben" userId="88a6f5f3-f9e5-47eb-a109-670a0c68440d" providerId="ADAL" clId="{61283625-AFAA-A843-B4D4-BB41EDC646A4}" dt="2021-03-31T19:22:15.463" v="11079"/>
          <ac:spMkLst>
            <pc:docMk/>
            <pc:sldMk cId="1997701517" sldId="1722"/>
            <ac:spMk id="51" creationId="{DFDCF980-74DC-7144-ADFB-3CF6AFCD6C5F}"/>
          </ac:spMkLst>
        </pc:spChg>
        <pc:spChg chg="del">
          <ac:chgData name="Lamb, Ben" userId="88a6f5f3-f9e5-47eb-a109-670a0c68440d" providerId="ADAL" clId="{61283625-AFAA-A843-B4D4-BB41EDC646A4}" dt="2021-03-31T19:22:14.995" v="11078" actId="478"/>
          <ac:spMkLst>
            <pc:docMk/>
            <pc:sldMk cId="1997701517" sldId="1722"/>
            <ac:spMk id="52" creationId="{E3292D97-B7C3-B74A-BF07-CFBC3BCE4F86}"/>
          </ac:spMkLst>
        </pc:spChg>
        <pc:spChg chg="mod">
          <ac:chgData name="Lamb, Ben" userId="88a6f5f3-f9e5-47eb-a109-670a0c68440d" providerId="ADAL" clId="{61283625-AFAA-A843-B4D4-BB41EDC646A4}" dt="2021-03-31T19:22:15.463" v="11079"/>
          <ac:spMkLst>
            <pc:docMk/>
            <pc:sldMk cId="1997701517" sldId="1722"/>
            <ac:spMk id="55" creationId="{D54FEAF5-7187-FF4B-9E16-FE440C3656F0}"/>
          </ac:spMkLst>
        </pc:spChg>
        <pc:spChg chg="del">
          <ac:chgData name="Lamb, Ben" userId="88a6f5f3-f9e5-47eb-a109-670a0c68440d" providerId="ADAL" clId="{61283625-AFAA-A843-B4D4-BB41EDC646A4}" dt="2021-03-31T19:22:14.995" v="11078" actId="478"/>
          <ac:spMkLst>
            <pc:docMk/>
            <pc:sldMk cId="1997701517" sldId="1722"/>
            <ac:spMk id="56" creationId="{1D9800CE-6689-684D-B383-300603FDD5F6}"/>
          </ac:spMkLst>
        </pc:spChg>
        <pc:spChg chg="mod">
          <ac:chgData name="Lamb, Ben" userId="88a6f5f3-f9e5-47eb-a109-670a0c68440d" providerId="ADAL" clId="{61283625-AFAA-A843-B4D4-BB41EDC646A4}" dt="2021-03-31T19:22:15.463" v="11079"/>
          <ac:spMkLst>
            <pc:docMk/>
            <pc:sldMk cId="1997701517" sldId="1722"/>
            <ac:spMk id="57" creationId="{83CED75F-2381-E24D-AE85-06D4442D0D5E}"/>
          </ac:spMkLst>
        </pc:spChg>
        <pc:spChg chg="mod">
          <ac:chgData name="Lamb, Ben" userId="88a6f5f3-f9e5-47eb-a109-670a0c68440d" providerId="ADAL" clId="{61283625-AFAA-A843-B4D4-BB41EDC646A4}" dt="2021-03-31T19:23:04.231" v="11082" actId="20577"/>
          <ac:spMkLst>
            <pc:docMk/>
            <pc:sldMk cId="1997701517" sldId="1722"/>
            <ac:spMk id="59" creationId="{75DAEA0A-19CE-BC45-890C-755D8C94A926}"/>
          </ac:spMkLst>
        </pc:spChg>
        <pc:spChg chg="mod">
          <ac:chgData name="Lamb, Ben" userId="88a6f5f3-f9e5-47eb-a109-670a0c68440d" providerId="ADAL" clId="{61283625-AFAA-A843-B4D4-BB41EDC646A4}" dt="2021-03-31T19:22:15.463" v="11079"/>
          <ac:spMkLst>
            <pc:docMk/>
            <pc:sldMk cId="1997701517" sldId="1722"/>
            <ac:spMk id="60" creationId="{AFF67307-9D25-A648-A6AE-F4AC6B54EFE9}"/>
          </ac:spMkLst>
        </pc:spChg>
        <pc:spChg chg="mod">
          <ac:chgData name="Lamb, Ben" userId="88a6f5f3-f9e5-47eb-a109-670a0c68440d" providerId="ADAL" clId="{61283625-AFAA-A843-B4D4-BB41EDC646A4}" dt="2021-03-31T19:22:15.463" v="11079"/>
          <ac:spMkLst>
            <pc:docMk/>
            <pc:sldMk cId="1997701517" sldId="1722"/>
            <ac:spMk id="62" creationId="{03119B0F-B2AA-1249-B949-F745D43202C6}"/>
          </ac:spMkLst>
        </pc:spChg>
        <pc:spChg chg="mod">
          <ac:chgData name="Lamb, Ben" userId="88a6f5f3-f9e5-47eb-a109-670a0c68440d" providerId="ADAL" clId="{61283625-AFAA-A843-B4D4-BB41EDC646A4}" dt="2021-03-31T19:22:15.463" v="11079"/>
          <ac:spMkLst>
            <pc:docMk/>
            <pc:sldMk cId="1997701517" sldId="1722"/>
            <ac:spMk id="63" creationId="{0C49699B-84E3-DB44-926C-D25F59305FA2}"/>
          </ac:spMkLst>
        </pc:spChg>
        <pc:spChg chg="del">
          <ac:chgData name="Lamb, Ben" userId="88a6f5f3-f9e5-47eb-a109-670a0c68440d" providerId="ADAL" clId="{61283625-AFAA-A843-B4D4-BB41EDC646A4}" dt="2021-03-31T19:22:14.995" v="11078" actId="478"/>
          <ac:spMkLst>
            <pc:docMk/>
            <pc:sldMk cId="1997701517" sldId="1722"/>
            <ac:spMk id="65" creationId="{06A96661-BF92-1A4C-830C-E39FDA40C924}"/>
          </ac:spMkLst>
        </pc:spChg>
        <pc:spChg chg="del">
          <ac:chgData name="Lamb, Ben" userId="88a6f5f3-f9e5-47eb-a109-670a0c68440d" providerId="ADAL" clId="{61283625-AFAA-A843-B4D4-BB41EDC646A4}" dt="2021-03-31T19:22:14.995" v="11078" actId="478"/>
          <ac:spMkLst>
            <pc:docMk/>
            <pc:sldMk cId="1997701517" sldId="1722"/>
            <ac:spMk id="66" creationId="{459AC22F-F663-3A4D-B1C5-BD6D77477AF3}"/>
          </ac:spMkLst>
        </pc:spChg>
        <pc:spChg chg="mod">
          <ac:chgData name="Lamb, Ben" userId="88a6f5f3-f9e5-47eb-a109-670a0c68440d" providerId="ADAL" clId="{61283625-AFAA-A843-B4D4-BB41EDC646A4}" dt="2021-03-31T19:22:15.463" v="11079"/>
          <ac:spMkLst>
            <pc:docMk/>
            <pc:sldMk cId="1997701517" sldId="1722"/>
            <ac:spMk id="68" creationId="{ADE6998C-5CF8-4A4F-BB2E-737B204DE5A4}"/>
          </ac:spMkLst>
        </pc:spChg>
        <pc:spChg chg="mod">
          <ac:chgData name="Lamb, Ben" userId="88a6f5f3-f9e5-47eb-a109-670a0c68440d" providerId="ADAL" clId="{61283625-AFAA-A843-B4D4-BB41EDC646A4}" dt="2021-03-31T19:22:15.463" v="11079"/>
          <ac:spMkLst>
            <pc:docMk/>
            <pc:sldMk cId="1997701517" sldId="1722"/>
            <ac:spMk id="69" creationId="{8AA5858D-DD07-4948-963A-4D0AEFAEABFC}"/>
          </ac:spMkLst>
        </pc:spChg>
        <pc:spChg chg="add mod">
          <ac:chgData name="Lamb, Ben" userId="88a6f5f3-f9e5-47eb-a109-670a0c68440d" providerId="ADAL" clId="{61283625-AFAA-A843-B4D4-BB41EDC646A4}" dt="2021-03-31T19:30:44.803" v="11085" actId="1076"/>
          <ac:spMkLst>
            <pc:docMk/>
            <pc:sldMk cId="1997701517" sldId="1722"/>
            <ac:spMk id="70" creationId="{817AFAAA-10F6-354F-AB20-6EB36CAC2D98}"/>
          </ac:spMkLst>
        </pc:spChg>
        <pc:spChg chg="add mod">
          <ac:chgData name="Lamb, Ben" userId="88a6f5f3-f9e5-47eb-a109-670a0c68440d" providerId="ADAL" clId="{61283625-AFAA-A843-B4D4-BB41EDC646A4}" dt="2021-03-31T19:30:44.803" v="11085" actId="1076"/>
          <ac:spMkLst>
            <pc:docMk/>
            <pc:sldMk cId="1997701517" sldId="1722"/>
            <ac:spMk id="71" creationId="{A4C76D2D-8209-E14E-B2B9-1BD4DDF80162}"/>
          </ac:spMkLst>
        </pc:spChg>
        <pc:spChg chg="mod">
          <ac:chgData name="Lamb, Ben" userId="88a6f5f3-f9e5-47eb-a109-670a0c68440d" providerId="ADAL" clId="{61283625-AFAA-A843-B4D4-BB41EDC646A4}" dt="2021-03-31T19:22:15.463" v="11079"/>
          <ac:spMkLst>
            <pc:docMk/>
            <pc:sldMk cId="1997701517" sldId="1722"/>
            <ac:spMk id="74" creationId="{4C7B8478-D04B-4748-9D67-4E12DD9BC309}"/>
          </ac:spMkLst>
        </pc:spChg>
        <pc:spChg chg="mod">
          <ac:chgData name="Lamb, Ben" userId="88a6f5f3-f9e5-47eb-a109-670a0c68440d" providerId="ADAL" clId="{61283625-AFAA-A843-B4D4-BB41EDC646A4}" dt="2021-03-31T19:22:15.463" v="11079"/>
          <ac:spMkLst>
            <pc:docMk/>
            <pc:sldMk cId="1997701517" sldId="1722"/>
            <ac:spMk id="75" creationId="{C27E276C-6C15-3040-B11A-BEA631973DEC}"/>
          </ac:spMkLst>
        </pc:spChg>
        <pc:spChg chg="del">
          <ac:chgData name="Lamb, Ben" userId="88a6f5f3-f9e5-47eb-a109-670a0c68440d" providerId="ADAL" clId="{61283625-AFAA-A843-B4D4-BB41EDC646A4}" dt="2021-03-31T19:22:14.995" v="11078" actId="478"/>
          <ac:spMkLst>
            <pc:docMk/>
            <pc:sldMk cId="1997701517" sldId="1722"/>
            <ac:spMk id="76" creationId="{C829B452-DD71-0743-8424-AEE68FC1FC04}"/>
          </ac:spMkLst>
        </pc:spChg>
        <pc:spChg chg="mod">
          <ac:chgData name="Lamb, Ben" userId="88a6f5f3-f9e5-47eb-a109-670a0c68440d" providerId="ADAL" clId="{61283625-AFAA-A843-B4D4-BB41EDC646A4}" dt="2021-03-31T19:22:15.463" v="11079"/>
          <ac:spMkLst>
            <pc:docMk/>
            <pc:sldMk cId="1997701517" sldId="1722"/>
            <ac:spMk id="77" creationId="{9A36BC43-EBE2-F945-95F2-E80056F88371}"/>
          </ac:spMkLst>
        </pc:spChg>
        <pc:spChg chg="del">
          <ac:chgData name="Lamb, Ben" userId="88a6f5f3-f9e5-47eb-a109-670a0c68440d" providerId="ADAL" clId="{61283625-AFAA-A843-B4D4-BB41EDC646A4}" dt="2021-03-31T19:22:14.995" v="11078" actId="478"/>
          <ac:spMkLst>
            <pc:docMk/>
            <pc:sldMk cId="1997701517" sldId="1722"/>
            <ac:spMk id="78" creationId="{1D1E8930-8861-0540-9F3C-60C75B90ED9A}"/>
          </ac:spMkLst>
        </pc:spChg>
        <pc:spChg chg="mod">
          <ac:chgData name="Lamb, Ben" userId="88a6f5f3-f9e5-47eb-a109-670a0c68440d" providerId="ADAL" clId="{61283625-AFAA-A843-B4D4-BB41EDC646A4}" dt="2021-03-31T19:22:15.463" v="11079"/>
          <ac:spMkLst>
            <pc:docMk/>
            <pc:sldMk cId="1997701517" sldId="1722"/>
            <ac:spMk id="79" creationId="{FFBB27A2-AD13-FF45-9ADC-9CA42D67517A}"/>
          </ac:spMkLst>
        </pc:spChg>
        <pc:spChg chg="mod">
          <ac:chgData name="Lamb, Ben" userId="88a6f5f3-f9e5-47eb-a109-670a0c68440d" providerId="ADAL" clId="{61283625-AFAA-A843-B4D4-BB41EDC646A4}" dt="2021-03-31T19:22:15.463" v="11079"/>
          <ac:spMkLst>
            <pc:docMk/>
            <pc:sldMk cId="1997701517" sldId="1722"/>
            <ac:spMk id="80" creationId="{86A4771C-F0A9-104A-9CCC-0965867CFFA9}"/>
          </ac:spMkLst>
        </pc:spChg>
        <pc:spChg chg="mod">
          <ac:chgData name="Lamb, Ben" userId="88a6f5f3-f9e5-47eb-a109-670a0c68440d" providerId="ADAL" clId="{61283625-AFAA-A843-B4D4-BB41EDC646A4}" dt="2021-03-31T19:22:15.463" v="11079"/>
          <ac:spMkLst>
            <pc:docMk/>
            <pc:sldMk cId="1997701517" sldId="1722"/>
            <ac:spMk id="81" creationId="{14E023AE-2777-9A4F-B809-25DFA45DDE65}"/>
          </ac:spMkLst>
        </pc:spChg>
        <pc:spChg chg="mod">
          <ac:chgData name="Lamb, Ben" userId="88a6f5f3-f9e5-47eb-a109-670a0c68440d" providerId="ADAL" clId="{61283625-AFAA-A843-B4D4-BB41EDC646A4}" dt="2021-03-31T19:22:15.463" v="11079"/>
          <ac:spMkLst>
            <pc:docMk/>
            <pc:sldMk cId="1997701517" sldId="1722"/>
            <ac:spMk id="84" creationId="{377F2A71-38E0-634A-B8DB-82573015580F}"/>
          </ac:spMkLst>
        </pc:spChg>
        <pc:spChg chg="mod">
          <ac:chgData name="Lamb, Ben" userId="88a6f5f3-f9e5-47eb-a109-670a0c68440d" providerId="ADAL" clId="{61283625-AFAA-A843-B4D4-BB41EDC646A4}" dt="2021-03-31T19:22:15.463" v="11079"/>
          <ac:spMkLst>
            <pc:docMk/>
            <pc:sldMk cId="1997701517" sldId="1722"/>
            <ac:spMk id="85" creationId="{04EE4410-074D-AF48-B381-09C2AE1D1692}"/>
          </ac:spMkLst>
        </pc:spChg>
        <pc:spChg chg="del">
          <ac:chgData name="Lamb, Ben" userId="88a6f5f3-f9e5-47eb-a109-670a0c68440d" providerId="ADAL" clId="{61283625-AFAA-A843-B4D4-BB41EDC646A4}" dt="2021-03-31T19:22:14.995" v="11078" actId="478"/>
          <ac:spMkLst>
            <pc:docMk/>
            <pc:sldMk cId="1997701517" sldId="1722"/>
            <ac:spMk id="87" creationId="{E731D998-BE30-6048-BE3F-D45E8FDC80D4}"/>
          </ac:spMkLst>
        </pc:spChg>
        <pc:spChg chg="del">
          <ac:chgData name="Lamb, Ben" userId="88a6f5f3-f9e5-47eb-a109-670a0c68440d" providerId="ADAL" clId="{61283625-AFAA-A843-B4D4-BB41EDC646A4}" dt="2021-03-31T19:22:14.995" v="11078" actId="478"/>
          <ac:spMkLst>
            <pc:docMk/>
            <pc:sldMk cId="1997701517" sldId="1722"/>
            <ac:spMk id="88" creationId="{7FBA2406-B2BC-514E-B769-DB8D44655DA3}"/>
          </ac:spMkLst>
        </pc:spChg>
        <pc:spChg chg="del">
          <ac:chgData name="Lamb, Ben" userId="88a6f5f3-f9e5-47eb-a109-670a0c68440d" providerId="ADAL" clId="{61283625-AFAA-A843-B4D4-BB41EDC646A4}" dt="2021-03-31T19:22:14.995" v="11078" actId="478"/>
          <ac:spMkLst>
            <pc:docMk/>
            <pc:sldMk cId="1997701517" sldId="1722"/>
            <ac:spMk id="89" creationId="{24650D94-6052-F340-A39C-42FAD72C91D7}"/>
          </ac:spMkLst>
        </pc:spChg>
        <pc:spChg chg="del">
          <ac:chgData name="Lamb, Ben" userId="88a6f5f3-f9e5-47eb-a109-670a0c68440d" providerId="ADAL" clId="{61283625-AFAA-A843-B4D4-BB41EDC646A4}" dt="2021-03-31T19:22:14.995" v="11078" actId="478"/>
          <ac:spMkLst>
            <pc:docMk/>
            <pc:sldMk cId="1997701517" sldId="1722"/>
            <ac:spMk id="93" creationId="{AB9D4F6D-C36F-E64A-B8A1-DCA88082AA53}"/>
          </ac:spMkLst>
        </pc:spChg>
        <pc:spChg chg="mod">
          <ac:chgData name="Lamb, Ben" userId="88a6f5f3-f9e5-47eb-a109-670a0c68440d" providerId="ADAL" clId="{61283625-AFAA-A843-B4D4-BB41EDC646A4}" dt="2021-03-31T19:22:15.463" v="11079"/>
          <ac:spMkLst>
            <pc:docMk/>
            <pc:sldMk cId="1997701517" sldId="1722"/>
            <ac:spMk id="94" creationId="{E414EB29-B09D-2844-AABB-424BCB9BDDE1}"/>
          </ac:spMkLst>
        </pc:spChg>
        <pc:spChg chg="mod">
          <ac:chgData name="Lamb, Ben" userId="88a6f5f3-f9e5-47eb-a109-670a0c68440d" providerId="ADAL" clId="{61283625-AFAA-A843-B4D4-BB41EDC646A4}" dt="2021-03-31T19:22:15.463" v="11079"/>
          <ac:spMkLst>
            <pc:docMk/>
            <pc:sldMk cId="1997701517" sldId="1722"/>
            <ac:spMk id="95" creationId="{F55B7A65-0845-E04C-BC83-8BB61C0F7B8D}"/>
          </ac:spMkLst>
        </pc:spChg>
        <pc:spChg chg="mod">
          <ac:chgData name="Lamb, Ben" userId="88a6f5f3-f9e5-47eb-a109-670a0c68440d" providerId="ADAL" clId="{61283625-AFAA-A843-B4D4-BB41EDC646A4}" dt="2021-03-31T19:22:15.463" v="11079"/>
          <ac:spMkLst>
            <pc:docMk/>
            <pc:sldMk cId="1997701517" sldId="1722"/>
            <ac:spMk id="96" creationId="{E13D9480-F45F-AA4F-AD09-960038581A12}"/>
          </ac:spMkLst>
        </pc:spChg>
        <pc:spChg chg="mod">
          <ac:chgData name="Lamb, Ben" userId="88a6f5f3-f9e5-47eb-a109-670a0c68440d" providerId="ADAL" clId="{61283625-AFAA-A843-B4D4-BB41EDC646A4}" dt="2021-03-31T19:22:15.463" v="11079"/>
          <ac:spMkLst>
            <pc:docMk/>
            <pc:sldMk cId="1997701517" sldId="1722"/>
            <ac:spMk id="99" creationId="{15E76E8C-9CEF-FC4F-B9CC-A5774F6E53CE}"/>
          </ac:spMkLst>
        </pc:spChg>
        <pc:spChg chg="mod">
          <ac:chgData name="Lamb, Ben" userId="88a6f5f3-f9e5-47eb-a109-670a0c68440d" providerId="ADAL" clId="{61283625-AFAA-A843-B4D4-BB41EDC646A4}" dt="2021-03-31T19:22:15.463" v="11079"/>
          <ac:spMkLst>
            <pc:docMk/>
            <pc:sldMk cId="1997701517" sldId="1722"/>
            <ac:spMk id="100" creationId="{B3D9A4F8-2DA5-0B44-B256-64433BDF652D}"/>
          </ac:spMkLst>
        </pc:spChg>
        <pc:spChg chg="mod">
          <ac:chgData name="Lamb, Ben" userId="88a6f5f3-f9e5-47eb-a109-670a0c68440d" providerId="ADAL" clId="{61283625-AFAA-A843-B4D4-BB41EDC646A4}" dt="2021-03-31T19:22:15.463" v="11079"/>
          <ac:spMkLst>
            <pc:docMk/>
            <pc:sldMk cId="1997701517" sldId="1722"/>
            <ac:spMk id="102" creationId="{54D88537-16DB-B14A-8B7B-8485FA321976}"/>
          </ac:spMkLst>
        </pc:spChg>
        <pc:spChg chg="mod">
          <ac:chgData name="Lamb, Ben" userId="88a6f5f3-f9e5-47eb-a109-670a0c68440d" providerId="ADAL" clId="{61283625-AFAA-A843-B4D4-BB41EDC646A4}" dt="2021-03-31T19:22:15.463" v="11079"/>
          <ac:spMkLst>
            <pc:docMk/>
            <pc:sldMk cId="1997701517" sldId="1722"/>
            <ac:spMk id="104" creationId="{96CA0108-2348-EF49-8BEB-2E83B08B4CA8}"/>
          </ac:spMkLst>
        </pc:spChg>
        <pc:spChg chg="mod">
          <ac:chgData name="Lamb, Ben" userId="88a6f5f3-f9e5-47eb-a109-670a0c68440d" providerId="ADAL" clId="{61283625-AFAA-A843-B4D4-BB41EDC646A4}" dt="2021-03-31T19:22:15.463" v="11079"/>
          <ac:spMkLst>
            <pc:docMk/>
            <pc:sldMk cId="1997701517" sldId="1722"/>
            <ac:spMk id="105" creationId="{69EA8DB5-A894-BC41-9173-8C44F57CBD1B}"/>
          </ac:spMkLst>
        </pc:spChg>
        <pc:spChg chg="mod">
          <ac:chgData name="Lamb, Ben" userId="88a6f5f3-f9e5-47eb-a109-670a0c68440d" providerId="ADAL" clId="{61283625-AFAA-A843-B4D4-BB41EDC646A4}" dt="2021-03-31T19:22:15.463" v="11079"/>
          <ac:spMkLst>
            <pc:docMk/>
            <pc:sldMk cId="1997701517" sldId="1722"/>
            <ac:spMk id="108" creationId="{EF517235-89FF-8549-B158-E35EAD93DB18}"/>
          </ac:spMkLst>
        </pc:spChg>
        <pc:spChg chg="del">
          <ac:chgData name="Lamb, Ben" userId="88a6f5f3-f9e5-47eb-a109-670a0c68440d" providerId="ADAL" clId="{61283625-AFAA-A843-B4D4-BB41EDC646A4}" dt="2021-03-31T19:22:14.995" v="11078" actId="478"/>
          <ac:spMkLst>
            <pc:docMk/>
            <pc:sldMk cId="1997701517" sldId="1722"/>
            <ac:spMk id="109" creationId="{78EA0D09-D310-4D42-A71E-87304FA5CCB9}"/>
          </ac:spMkLst>
        </pc:spChg>
        <pc:spChg chg="mod">
          <ac:chgData name="Lamb, Ben" userId="88a6f5f3-f9e5-47eb-a109-670a0c68440d" providerId="ADAL" clId="{61283625-AFAA-A843-B4D4-BB41EDC646A4}" dt="2021-03-31T19:22:15.463" v="11079"/>
          <ac:spMkLst>
            <pc:docMk/>
            <pc:sldMk cId="1997701517" sldId="1722"/>
            <ac:spMk id="110" creationId="{E0CCF3EA-02CF-254C-8D75-9936B8AA9B8E}"/>
          </ac:spMkLst>
        </pc:spChg>
        <pc:spChg chg="mod">
          <ac:chgData name="Lamb, Ben" userId="88a6f5f3-f9e5-47eb-a109-670a0c68440d" providerId="ADAL" clId="{61283625-AFAA-A843-B4D4-BB41EDC646A4}" dt="2021-03-31T19:22:15.463" v="11079"/>
          <ac:spMkLst>
            <pc:docMk/>
            <pc:sldMk cId="1997701517" sldId="1722"/>
            <ac:spMk id="112" creationId="{11F829C8-FCFC-EE4A-B674-4559543294E9}"/>
          </ac:spMkLst>
        </pc:spChg>
        <pc:spChg chg="mod">
          <ac:chgData name="Lamb, Ben" userId="88a6f5f3-f9e5-47eb-a109-670a0c68440d" providerId="ADAL" clId="{61283625-AFAA-A843-B4D4-BB41EDC646A4}" dt="2021-03-31T19:22:15.463" v="11079"/>
          <ac:spMkLst>
            <pc:docMk/>
            <pc:sldMk cId="1997701517" sldId="1722"/>
            <ac:spMk id="113" creationId="{530694C3-8D37-1541-AA32-948F88D6FF14}"/>
          </ac:spMkLst>
        </pc:spChg>
        <pc:spChg chg="mod">
          <ac:chgData name="Lamb, Ben" userId="88a6f5f3-f9e5-47eb-a109-670a0c68440d" providerId="ADAL" clId="{61283625-AFAA-A843-B4D4-BB41EDC646A4}" dt="2021-03-31T19:22:15.463" v="11079"/>
          <ac:spMkLst>
            <pc:docMk/>
            <pc:sldMk cId="1997701517" sldId="1722"/>
            <ac:spMk id="114" creationId="{3CF326F0-9932-2E44-AB75-48FC3B410887}"/>
          </ac:spMkLst>
        </pc:spChg>
        <pc:spChg chg="mod">
          <ac:chgData name="Lamb, Ben" userId="88a6f5f3-f9e5-47eb-a109-670a0c68440d" providerId="ADAL" clId="{61283625-AFAA-A843-B4D4-BB41EDC646A4}" dt="2021-03-31T19:22:15.463" v="11079"/>
          <ac:spMkLst>
            <pc:docMk/>
            <pc:sldMk cId="1997701517" sldId="1722"/>
            <ac:spMk id="115" creationId="{9D4E888B-6621-4D45-BAC0-C848A28BE5BD}"/>
          </ac:spMkLst>
        </pc:spChg>
        <pc:spChg chg="mod">
          <ac:chgData name="Lamb, Ben" userId="88a6f5f3-f9e5-47eb-a109-670a0c68440d" providerId="ADAL" clId="{61283625-AFAA-A843-B4D4-BB41EDC646A4}" dt="2021-03-31T19:22:15.463" v="11079"/>
          <ac:spMkLst>
            <pc:docMk/>
            <pc:sldMk cId="1997701517" sldId="1722"/>
            <ac:spMk id="116" creationId="{1648CE5C-7737-0040-9F51-192557E5D232}"/>
          </ac:spMkLst>
        </pc:spChg>
        <pc:spChg chg="del">
          <ac:chgData name="Lamb, Ben" userId="88a6f5f3-f9e5-47eb-a109-670a0c68440d" providerId="ADAL" clId="{61283625-AFAA-A843-B4D4-BB41EDC646A4}" dt="2021-03-31T19:22:14.995" v="11078" actId="478"/>
          <ac:spMkLst>
            <pc:docMk/>
            <pc:sldMk cId="1997701517" sldId="1722"/>
            <ac:spMk id="118" creationId="{9BA18230-CFA4-8E40-A02A-62FD29108EE1}"/>
          </ac:spMkLst>
        </pc:spChg>
        <pc:spChg chg="del">
          <ac:chgData name="Lamb, Ben" userId="88a6f5f3-f9e5-47eb-a109-670a0c68440d" providerId="ADAL" clId="{61283625-AFAA-A843-B4D4-BB41EDC646A4}" dt="2021-03-31T19:22:14.995" v="11078" actId="478"/>
          <ac:spMkLst>
            <pc:docMk/>
            <pc:sldMk cId="1997701517" sldId="1722"/>
            <ac:spMk id="119" creationId="{A5E5C903-2D36-BA4D-8681-5FF8C059ECD1}"/>
          </ac:spMkLst>
        </pc:spChg>
        <pc:spChg chg="mod">
          <ac:chgData name="Lamb, Ben" userId="88a6f5f3-f9e5-47eb-a109-670a0c68440d" providerId="ADAL" clId="{61283625-AFAA-A843-B4D4-BB41EDC646A4}" dt="2021-03-31T19:22:15.463" v="11079"/>
          <ac:spMkLst>
            <pc:docMk/>
            <pc:sldMk cId="1997701517" sldId="1722"/>
            <ac:spMk id="121" creationId="{A5018F98-EAA2-F949-B0BD-E39657F71A13}"/>
          </ac:spMkLst>
        </pc:spChg>
        <pc:spChg chg="mod">
          <ac:chgData name="Lamb, Ben" userId="88a6f5f3-f9e5-47eb-a109-670a0c68440d" providerId="ADAL" clId="{61283625-AFAA-A843-B4D4-BB41EDC646A4}" dt="2021-03-31T19:22:15.463" v="11079"/>
          <ac:spMkLst>
            <pc:docMk/>
            <pc:sldMk cId="1997701517" sldId="1722"/>
            <ac:spMk id="122" creationId="{D1CD4671-6C12-E54B-A910-DD2A57542C45}"/>
          </ac:spMkLst>
        </pc:spChg>
        <pc:spChg chg="mod">
          <ac:chgData name="Lamb, Ben" userId="88a6f5f3-f9e5-47eb-a109-670a0c68440d" providerId="ADAL" clId="{61283625-AFAA-A843-B4D4-BB41EDC646A4}" dt="2021-03-31T19:22:15.463" v="11079"/>
          <ac:spMkLst>
            <pc:docMk/>
            <pc:sldMk cId="1997701517" sldId="1722"/>
            <ac:spMk id="123" creationId="{1D56534F-89ED-1B42-A89A-9862592A926E}"/>
          </ac:spMkLst>
        </pc:spChg>
        <pc:spChg chg="mod">
          <ac:chgData name="Lamb, Ben" userId="88a6f5f3-f9e5-47eb-a109-670a0c68440d" providerId="ADAL" clId="{61283625-AFAA-A843-B4D4-BB41EDC646A4}" dt="2021-03-31T19:22:15.463" v="11079"/>
          <ac:spMkLst>
            <pc:docMk/>
            <pc:sldMk cId="1997701517" sldId="1722"/>
            <ac:spMk id="125" creationId="{992AEFE8-C6EE-5242-9369-55F102A1F629}"/>
          </ac:spMkLst>
        </pc:spChg>
        <pc:spChg chg="mod">
          <ac:chgData name="Lamb, Ben" userId="88a6f5f3-f9e5-47eb-a109-670a0c68440d" providerId="ADAL" clId="{61283625-AFAA-A843-B4D4-BB41EDC646A4}" dt="2021-03-31T19:22:15.463" v="11079"/>
          <ac:spMkLst>
            <pc:docMk/>
            <pc:sldMk cId="1997701517" sldId="1722"/>
            <ac:spMk id="126" creationId="{1F941178-CBA1-B54A-AB00-335253253BA6}"/>
          </ac:spMkLst>
        </pc:spChg>
        <pc:spChg chg="mod">
          <ac:chgData name="Lamb, Ben" userId="88a6f5f3-f9e5-47eb-a109-670a0c68440d" providerId="ADAL" clId="{61283625-AFAA-A843-B4D4-BB41EDC646A4}" dt="2021-03-31T19:22:15.463" v="11079"/>
          <ac:spMkLst>
            <pc:docMk/>
            <pc:sldMk cId="1997701517" sldId="1722"/>
            <ac:spMk id="128" creationId="{E4091D11-B56A-EF45-874E-9F106AAAD3D5}"/>
          </ac:spMkLst>
        </pc:spChg>
        <pc:spChg chg="mod">
          <ac:chgData name="Lamb, Ben" userId="88a6f5f3-f9e5-47eb-a109-670a0c68440d" providerId="ADAL" clId="{61283625-AFAA-A843-B4D4-BB41EDC646A4}" dt="2021-03-31T19:22:15.463" v="11079"/>
          <ac:spMkLst>
            <pc:docMk/>
            <pc:sldMk cId="1997701517" sldId="1722"/>
            <ac:spMk id="129" creationId="{3EBF5F22-999A-5241-A225-A12658979738}"/>
          </ac:spMkLst>
        </pc:spChg>
        <pc:spChg chg="mod">
          <ac:chgData name="Lamb, Ben" userId="88a6f5f3-f9e5-47eb-a109-670a0c68440d" providerId="ADAL" clId="{61283625-AFAA-A843-B4D4-BB41EDC646A4}" dt="2021-03-31T19:22:15.463" v="11079"/>
          <ac:spMkLst>
            <pc:docMk/>
            <pc:sldMk cId="1997701517" sldId="1722"/>
            <ac:spMk id="132" creationId="{A0833A06-47F7-DE4A-A8CC-86BCC5983302}"/>
          </ac:spMkLst>
        </pc:spChg>
        <pc:spChg chg="mod">
          <ac:chgData name="Lamb, Ben" userId="88a6f5f3-f9e5-47eb-a109-670a0c68440d" providerId="ADAL" clId="{61283625-AFAA-A843-B4D4-BB41EDC646A4}" dt="2021-03-31T19:22:15.463" v="11079"/>
          <ac:spMkLst>
            <pc:docMk/>
            <pc:sldMk cId="1997701517" sldId="1722"/>
            <ac:spMk id="133" creationId="{8631BF9E-86B7-6446-BF7F-9BA78A4E4720}"/>
          </ac:spMkLst>
        </pc:spChg>
        <pc:spChg chg="mod">
          <ac:chgData name="Lamb, Ben" userId="88a6f5f3-f9e5-47eb-a109-670a0c68440d" providerId="ADAL" clId="{61283625-AFAA-A843-B4D4-BB41EDC646A4}" dt="2021-03-31T19:22:15.463" v="11079"/>
          <ac:spMkLst>
            <pc:docMk/>
            <pc:sldMk cId="1997701517" sldId="1722"/>
            <ac:spMk id="134" creationId="{629EB143-703B-2248-AD4D-A0AC497C5E99}"/>
          </ac:spMkLst>
        </pc:spChg>
        <pc:spChg chg="mod">
          <ac:chgData name="Lamb, Ben" userId="88a6f5f3-f9e5-47eb-a109-670a0c68440d" providerId="ADAL" clId="{61283625-AFAA-A843-B4D4-BB41EDC646A4}" dt="2021-03-31T19:22:15.463" v="11079"/>
          <ac:spMkLst>
            <pc:docMk/>
            <pc:sldMk cId="1997701517" sldId="1722"/>
            <ac:spMk id="135" creationId="{B6107AF6-DFC3-9B4A-BF22-626094E5E4C2}"/>
          </ac:spMkLst>
        </pc:spChg>
        <pc:spChg chg="mod">
          <ac:chgData name="Lamb, Ben" userId="88a6f5f3-f9e5-47eb-a109-670a0c68440d" providerId="ADAL" clId="{61283625-AFAA-A843-B4D4-BB41EDC646A4}" dt="2021-03-31T19:22:15.463" v="11079"/>
          <ac:spMkLst>
            <pc:docMk/>
            <pc:sldMk cId="1997701517" sldId="1722"/>
            <ac:spMk id="136" creationId="{0CA1614E-773E-8942-8F0F-ED8E98BD197D}"/>
          </ac:spMkLst>
        </pc:spChg>
        <pc:spChg chg="mod">
          <ac:chgData name="Lamb, Ben" userId="88a6f5f3-f9e5-47eb-a109-670a0c68440d" providerId="ADAL" clId="{61283625-AFAA-A843-B4D4-BB41EDC646A4}" dt="2021-03-31T19:22:15.463" v="11079"/>
          <ac:spMkLst>
            <pc:docMk/>
            <pc:sldMk cId="1997701517" sldId="1722"/>
            <ac:spMk id="137" creationId="{D7C3A6E4-98F2-2A44-8D85-046D2C9E14AE}"/>
          </ac:spMkLst>
        </pc:spChg>
        <pc:spChg chg="mod">
          <ac:chgData name="Lamb, Ben" userId="88a6f5f3-f9e5-47eb-a109-670a0c68440d" providerId="ADAL" clId="{61283625-AFAA-A843-B4D4-BB41EDC646A4}" dt="2021-03-31T19:22:15.463" v="11079"/>
          <ac:spMkLst>
            <pc:docMk/>
            <pc:sldMk cId="1997701517" sldId="1722"/>
            <ac:spMk id="138" creationId="{790D1B7D-1519-6F4B-873E-9B7265805D43}"/>
          </ac:spMkLst>
        </pc:spChg>
        <pc:spChg chg="mod">
          <ac:chgData name="Lamb, Ben" userId="88a6f5f3-f9e5-47eb-a109-670a0c68440d" providerId="ADAL" clId="{61283625-AFAA-A843-B4D4-BB41EDC646A4}" dt="2021-03-31T19:22:15.463" v="11079"/>
          <ac:spMkLst>
            <pc:docMk/>
            <pc:sldMk cId="1997701517" sldId="1722"/>
            <ac:spMk id="139" creationId="{548A30D1-9861-AE4B-B7A8-5E795AFB7D19}"/>
          </ac:spMkLst>
        </pc:spChg>
        <pc:spChg chg="mod">
          <ac:chgData name="Lamb, Ben" userId="88a6f5f3-f9e5-47eb-a109-670a0c68440d" providerId="ADAL" clId="{61283625-AFAA-A843-B4D4-BB41EDC646A4}" dt="2021-03-31T19:22:15.463" v="11079"/>
          <ac:spMkLst>
            <pc:docMk/>
            <pc:sldMk cId="1997701517" sldId="1722"/>
            <ac:spMk id="140" creationId="{950AF691-A825-EB4F-B939-3E8C3F3AF4C6}"/>
          </ac:spMkLst>
        </pc:spChg>
        <pc:spChg chg="mod">
          <ac:chgData name="Lamb, Ben" userId="88a6f5f3-f9e5-47eb-a109-670a0c68440d" providerId="ADAL" clId="{61283625-AFAA-A843-B4D4-BB41EDC646A4}" dt="2021-03-31T19:22:15.463" v="11079"/>
          <ac:spMkLst>
            <pc:docMk/>
            <pc:sldMk cId="1997701517" sldId="1722"/>
            <ac:spMk id="142" creationId="{916DC378-634B-5448-8132-D8A2DEB0007D}"/>
          </ac:spMkLst>
        </pc:spChg>
        <pc:spChg chg="mod">
          <ac:chgData name="Lamb, Ben" userId="88a6f5f3-f9e5-47eb-a109-670a0c68440d" providerId="ADAL" clId="{61283625-AFAA-A843-B4D4-BB41EDC646A4}" dt="2021-03-31T19:22:15.463" v="11079"/>
          <ac:spMkLst>
            <pc:docMk/>
            <pc:sldMk cId="1997701517" sldId="1722"/>
            <ac:spMk id="144" creationId="{9EC35BF1-F6DB-144A-ABED-5C32D34B8DEB}"/>
          </ac:spMkLst>
        </pc:spChg>
        <pc:spChg chg="mod">
          <ac:chgData name="Lamb, Ben" userId="88a6f5f3-f9e5-47eb-a109-670a0c68440d" providerId="ADAL" clId="{61283625-AFAA-A843-B4D4-BB41EDC646A4}" dt="2021-03-31T19:22:15.463" v="11079"/>
          <ac:spMkLst>
            <pc:docMk/>
            <pc:sldMk cId="1997701517" sldId="1722"/>
            <ac:spMk id="145" creationId="{2040F4FF-D3C0-C141-93F3-684A8484DD5A}"/>
          </ac:spMkLst>
        </pc:spChg>
        <pc:spChg chg="mod">
          <ac:chgData name="Lamb, Ben" userId="88a6f5f3-f9e5-47eb-a109-670a0c68440d" providerId="ADAL" clId="{61283625-AFAA-A843-B4D4-BB41EDC646A4}" dt="2021-03-31T19:22:15.463" v="11079"/>
          <ac:spMkLst>
            <pc:docMk/>
            <pc:sldMk cId="1997701517" sldId="1722"/>
            <ac:spMk id="146" creationId="{4F78B287-860C-1841-9EC9-F05DDB30980C}"/>
          </ac:spMkLst>
        </pc:spChg>
        <pc:spChg chg="mod">
          <ac:chgData name="Lamb, Ben" userId="88a6f5f3-f9e5-47eb-a109-670a0c68440d" providerId="ADAL" clId="{61283625-AFAA-A843-B4D4-BB41EDC646A4}" dt="2021-03-31T19:22:15.463" v="11079"/>
          <ac:spMkLst>
            <pc:docMk/>
            <pc:sldMk cId="1997701517" sldId="1722"/>
            <ac:spMk id="147" creationId="{C9F3CCE7-3ECD-F14E-823F-299D146DA793}"/>
          </ac:spMkLst>
        </pc:spChg>
        <pc:spChg chg="mod">
          <ac:chgData name="Lamb, Ben" userId="88a6f5f3-f9e5-47eb-a109-670a0c68440d" providerId="ADAL" clId="{61283625-AFAA-A843-B4D4-BB41EDC646A4}" dt="2021-03-31T19:22:15.463" v="11079"/>
          <ac:spMkLst>
            <pc:docMk/>
            <pc:sldMk cId="1997701517" sldId="1722"/>
            <ac:spMk id="148" creationId="{EA1FBCC4-9C81-CF49-AB5B-871833851D1B}"/>
          </ac:spMkLst>
        </pc:spChg>
        <pc:spChg chg="add mod">
          <ac:chgData name="Lamb, Ben" userId="88a6f5f3-f9e5-47eb-a109-670a0c68440d" providerId="ADAL" clId="{61283625-AFAA-A843-B4D4-BB41EDC646A4}" dt="2021-03-31T19:30:44.803" v="11085" actId="1076"/>
          <ac:spMkLst>
            <pc:docMk/>
            <pc:sldMk cId="1997701517" sldId="1722"/>
            <ac:spMk id="149" creationId="{F1E33AC7-7008-9F44-A3F2-CBBDA6453551}"/>
          </ac:spMkLst>
        </pc:spChg>
        <pc:spChg chg="add mod">
          <ac:chgData name="Lamb, Ben" userId="88a6f5f3-f9e5-47eb-a109-670a0c68440d" providerId="ADAL" clId="{61283625-AFAA-A843-B4D4-BB41EDC646A4}" dt="2021-03-31T20:06:53.525" v="11651"/>
          <ac:spMkLst>
            <pc:docMk/>
            <pc:sldMk cId="1997701517" sldId="1722"/>
            <ac:spMk id="150" creationId="{B437FECE-073C-D748-B6B9-8994CAEF2DD1}"/>
          </ac:spMkLst>
        </pc:spChg>
        <pc:spChg chg="add mod">
          <ac:chgData name="Lamb, Ben" userId="88a6f5f3-f9e5-47eb-a109-670a0c68440d" providerId="ADAL" clId="{61283625-AFAA-A843-B4D4-BB41EDC646A4}" dt="2021-03-31T20:06:53.525" v="11651"/>
          <ac:spMkLst>
            <pc:docMk/>
            <pc:sldMk cId="1997701517" sldId="1722"/>
            <ac:spMk id="151" creationId="{40FFBCA8-7A96-2B47-B6CD-FF3D28CF322C}"/>
          </ac:spMkLst>
        </pc:spChg>
        <pc:spChg chg="add mod">
          <ac:chgData name="Lamb, Ben" userId="88a6f5f3-f9e5-47eb-a109-670a0c68440d" providerId="ADAL" clId="{61283625-AFAA-A843-B4D4-BB41EDC646A4}" dt="2021-03-31T20:06:53.525" v="11651"/>
          <ac:spMkLst>
            <pc:docMk/>
            <pc:sldMk cId="1997701517" sldId="1722"/>
            <ac:spMk id="152" creationId="{0EC8852B-D3F8-B64E-941F-38A119C2014D}"/>
          </ac:spMkLst>
        </pc:spChg>
        <pc:spChg chg="mod">
          <ac:chgData name="Lamb, Ben" userId="88a6f5f3-f9e5-47eb-a109-670a0c68440d" providerId="ADAL" clId="{61283625-AFAA-A843-B4D4-BB41EDC646A4}" dt="2021-03-31T20:06:53.525" v="11651"/>
          <ac:spMkLst>
            <pc:docMk/>
            <pc:sldMk cId="1997701517" sldId="1722"/>
            <ac:spMk id="154" creationId="{6476AF26-22A1-D44D-B743-67FA281E5A77}"/>
          </ac:spMkLst>
        </pc:spChg>
        <pc:spChg chg="mod">
          <ac:chgData name="Lamb, Ben" userId="88a6f5f3-f9e5-47eb-a109-670a0c68440d" providerId="ADAL" clId="{61283625-AFAA-A843-B4D4-BB41EDC646A4}" dt="2021-03-31T20:06:53.525" v="11651"/>
          <ac:spMkLst>
            <pc:docMk/>
            <pc:sldMk cId="1997701517" sldId="1722"/>
            <ac:spMk id="155" creationId="{E8842245-9E96-4942-AD3F-F15C31A08794}"/>
          </ac:spMkLst>
        </pc:spChg>
        <pc:grpChg chg="add mod">
          <ac:chgData name="Lamb, Ben" userId="88a6f5f3-f9e5-47eb-a109-670a0c68440d" providerId="ADAL" clId="{61283625-AFAA-A843-B4D4-BB41EDC646A4}" dt="2021-03-31T19:30:44.803" v="11085" actId="1076"/>
          <ac:grpSpMkLst>
            <pc:docMk/>
            <pc:sldMk cId="1997701517" sldId="1722"/>
            <ac:grpSpMk id="48" creationId="{BAA49E14-2961-DD4E-9D94-526C9BDB2AF9}"/>
          </ac:grpSpMkLst>
        </pc:grpChg>
        <pc:grpChg chg="add mod">
          <ac:chgData name="Lamb, Ben" userId="88a6f5f3-f9e5-47eb-a109-670a0c68440d" providerId="ADAL" clId="{61283625-AFAA-A843-B4D4-BB41EDC646A4}" dt="2021-03-31T19:30:44.803" v="11085" actId="1076"/>
          <ac:grpSpMkLst>
            <pc:docMk/>
            <pc:sldMk cId="1997701517" sldId="1722"/>
            <ac:grpSpMk id="54" creationId="{AECB0851-EF9D-D248-BAC4-53187CCD9F4C}"/>
          </ac:grpSpMkLst>
        </pc:grpChg>
        <pc:grpChg chg="add mod">
          <ac:chgData name="Lamb, Ben" userId="88a6f5f3-f9e5-47eb-a109-670a0c68440d" providerId="ADAL" clId="{61283625-AFAA-A843-B4D4-BB41EDC646A4}" dt="2021-03-31T19:30:44.803" v="11085" actId="1076"/>
          <ac:grpSpMkLst>
            <pc:docMk/>
            <pc:sldMk cId="1997701517" sldId="1722"/>
            <ac:grpSpMk id="58" creationId="{08F3CE03-3553-D14F-9087-83CA63E5C39C}"/>
          </ac:grpSpMkLst>
        </pc:grpChg>
        <pc:grpChg chg="add mod">
          <ac:chgData name="Lamb, Ben" userId="88a6f5f3-f9e5-47eb-a109-670a0c68440d" providerId="ADAL" clId="{61283625-AFAA-A843-B4D4-BB41EDC646A4}" dt="2021-03-31T19:30:44.803" v="11085" actId="1076"/>
          <ac:grpSpMkLst>
            <pc:docMk/>
            <pc:sldMk cId="1997701517" sldId="1722"/>
            <ac:grpSpMk id="61" creationId="{F1C39678-EFA0-214F-A9C6-7D4787298A91}"/>
          </ac:grpSpMkLst>
        </pc:grpChg>
        <pc:grpChg chg="add mod">
          <ac:chgData name="Lamb, Ben" userId="88a6f5f3-f9e5-47eb-a109-670a0c68440d" providerId="ADAL" clId="{61283625-AFAA-A843-B4D4-BB41EDC646A4}" dt="2021-03-31T19:30:44.803" v="11085" actId="1076"/>
          <ac:grpSpMkLst>
            <pc:docMk/>
            <pc:sldMk cId="1997701517" sldId="1722"/>
            <ac:grpSpMk id="64" creationId="{387D7E53-35FE-434B-B7E5-7C36F414E999}"/>
          </ac:grpSpMkLst>
        </pc:grpChg>
        <pc:grpChg chg="add mod">
          <ac:chgData name="Lamb, Ben" userId="88a6f5f3-f9e5-47eb-a109-670a0c68440d" providerId="ADAL" clId="{61283625-AFAA-A843-B4D4-BB41EDC646A4}" dt="2021-03-31T19:30:44.803" v="11085" actId="1076"/>
          <ac:grpSpMkLst>
            <pc:docMk/>
            <pc:sldMk cId="1997701517" sldId="1722"/>
            <ac:grpSpMk id="72" creationId="{C4DB9CD2-E2AB-CA4C-B5FA-F7B7C668067C}"/>
          </ac:grpSpMkLst>
        </pc:grpChg>
        <pc:grpChg chg="mod">
          <ac:chgData name="Lamb, Ben" userId="88a6f5f3-f9e5-47eb-a109-670a0c68440d" providerId="ADAL" clId="{61283625-AFAA-A843-B4D4-BB41EDC646A4}" dt="2021-03-31T19:22:15.463" v="11079"/>
          <ac:grpSpMkLst>
            <pc:docMk/>
            <pc:sldMk cId="1997701517" sldId="1722"/>
            <ac:grpSpMk id="73" creationId="{5E77FDC4-8D40-B34A-9891-227B7CFB622C}"/>
          </ac:grpSpMkLst>
        </pc:grpChg>
        <pc:grpChg chg="add mod">
          <ac:chgData name="Lamb, Ben" userId="88a6f5f3-f9e5-47eb-a109-670a0c68440d" providerId="ADAL" clId="{61283625-AFAA-A843-B4D4-BB41EDC646A4}" dt="2021-03-31T19:30:44.803" v="11085" actId="1076"/>
          <ac:grpSpMkLst>
            <pc:docMk/>
            <pc:sldMk cId="1997701517" sldId="1722"/>
            <ac:grpSpMk id="86" creationId="{E54DB785-639E-6B4C-B735-FE26792999A8}"/>
          </ac:grpSpMkLst>
        </pc:grpChg>
        <pc:grpChg chg="mod">
          <ac:chgData name="Lamb, Ben" userId="88a6f5f3-f9e5-47eb-a109-670a0c68440d" providerId="ADAL" clId="{61283625-AFAA-A843-B4D4-BB41EDC646A4}" dt="2021-03-31T19:22:15.463" v="11079"/>
          <ac:grpSpMkLst>
            <pc:docMk/>
            <pc:sldMk cId="1997701517" sldId="1722"/>
            <ac:grpSpMk id="92" creationId="{E2A7FF1B-179E-B540-A606-D78EF063FAE7}"/>
          </ac:grpSpMkLst>
        </pc:grpChg>
        <pc:grpChg chg="add mod">
          <ac:chgData name="Lamb, Ben" userId="88a6f5f3-f9e5-47eb-a109-670a0c68440d" providerId="ADAL" clId="{61283625-AFAA-A843-B4D4-BB41EDC646A4}" dt="2021-03-31T19:30:44.803" v="11085" actId="1076"/>
          <ac:grpSpMkLst>
            <pc:docMk/>
            <pc:sldMk cId="1997701517" sldId="1722"/>
            <ac:grpSpMk id="97" creationId="{5594E0EE-E71C-1C43-B10F-66D95001208A}"/>
          </ac:grpSpMkLst>
        </pc:grpChg>
        <pc:grpChg chg="mod">
          <ac:chgData name="Lamb, Ben" userId="88a6f5f3-f9e5-47eb-a109-670a0c68440d" providerId="ADAL" clId="{61283625-AFAA-A843-B4D4-BB41EDC646A4}" dt="2021-03-31T19:22:15.463" v="11079"/>
          <ac:grpSpMkLst>
            <pc:docMk/>
            <pc:sldMk cId="1997701517" sldId="1722"/>
            <ac:grpSpMk id="98" creationId="{175532A1-C4FC-0A4A-A905-A6937B8D19F8}"/>
          </ac:grpSpMkLst>
        </pc:grpChg>
        <pc:grpChg chg="add mod">
          <ac:chgData name="Lamb, Ben" userId="88a6f5f3-f9e5-47eb-a109-670a0c68440d" providerId="ADAL" clId="{61283625-AFAA-A843-B4D4-BB41EDC646A4}" dt="2021-03-31T19:30:44.803" v="11085" actId="1076"/>
          <ac:grpSpMkLst>
            <pc:docMk/>
            <pc:sldMk cId="1997701517" sldId="1722"/>
            <ac:grpSpMk id="103" creationId="{10298A58-15CC-5444-9806-5D0000234536}"/>
          </ac:grpSpMkLst>
        </pc:grpChg>
        <pc:grpChg chg="add mod">
          <ac:chgData name="Lamb, Ben" userId="88a6f5f3-f9e5-47eb-a109-670a0c68440d" providerId="ADAL" clId="{61283625-AFAA-A843-B4D4-BB41EDC646A4}" dt="2021-03-31T19:30:44.803" v="11085" actId="1076"/>
          <ac:grpSpMkLst>
            <pc:docMk/>
            <pc:sldMk cId="1997701517" sldId="1722"/>
            <ac:grpSpMk id="106" creationId="{EB7B1966-92F0-E643-8FC8-0043B9C72AEA}"/>
          </ac:grpSpMkLst>
        </pc:grpChg>
        <pc:grpChg chg="mod">
          <ac:chgData name="Lamb, Ben" userId="88a6f5f3-f9e5-47eb-a109-670a0c68440d" providerId="ADAL" clId="{61283625-AFAA-A843-B4D4-BB41EDC646A4}" dt="2021-03-31T19:22:15.463" v="11079"/>
          <ac:grpSpMkLst>
            <pc:docMk/>
            <pc:sldMk cId="1997701517" sldId="1722"/>
            <ac:grpSpMk id="107" creationId="{F034A6CB-2F9D-DA42-A277-209D32D65BF0}"/>
          </ac:grpSpMkLst>
        </pc:grpChg>
        <pc:grpChg chg="add mod">
          <ac:chgData name="Lamb, Ben" userId="88a6f5f3-f9e5-47eb-a109-670a0c68440d" providerId="ADAL" clId="{61283625-AFAA-A843-B4D4-BB41EDC646A4}" dt="2021-03-31T19:30:44.803" v="11085" actId="1076"/>
          <ac:grpSpMkLst>
            <pc:docMk/>
            <pc:sldMk cId="1997701517" sldId="1722"/>
            <ac:grpSpMk id="117" creationId="{F53857B4-CCD6-CE46-84BF-05B52B348D44}"/>
          </ac:grpSpMkLst>
        </pc:grpChg>
        <pc:grpChg chg="mod">
          <ac:chgData name="Lamb, Ben" userId="88a6f5f3-f9e5-47eb-a109-670a0c68440d" providerId="ADAL" clId="{61283625-AFAA-A843-B4D4-BB41EDC646A4}" dt="2021-03-31T19:22:15.463" v="11079"/>
          <ac:grpSpMkLst>
            <pc:docMk/>
            <pc:sldMk cId="1997701517" sldId="1722"/>
            <ac:grpSpMk id="120" creationId="{9A848388-5ACB-3B46-A740-6B2782CE8927}"/>
          </ac:grpSpMkLst>
        </pc:grpChg>
        <pc:grpChg chg="add mod">
          <ac:chgData name="Lamb, Ben" userId="88a6f5f3-f9e5-47eb-a109-670a0c68440d" providerId="ADAL" clId="{61283625-AFAA-A843-B4D4-BB41EDC646A4}" dt="2021-03-31T19:30:44.803" v="11085" actId="1076"/>
          <ac:grpSpMkLst>
            <pc:docMk/>
            <pc:sldMk cId="1997701517" sldId="1722"/>
            <ac:grpSpMk id="124" creationId="{47EF67BB-1D55-4D45-B281-5302F400BAED}"/>
          </ac:grpSpMkLst>
        </pc:grpChg>
        <pc:grpChg chg="add mod">
          <ac:chgData name="Lamb, Ben" userId="88a6f5f3-f9e5-47eb-a109-670a0c68440d" providerId="ADAL" clId="{61283625-AFAA-A843-B4D4-BB41EDC646A4}" dt="2021-03-31T19:30:44.803" v="11085" actId="1076"/>
          <ac:grpSpMkLst>
            <pc:docMk/>
            <pc:sldMk cId="1997701517" sldId="1722"/>
            <ac:grpSpMk id="127" creationId="{A48F1CD5-CF01-B642-9A4B-60021964915E}"/>
          </ac:grpSpMkLst>
        </pc:grpChg>
        <pc:grpChg chg="add mod">
          <ac:chgData name="Lamb, Ben" userId="88a6f5f3-f9e5-47eb-a109-670a0c68440d" providerId="ADAL" clId="{61283625-AFAA-A843-B4D4-BB41EDC646A4}" dt="2021-03-31T19:30:44.803" v="11085" actId="1076"/>
          <ac:grpSpMkLst>
            <pc:docMk/>
            <pc:sldMk cId="1997701517" sldId="1722"/>
            <ac:grpSpMk id="130" creationId="{D1AA21A9-F33C-2A47-B748-32707F5146A1}"/>
          </ac:grpSpMkLst>
        </pc:grpChg>
        <pc:grpChg chg="mod">
          <ac:chgData name="Lamb, Ben" userId="88a6f5f3-f9e5-47eb-a109-670a0c68440d" providerId="ADAL" clId="{61283625-AFAA-A843-B4D4-BB41EDC646A4}" dt="2021-03-31T19:22:15.463" v="11079"/>
          <ac:grpSpMkLst>
            <pc:docMk/>
            <pc:sldMk cId="1997701517" sldId="1722"/>
            <ac:grpSpMk id="131" creationId="{9CC9E650-3104-784D-AA33-E6035F71B1CE}"/>
          </ac:grpSpMkLst>
        </pc:grpChg>
        <pc:grpChg chg="add mod">
          <ac:chgData name="Lamb, Ben" userId="88a6f5f3-f9e5-47eb-a109-670a0c68440d" providerId="ADAL" clId="{61283625-AFAA-A843-B4D4-BB41EDC646A4}" dt="2021-03-31T19:30:44.803" v="11085" actId="1076"/>
          <ac:grpSpMkLst>
            <pc:docMk/>
            <pc:sldMk cId="1997701517" sldId="1722"/>
            <ac:grpSpMk id="141" creationId="{87E719C2-58C3-3A48-9E2C-9FC4EEA91294}"/>
          </ac:grpSpMkLst>
        </pc:grpChg>
        <pc:grpChg chg="mod">
          <ac:chgData name="Lamb, Ben" userId="88a6f5f3-f9e5-47eb-a109-670a0c68440d" providerId="ADAL" clId="{61283625-AFAA-A843-B4D4-BB41EDC646A4}" dt="2021-03-31T19:22:15.463" v="11079"/>
          <ac:grpSpMkLst>
            <pc:docMk/>
            <pc:sldMk cId="1997701517" sldId="1722"/>
            <ac:grpSpMk id="143" creationId="{350178E9-9988-F64C-BCA3-16FDC4A55153}"/>
          </ac:grpSpMkLst>
        </pc:grpChg>
        <pc:grpChg chg="add mod">
          <ac:chgData name="Lamb, Ben" userId="88a6f5f3-f9e5-47eb-a109-670a0c68440d" providerId="ADAL" clId="{61283625-AFAA-A843-B4D4-BB41EDC646A4}" dt="2021-03-31T20:06:53.525" v="11651"/>
          <ac:grpSpMkLst>
            <pc:docMk/>
            <pc:sldMk cId="1997701517" sldId="1722"/>
            <ac:grpSpMk id="153" creationId="{5A8D54B3-9639-7C42-9F54-951D2204788C}"/>
          </ac:grpSpMkLst>
        </pc:grpChg>
        <pc:picChg chg="del">
          <ac:chgData name="Lamb, Ben" userId="88a6f5f3-f9e5-47eb-a109-670a0c68440d" providerId="ADAL" clId="{61283625-AFAA-A843-B4D4-BB41EDC646A4}" dt="2021-03-31T19:22:14.995" v="11078" actId="478"/>
          <ac:picMkLst>
            <pc:docMk/>
            <pc:sldMk cId="1997701517" sldId="1722"/>
            <ac:picMk id="67" creationId="{F4ADCDAE-F6E9-B84C-B2D2-C0D1512A6AF3}"/>
          </ac:picMkLst>
        </pc:picChg>
        <pc:cxnChg chg="add mod">
          <ac:chgData name="Lamb, Ben" userId="88a6f5f3-f9e5-47eb-a109-670a0c68440d" providerId="ADAL" clId="{61283625-AFAA-A843-B4D4-BB41EDC646A4}" dt="2021-03-31T19:30:44.803" v="11085" actId="1076"/>
          <ac:cxnSpMkLst>
            <pc:docMk/>
            <pc:sldMk cId="1997701517" sldId="1722"/>
            <ac:cxnSpMk id="28" creationId="{E7D73830-D2AD-C343-9B41-8874A84525A6}"/>
          </ac:cxnSpMkLst>
        </pc:cxnChg>
        <pc:cxnChg chg="add mod">
          <ac:chgData name="Lamb, Ben" userId="88a6f5f3-f9e5-47eb-a109-670a0c68440d" providerId="ADAL" clId="{61283625-AFAA-A843-B4D4-BB41EDC646A4}" dt="2021-03-31T19:30:44.803" v="11085" actId="1076"/>
          <ac:cxnSpMkLst>
            <pc:docMk/>
            <pc:sldMk cId="1997701517" sldId="1722"/>
            <ac:cxnSpMk id="29" creationId="{90ADB5BA-6AAD-9744-88E1-798097B04CE6}"/>
          </ac:cxnSpMkLst>
        </pc:cxnChg>
        <pc:cxnChg chg="add mod">
          <ac:chgData name="Lamb, Ben" userId="88a6f5f3-f9e5-47eb-a109-670a0c68440d" providerId="ADAL" clId="{61283625-AFAA-A843-B4D4-BB41EDC646A4}" dt="2021-03-31T19:30:44.803" v="11085" actId="1076"/>
          <ac:cxnSpMkLst>
            <pc:docMk/>
            <pc:sldMk cId="1997701517" sldId="1722"/>
            <ac:cxnSpMk id="30" creationId="{CCA99453-FC98-F64B-8812-86DF19D25B23}"/>
          </ac:cxnSpMkLst>
        </pc:cxnChg>
        <pc:cxnChg chg="add mod">
          <ac:chgData name="Lamb, Ben" userId="88a6f5f3-f9e5-47eb-a109-670a0c68440d" providerId="ADAL" clId="{61283625-AFAA-A843-B4D4-BB41EDC646A4}" dt="2021-03-31T19:30:44.803" v="11085" actId="1076"/>
          <ac:cxnSpMkLst>
            <pc:docMk/>
            <pc:sldMk cId="1997701517" sldId="1722"/>
            <ac:cxnSpMk id="37" creationId="{2E9C1E03-089B-F94B-B6E9-99314F21BEBB}"/>
          </ac:cxnSpMkLst>
        </pc:cxnChg>
        <pc:cxnChg chg="add mod">
          <ac:chgData name="Lamb, Ben" userId="88a6f5f3-f9e5-47eb-a109-670a0c68440d" providerId="ADAL" clId="{61283625-AFAA-A843-B4D4-BB41EDC646A4}" dt="2021-03-31T19:30:44.803" v="11085" actId="1076"/>
          <ac:cxnSpMkLst>
            <pc:docMk/>
            <pc:sldMk cId="1997701517" sldId="1722"/>
            <ac:cxnSpMk id="38" creationId="{A52ECCEE-C5F9-7849-A7ED-BF419FAF0937}"/>
          </ac:cxnSpMkLst>
        </pc:cxnChg>
        <pc:cxnChg chg="add mod">
          <ac:chgData name="Lamb, Ben" userId="88a6f5f3-f9e5-47eb-a109-670a0c68440d" providerId="ADAL" clId="{61283625-AFAA-A843-B4D4-BB41EDC646A4}" dt="2021-03-31T19:30:44.803" v="11085" actId="1076"/>
          <ac:cxnSpMkLst>
            <pc:docMk/>
            <pc:sldMk cId="1997701517" sldId="1722"/>
            <ac:cxnSpMk id="40" creationId="{AE58ACAE-3FFA-6446-ABD8-F1FB5F1A6A87}"/>
          </ac:cxnSpMkLst>
        </pc:cxnChg>
        <pc:cxnChg chg="add mod">
          <ac:chgData name="Lamb, Ben" userId="88a6f5f3-f9e5-47eb-a109-670a0c68440d" providerId="ADAL" clId="{61283625-AFAA-A843-B4D4-BB41EDC646A4}" dt="2021-03-31T19:30:44.803" v="11085" actId="1076"/>
          <ac:cxnSpMkLst>
            <pc:docMk/>
            <pc:sldMk cId="1997701517" sldId="1722"/>
            <ac:cxnSpMk id="41" creationId="{DD270770-EFB9-A047-BB47-A52E2392C9EB}"/>
          </ac:cxnSpMkLst>
        </pc:cxnChg>
        <pc:cxnChg chg="add mod">
          <ac:chgData name="Lamb, Ben" userId="88a6f5f3-f9e5-47eb-a109-670a0c68440d" providerId="ADAL" clId="{61283625-AFAA-A843-B4D4-BB41EDC646A4}" dt="2021-03-31T19:30:44.803" v="11085" actId="1076"/>
          <ac:cxnSpMkLst>
            <pc:docMk/>
            <pc:sldMk cId="1997701517" sldId="1722"/>
            <ac:cxnSpMk id="44" creationId="{7CE34008-E192-7F46-BF25-65E836794896}"/>
          </ac:cxnSpMkLst>
        </pc:cxnChg>
        <pc:cxnChg chg="add mod">
          <ac:chgData name="Lamb, Ben" userId="88a6f5f3-f9e5-47eb-a109-670a0c68440d" providerId="ADAL" clId="{61283625-AFAA-A843-B4D4-BB41EDC646A4}" dt="2021-03-31T19:30:44.803" v="11085" actId="1076"/>
          <ac:cxnSpMkLst>
            <pc:docMk/>
            <pc:sldMk cId="1997701517" sldId="1722"/>
            <ac:cxnSpMk id="46" creationId="{15406969-C55E-324A-85C9-7DF283F91F15}"/>
          </ac:cxnSpMkLst>
        </pc:cxnChg>
        <pc:cxnChg chg="add mod">
          <ac:chgData name="Lamb, Ben" userId="88a6f5f3-f9e5-47eb-a109-670a0c68440d" providerId="ADAL" clId="{61283625-AFAA-A843-B4D4-BB41EDC646A4}" dt="2021-03-31T19:30:44.803" v="11085" actId="1076"/>
          <ac:cxnSpMkLst>
            <pc:docMk/>
            <pc:sldMk cId="1997701517" sldId="1722"/>
            <ac:cxnSpMk id="47" creationId="{3D6AE52C-8458-4147-AA66-8DF1B4C59007}"/>
          </ac:cxnSpMkLst>
        </pc:cxnChg>
        <pc:cxnChg chg="del mod">
          <ac:chgData name="Lamb, Ben" userId="88a6f5f3-f9e5-47eb-a109-670a0c68440d" providerId="ADAL" clId="{61283625-AFAA-A843-B4D4-BB41EDC646A4}" dt="2021-03-31T19:22:14.995" v="11078" actId="478"/>
          <ac:cxnSpMkLst>
            <pc:docMk/>
            <pc:sldMk cId="1997701517" sldId="1722"/>
            <ac:cxnSpMk id="53" creationId="{B50A620B-A83B-4C46-95C0-99B45BCBCDCB}"/>
          </ac:cxnSpMkLst>
        </pc:cxnChg>
        <pc:cxnChg chg="del mod">
          <ac:chgData name="Lamb, Ben" userId="88a6f5f3-f9e5-47eb-a109-670a0c68440d" providerId="ADAL" clId="{61283625-AFAA-A843-B4D4-BB41EDC646A4}" dt="2021-03-31T19:22:14.995" v="11078" actId="478"/>
          <ac:cxnSpMkLst>
            <pc:docMk/>
            <pc:sldMk cId="1997701517" sldId="1722"/>
            <ac:cxnSpMk id="82" creationId="{8EC7B246-00F1-6047-A07A-394A3402245E}"/>
          </ac:cxnSpMkLst>
        </pc:cxnChg>
        <pc:cxnChg chg="del mod">
          <ac:chgData name="Lamb, Ben" userId="88a6f5f3-f9e5-47eb-a109-670a0c68440d" providerId="ADAL" clId="{61283625-AFAA-A843-B4D4-BB41EDC646A4}" dt="2021-03-31T19:22:14.995" v="11078" actId="478"/>
          <ac:cxnSpMkLst>
            <pc:docMk/>
            <pc:sldMk cId="1997701517" sldId="1722"/>
            <ac:cxnSpMk id="83" creationId="{6B2CAEBA-918A-FF47-93C8-6BB213F95053}"/>
          </ac:cxnSpMkLst>
        </pc:cxnChg>
        <pc:cxnChg chg="del mod">
          <ac:chgData name="Lamb, Ben" userId="88a6f5f3-f9e5-47eb-a109-670a0c68440d" providerId="ADAL" clId="{61283625-AFAA-A843-B4D4-BB41EDC646A4}" dt="2021-03-31T19:22:14.995" v="11078" actId="478"/>
          <ac:cxnSpMkLst>
            <pc:docMk/>
            <pc:sldMk cId="1997701517" sldId="1722"/>
            <ac:cxnSpMk id="90" creationId="{5C443B11-AC20-C244-A6C8-C11461929686}"/>
          </ac:cxnSpMkLst>
        </pc:cxnChg>
        <pc:cxnChg chg="del mod">
          <ac:chgData name="Lamb, Ben" userId="88a6f5f3-f9e5-47eb-a109-670a0c68440d" providerId="ADAL" clId="{61283625-AFAA-A843-B4D4-BB41EDC646A4}" dt="2021-03-31T19:22:14.995" v="11078" actId="478"/>
          <ac:cxnSpMkLst>
            <pc:docMk/>
            <pc:sldMk cId="1997701517" sldId="1722"/>
            <ac:cxnSpMk id="91" creationId="{34D62801-7B30-E24E-BD04-A036279B68B9}"/>
          </ac:cxnSpMkLst>
        </pc:cxnChg>
        <pc:cxnChg chg="add del mod">
          <ac:chgData name="Lamb, Ben" userId="88a6f5f3-f9e5-47eb-a109-670a0c68440d" providerId="ADAL" clId="{61283625-AFAA-A843-B4D4-BB41EDC646A4}" dt="2021-03-31T19:22:14.995" v="11078" actId="478"/>
          <ac:cxnSpMkLst>
            <pc:docMk/>
            <pc:sldMk cId="1997701517" sldId="1722"/>
            <ac:cxnSpMk id="101" creationId="{5992EC37-69E5-0844-9242-E13A95B2FDC9}"/>
          </ac:cxnSpMkLst>
        </pc:cxnChg>
        <pc:cxnChg chg="del mod">
          <ac:chgData name="Lamb, Ben" userId="88a6f5f3-f9e5-47eb-a109-670a0c68440d" providerId="ADAL" clId="{61283625-AFAA-A843-B4D4-BB41EDC646A4}" dt="2021-03-31T19:22:14.995" v="11078" actId="478"/>
          <ac:cxnSpMkLst>
            <pc:docMk/>
            <pc:sldMk cId="1997701517" sldId="1722"/>
            <ac:cxnSpMk id="111" creationId="{46708EF9-3195-FB49-A789-8BAC4422E080}"/>
          </ac:cxnSpMkLst>
        </pc:cxnChg>
      </pc:sldChg>
      <pc:sldChg chg="addSp delSp modSp add mod">
        <pc:chgData name="Lamb, Ben" userId="88a6f5f3-f9e5-47eb-a109-670a0c68440d" providerId="ADAL" clId="{61283625-AFAA-A843-B4D4-BB41EDC646A4}" dt="2021-03-31T22:27:45.587" v="12116" actId="207"/>
        <pc:sldMkLst>
          <pc:docMk/>
          <pc:sldMk cId="2814166891" sldId="1723"/>
        </pc:sldMkLst>
        <pc:spChg chg="mod">
          <ac:chgData name="Lamb, Ben" userId="88a6f5f3-f9e5-47eb-a109-670a0c68440d" providerId="ADAL" clId="{61283625-AFAA-A843-B4D4-BB41EDC646A4}" dt="2021-03-31T19:31:11.063" v="11115" actId="20577"/>
          <ac:spMkLst>
            <pc:docMk/>
            <pc:sldMk cId="2814166891" sldId="1723"/>
            <ac:spMk id="2" creationId="{E4576F96-D6BB-DD40-AD3C-8C50B0DFF80B}"/>
          </ac:spMkLst>
        </pc:spChg>
        <pc:spChg chg="add del mod">
          <ac:chgData name="Lamb, Ben" userId="88a6f5f3-f9e5-47eb-a109-670a0c68440d" providerId="ADAL" clId="{61283625-AFAA-A843-B4D4-BB41EDC646A4}" dt="2021-03-31T19:48:35.491" v="11313"/>
          <ac:spMkLst>
            <pc:docMk/>
            <pc:sldMk cId="2814166891" sldId="1723"/>
            <ac:spMk id="3" creationId="{ED82475A-B4E1-074C-8C1A-5A0EADAF2D4C}"/>
          </ac:spMkLst>
        </pc:spChg>
        <pc:spChg chg="del">
          <ac:chgData name="Lamb, Ben" userId="88a6f5f3-f9e5-47eb-a109-670a0c68440d" providerId="ADAL" clId="{61283625-AFAA-A843-B4D4-BB41EDC646A4}" dt="2021-03-31T19:51:49.650" v="11374" actId="478"/>
          <ac:spMkLst>
            <pc:docMk/>
            <pc:sldMk cId="2814166891" sldId="1723"/>
            <ac:spMk id="26" creationId="{93975108-787E-DC47-A436-53E74110C775}"/>
          </ac:spMkLst>
        </pc:spChg>
        <pc:spChg chg="del">
          <ac:chgData name="Lamb, Ben" userId="88a6f5f3-f9e5-47eb-a109-670a0c68440d" providerId="ADAL" clId="{61283625-AFAA-A843-B4D4-BB41EDC646A4}" dt="2021-03-31T19:51:49.650" v="11374" actId="478"/>
          <ac:spMkLst>
            <pc:docMk/>
            <pc:sldMk cId="2814166891" sldId="1723"/>
            <ac:spMk id="27" creationId="{E49F03CE-6668-424E-9DE7-E6EC9AD65113}"/>
          </ac:spMkLst>
        </pc:spChg>
        <pc:spChg chg="del">
          <ac:chgData name="Lamb, Ben" userId="88a6f5f3-f9e5-47eb-a109-670a0c68440d" providerId="ADAL" clId="{61283625-AFAA-A843-B4D4-BB41EDC646A4}" dt="2021-03-31T19:51:49.650" v="11374" actId="478"/>
          <ac:spMkLst>
            <pc:docMk/>
            <pc:sldMk cId="2814166891" sldId="1723"/>
            <ac:spMk id="31" creationId="{7A70AED6-ECE1-BC4F-998E-84AC3554F47A}"/>
          </ac:spMkLst>
        </pc:spChg>
        <pc:spChg chg="del">
          <ac:chgData name="Lamb, Ben" userId="88a6f5f3-f9e5-47eb-a109-670a0c68440d" providerId="ADAL" clId="{61283625-AFAA-A843-B4D4-BB41EDC646A4}" dt="2021-03-31T19:47:39.613" v="11277" actId="478"/>
          <ac:spMkLst>
            <pc:docMk/>
            <pc:sldMk cId="2814166891" sldId="1723"/>
            <ac:spMk id="32" creationId="{7C6E2905-E8DA-B34B-8CBD-B671DDCA5FAD}"/>
          </ac:spMkLst>
        </pc:spChg>
        <pc:spChg chg="del mod">
          <ac:chgData name="Lamb, Ben" userId="88a6f5f3-f9e5-47eb-a109-670a0c68440d" providerId="ADAL" clId="{61283625-AFAA-A843-B4D4-BB41EDC646A4}" dt="2021-03-31T19:51:49.650" v="11374" actId="478"/>
          <ac:spMkLst>
            <pc:docMk/>
            <pc:sldMk cId="2814166891" sldId="1723"/>
            <ac:spMk id="33" creationId="{C0EFB6F1-DFB5-EE47-B2A0-6845C7A6923B}"/>
          </ac:spMkLst>
        </pc:spChg>
        <pc:spChg chg="del">
          <ac:chgData name="Lamb, Ben" userId="88a6f5f3-f9e5-47eb-a109-670a0c68440d" providerId="ADAL" clId="{61283625-AFAA-A843-B4D4-BB41EDC646A4}" dt="2021-03-31T19:51:49.650" v="11374" actId="478"/>
          <ac:spMkLst>
            <pc:docMk/>
            <pc:sldMk cId="2814166891" sldId="1723"/>
            <ac:spMk id="34" creationId="{FBC804E9-8A3A-7F4E-B5A9-5332205D75C2}"/>
          </ac:spMkLst>
        </pc:spChg>
        <pc:spChg chg="del">
          <ac:chgData name="Lamb, Ben" userId="88a6f5f3-f9e5-47eb-a109-670a0c68440d" providerId="ADAL" clId="{61283625-AFAA-A843-B4D4-BB41EDC646A4}" dt="2021-03-31T19:51:49.650" v="11374" actId="478"/>
          <ac:spMkLst>
            <pc:docMk/>
            <pc:sldMk cId="2814166891" sldId="1723"/>
            <ac:spMk id="35" creationId="{18F1E03E-8F87-0942-A540-F5199939F3BB}"/>
          </ac:spMkLst>
        </pc:spChg>
        <pc:spChg chg="del">
          <ac:chgData name="Lamb, Ben" userId="88a6f5f3-f9e5-47eb-a109-670a0c68440d" providerId="ADAL" clId="{61283625-AFAA-A843-B4D4-BB41EDC646A4}" dt="2021-03-31T19:51:53.608" v="11375" actId="478"/>
          <ac:spMkLst>
            <pc:docMk/>
            <pc:sldMk cId="2814166891" sldId="1723"/>
            <ac:spMk id="36" creationId="{BA1568D4-8A30-B142-B13B-D1EC69C36E1C}"/>
          </ac:spMkLst>
        </pc:spChg>
        <pc:spChg chg="del">
          <ac:chgData name="Lamb, Ben" userId="88a6f5f3-f9e5-47eb-a109-670a0c68440d" providerId="ADAL" clId="{61283625-AFAA-A843-B4D4-BB41EDC646A4}" dt="2021-03-31T19:51:49.650" v="11374" actId="478"/>
          <ac:spMkLst>
            <pc:docMk/>
            <pc:sldMk cId="2814166891" sldId="1723"/>
            <ac:spMk id="39" creationId="{B5BB4F0D-D387-3340-BDD7-443EAA32B857}"/>
          </ac:spMkLst>
        </pc:spChg>
        <pc:spChg chg="del">
          <ac:chgData name="Lamb, Ben" userId="88a6f5f3-f9e5-47eb-a109-670a0c68440d" providerId="ADAL" clId="{61283625-AFAA-A843-B4D4-BB41EDC646A4}" dt="2021-03-31T19:51:49.650" v="11374" actId="478"/>
          <ac:spMkLst>
            <pc:docMk/>
            <pc:sldMk cId="2814166891" sldId="1723"/>
            <ac:spMk id="42" creationId="{E8FB0E9D-0207-FE44-921D-3A04E3ACE183}"/>
          </ac:spMkLst>
        </pc:spChg>
        <pc:spChg chg="del">
          <ac:chgData name="Lamb, Ben" userId="88a6f5f3-f9e5-47eb-a109-670a0c68440d" providerId="ADAL" clId="{61283625-AFAA-A843-B4D4-BB41EDC646A4}" dt="2021-03-31T19:51:49.650" v="11374" actId="478"/>
          <ac:spMkLst>
            <pc:docMk/>
            <pc:sldMk cId="2814166891" sldId="1723"/>
            <ac:spMk id="43" creationId="{1B7DB2FC-A67C-5443-992C-979AF20593A8}"/>
          </ac:spMkLst>
        </pc:spChg>
        <pc:spChg chg="del">
          <ac:chgData name="Lamb, Ben" userId="88a6f5f3-f9e5-47eb-a109-670a0c68440d" providerId="ADAL" clId="{61283625-AFAA-A843-B4D4-BB41EDC646A4}" dt="2021-03-31T19:31:15.853" v="11116" actId="478"/>
          <ac:spMkLst>
            <pc:docMk/>
            <pc:sldMk cId="2814166891" sldId="1723"/>
            <ac:spMk id="45" creationId="{89F1DCA4-7599-964F-8FD3-7C1A7BA5C1BD}"/>
          </ac:spMkLst>
        </pc:spChg>
        <pc:spChg chg="mod">
          <ac:chgData name="Lamb, Ben" userId="88a6f5f3-f9e5-47eb-a109-670a0c68440d" providerId="ADAL" clId="{61283625-AFAA-A843-B4D4-BB41EDC646A4}" dt="2021-03-31T19:48:04.881" v="11288" actId="20577"/>
          <ac:spMkLst>
            <pc:docMk/>
            <pc:sldMk cId="2814166891" sldId="1723"/>
            <ac:spMk id="49" creationId="{2C5DF9E8-0235-DD40-8628-4B68B69D36EC}"/>
          </ac:spMkLst>
        </pc:spChg>
        <pc:spChg chg="mod">
          <ac:chgData name="Lamb, Ben" userId="88a6f5f3-f9e5-47eb-a109-670a0c68440d" providerId="ADAL" clId="{61283625-AFAA-A843-B4D4-BB41EDC646A4}" dt="2021-03-31T19:48:10.590" v="11296" actId="20577"/>
          <ac:spMkLst>
            <pc:docMk/>
            <pc:sldMk cId="2814166891" sldId="1723"/>
            <ac:spMk id="55" creationId="{D54FEAF5-7187-FF4B-9E16-FE440C3656F0}"/>
          </ac:spMkLst>
        </pc:spChg>
        <pc:spChg chg="mod">
          <ac:chgData name="Lamb, Ben" userId="88a6f5f3-f9e5-47eb-a109-670a0c68440d" providerId="ADAL" clId="{61283625-AFAA-A843-B4D4-BB41EDC646A4}" dt="2021-03-31T19:48:24.359" v="11307" actId="20577"/>
          <ac:spMkLst>
            <pc:docMk/>
            <pc:sldMk cId="2814166891" sldId="1723"/>
            <ac:spMk id="59" creationId="{75DAEA0A-19CE-BC45-890C-755D8C94A926}"/>
          </ac:spMkLst>
        </pc:spChg>
        <pc:spChg chg="mod">
          <ac:chgData name="Lamb, Ben" userId="88a6f5f3-f9e5-47eb-a109-670a0c68440d" providerId="ADAL" clId="{61283625-AFAA-A843-B4D4-BB41EDC646A4}" dt="2021-03-31T19:48:30.001" v="11311" actId="20577"/>
          <ac:spMkLst>
            <pc:docMk/>
            <pc:sldMk cId="2814166891" sldId="1723"/>
            <ac:spMk id="62" creationId="{03119B0F-B2AA-1249-B949-F745D43202C6}"/>
          </ac:spMkLst>
        </pc:spChg>
        <pc:spChg chg="mod">
          <ac:chgData name="Lamb, Ben" userId="88a6f5f3-f9e5-47eb-a109-670a0c68440d" providerId="ADAL" clId="{61283625-AFAA-A843-B4D4-BB41EDC646A4}" dt="2021-03-31T19:48:42.610" v="11320" actId="20577"/>
          <ac:spMkLst>
            <pc:docMk/>
            <pc:sldMk cId="2814166891" sldId="1723"/>
            <ac:spMk id="68" creationId="{ADE6998C-5CF8-4A4F-BB2E-737B204DE5A4}"/>
          </ac:spMkLst>
        </pc:spChg>
        <pc:spChg chg="del">
          <ac:chgData name="Lamb, Ben" userId="88a6f5f3-f9e5-47eb-a109-670a0c68440d" providerId="ADAL" clId="{61283625-AFAA-A843-B4D4-BB41EDC646A4}" dt="2021-03-31T19:51:49.650" v="11374" actId="478"/>
          <ac:spMkLst>
            <pc:docMk/>
            <pc:sldMk cId="2814166891" sldId="1723"/>
            <ac:spMk id="70" creationId="{817AFAAA-10F6-354F-AB20-6EB36CAC2D98}"/>
          </ac:spMkLst>
        </pc:spChg>
        <pc:spChg chg="del">
          <ac:chgData name="Lamb, Ben" userId="88a6f5f3-f9e5-47eb-a109-670a0c68440d" providerId="ADAL" clId="{61283625-AFAA-A843-B4D4-BB41EDC646A4}" dt="2021-03-31T19:51:49.650" v="11374" actId="478"/>
          <ac:spMkLst>
            <pc:docMk/>
            <pc:sldMk cId="2814166891" sldId="1723"/>
            <ac:spMk id="71" creationId="{A4C76D2D-8209-E14E-B2B9-1BD4DDF80162}"/>
          </ac:spMkLst>
        </pc:spChg>
        <pc:spChg chg="mod">
          <ac:chgData name="Lamb, Ben" userId="88a6f5f3-f9e5-47eb-a109-670a0c68440d" providerId="ADAL" clId="{61283625-AFAA-A843-B4D4-BB41EDC646A4}" dt="2021-03-31T19:51:56.232" v="11376" actId="20577"/>
          <ac:spMkLst>
            <pc:docMk/>
            <pc:sldMk cId="2814166891" sldId="1723"/>
            <ac:spMk id="105" creationId="{69EA8DB5-A894-BC41-9173-8C44F57CBD1B}"/>
          </ac:spMkLst>
        </pc:spChg>
        <pc:spChg chg="add mod">
          <ac:chgData name="Lamb, Ben" userId="88a6f5f3-f9e5-47eb-a109-670a0c68440d" providerId="ADAL" clId="{61283625-AFAA-A843-B4D4-BB41EDC646A4}" dt="2021-03-31T20:06:00.226" v="11648" actId="1076"/>
          <ac:spMkLst>
            <pc:docMk/>
            <pc:sldMk cId="2814166891" sldId="1723"/>
            <ac:spMk id="109" creationId="{DD8DC9A8-38DD-C44B-8E9D-BBBDCB2640BC}"/>
          </ac:spMkLst>
        </pc:spChg>
        <pc:spChg chg="add mod">
          <ac:chgData name="Lamb, Ben" userId="88a6f5f3-f9e5-47eb-a109-670a0c68440d" providerId="ADAL" clId="{61283625-AFAA-A843-B4D4-BB41EDC646A4}" dt="2021-03-31T20:06:02.048" v="11649" actId="1076"/>
          <ac:spMkLst>
            <pc:docMk/>
            <pc:sldMk cId="2814166891" sldId="1723"/>
            <ac:spMk id="111" creationId="{2C480DD2-E10C-3446-A8FA-E0B681F8E265}"/>
          </ac:spMkLst>
        </pc:spChg>
        <pc:spChg chg="add mod">
          <ac:chgData name="Lamb, Ben" userId="88a6f5f3-f9e5-47eb-a109-670a0c68440d" providerId="ADAL" clId="{61283625-AFAA-A843-B4D4-BB41EDC646A4}" dt="2021-03-31T20:05:09.110" v="11633" actId="1076"/>
          <ac:spMkLst>
            <pc:docMk/>
            <pc:sldMk cId="2814166891" sldId="1723"/>
            <ac:spMk id="118" creationId="{C56D44E6-9E59-0448-AC39-6FBF60736CAC}"/>
          </ac:spMkLst>
        </pc:spChg>
        <pc:spChg chg="add mod">
          <ac:chgData name="Lamb, Ben" userId="88a6f5f3-f9e5-47eb-a109-670a0c68440d" providerId="ADAL" clId="{61283625-AFAA-A843-B4D4-BB41EDC646A4}" dt="2021-03-31T20:05:13.242" v="11635" actId="1035"/>
          <ac:spMkLst>
            <pc:docMk/>
            <pc:sldMk cId="2814166891" sldId="1723"/>
            <ac:spMk id="119" creationId="{5EABD445-F9E8-204C-8735-EEFB3690E75D}"/>
          </ac:spMkLst>
        </pc:spChg>
        <pc:spChg chg="del">
          <ac:chgData name="Lamb, Ben" userId="88a6f5f3-f9e5-47eb-a109-670a0c68440d" providerId="ADAL" clId="{61283625-AFAA-A843-B4D4-BB41EDC646A4}" dt="2021-03-31T19:51:53.608" v="11375" actId="478"/>
          <ac:spMkLst>
            <pc:docMk/>
            <pc:sldMk cId="2814166891" sldId="1723"/>
            <ac:spMk id="149" creationId="{F1E33AC7-7008-9F44-A3F2-CBBDA6453551}"/>
          </ac:spMkLst>
        </pc:spChg>
        <pc:spChg chg="add mod">
          <ac:chgData name="Lamb, Ben" userId="88a6f5f3-f9e5-47eb-a109-670a0c68440d" providerId="ADAL" clId="{61283625-AFAA-A843-B4D4-BB41EDC646A4}" dt="2021-03-31T20:05:09.110" v="11633" actId="1076"/>
          <ac:spMkLst>
            <pc:docMk/>
            <pc:sldMk cId="2814166891" sldId="1723"/>
            <ac:spMk id="151" creationId="{C1B747B8-7FBF-FC49-804C-DC3090411323}"/>
          </ac:spMkLst>
        </pc:spChg>
        <pc:spChg chg="add mod">
          <ac:chgData name="Lamb, Ben" userId="88a6f5f3-f9e5-47eb-a109-670a0c68440d" providerId="ADAL" clId="{61283625-AFAA-A843-B4D4-BB41EDC646A4}" dt="2021-03-31T20:05:09.110" v="11633" actId="1076"/>
          <ac:spMkLst>
            <pc:docMk/>
            <pc:sldMk cId="2814166891" sldId="1723"/>
            <ac:spMk id="153" creationId="{9C2F277D-D717-FE4B-92F9-C0173BE6098C}"/>
          </ac:spMkLst>
        </pc:spChg>
        <pc:spChg chg="add mod">
          <ac:chgData name="Lamb, Ben" userId="88a6f5f3-f9e5-47eb-a109-670a0c68440d" providerId="ADAL" clId="{61283625-AFAA-A843-B4D4-BB41EDC646A4}" dt="2021-03-31T20:05:09.110" v="11633" actId="1076"/>
          <ac:spMkLst>
            <pc:docMk/>
            <pc:sldMk cId="2814166891" sldId="1723"/>
            <ac:spMk id="155" creationId="{E950DAA1-5E85-F64E-922C-ACDDCCC4EE1F}"/>
          </ac:spMkLst>
        </pc:spChg>
        <pc:spChg chg="add mod">
          <ac:chgData name="Lamb, Ben" userId="88a6f5f3-f9e5-47eb-a109-670a0c68440d" providerId="ADAL" clId="{61283625-AFAA-A843-B4D4-BB41EDC646A4}" dt="2021-03-31T20:05:09.110" v="11633" actId="1076"/>
          <ac:spMkLst>
            <pc:docMk/>
            <pc:sldMk cId="2814166891" sldId="1723"/>
            <ac:spMk id="158" creationId="{0FA30662-DCBE-6C43-A4AE-1E9CB653C2D8}"/>
          </ac:spMkLst>
        </pc:spChg>
        <pc:spChg chg="add del mod">
          <ac:chgData name="Lamb, Ben" userId="88a6f5f3-f9e5-47eb-a109-670a0c68440d" providerId="ADAL" clId="{61283625-AFAA-A843-B4D4-BB41EDC646A4}" dt="2021-03-31T20:05:00.437" v="11632" actId="478"/>
          <ac:spMkLst>
            <pc:docMk/>
            <pc:sldMk cId="2814166891" sldId="1723"/>
            <ac:spMk id="160" creationId="{1588815B-AFB2-8243-B6BD-50B1103E612A}"/>
          </ac:spMkLst>
        </pc:spChg>
        <pc:spChg chg="add del mod">
          <ac:chgData name="Lamb, Ben" userId="88a6f5f3-f9e5-47eb-a109-670a0c68440d" providerId="ADAL" clId="{61283625-AFAA-A843-B4D4-BB41EDC646A4}" dt="2021-03-31T19:52:38.953" v="11395"/>
          <ac:spMkLst>
            <pc:docMk/>
            <pc:sldMk cId="2814166891" sldId="1723"/>
            <ac:spMk id="161" creationId="{8381C4EC-3A3B-2949-BA88-E8335277FCF4}"/>
          </ac:spMkLst>
        </pc:spChg>
        <pc:spChg chg="add del mod">
          <ac:chgData name="Lamb, Ben" userId="88a6f5f3-f9e5-47eb-a109-670a0c68440d" providerId="ADAL" clId="{61283625-AFAA-A843-B4D4-BB41EDC646A4}" dt="2021-03-31T19:52:38.953" v="11395"/>
          <ac:spMkLst>
            <pc:docMk/>
            <pc:sldMk cId="2814166891" sldId="1723"/>
            <ac:spMk id="162" creationId="{2F7715E7-3E36-8547-8983-2F373E3FDC3D}"/>
          </ac:spMkLst>
        </pc:spChg>
        <pc:spChg chg="add mod">
          <ac:chgData name="Lamb, Ben" userId="88a6f5f3-f9e5-47eb-a109-670a0c68440d" providerId="ADAL" clId="{61283625-AFAA-A843-B4D4-BB41EDC646A4}" dt="2021-03-31T20:05:09.110" v="11633" actId="1076"/>
          <ac:spMkLst>
            <pc:docMk/>
            <pc:sldMk cId="2814166891" sldId="1723"/>
            <ac:spMk id="164" creationId="{B08DD7F7-C035-BA49-8195-FD761CA615A5}"/>
          </ac:spMkLst>
        </pc:spChg>
        <pc:spChg chg="mod">
          <ac:chgData name="Lamb, Ben" userId="88a6f5f3-f9e5-47eb-a109-670a0c68440d" providerId="ADAL" clId="{61283625-AFAA-A843-B4D4-BB41EDC646A4}" dt="2021-03-31T19:59:36.761" v="11522" actId="14100"/>
          <ac:spMkLst>
            <pc:docMk/>
            <pc:sldMk cId="2814166891" sldId="1723"/>
            <ac:spMk id="168" creationId="{6E70CB26-89FC-0C48-A360-5562001FE858}"/>
          </ac:spMkLst>
        </pc:spChg>
        <pc:spChg chg="mod">
          <ac:chgData name="Lamb, Ben" userId="88a6f5f3-f9e5-47eb-a109-670a0c68440d" providerId="ADAL" clId="{61283625-AFAA-A843-B4D4-BB41EDC646A4}" dt="2021-03-31T19:59:40.553" v="11523" actId="1076"/>
          <ac:spMkLst>
            <pc:docMk/>
            <pc:sldMk cId="2814166891" sldId="1723"/>
            <ac:spMk id="169" creationId="{25985672-6B20-E942-B2AD-3A50FCBAA9F0}"/>
          </ac:spMkLst>
        </pc:spChg>
        <pc:spChg chg="add mod">
          <ac:chgData name="Lamb, Ben" userId="88a6f5f3-f9e5-47eb-a109-670a0c68440d" providerId="ADAL" clId="{61283625-AFAA-A843-B4D4-BB41EDC646A4}" dt="2021-03-31T22:27:45.587" v="12116" actId="207"/>
          <ac:spMkLst>
            <pc:docMk/>
            <pc:sldMk cId="2814166891" sldId="1723"/>
            <ac:spMk id="170" creationId="{834EAC96-157F-DC4B-A11F-213AC35912E5}"/>
          </ac:spMkLst>
        </pc:spChg>
        <pc:spChg chg="add mod">
          <ac:chgData name="Lamb, Ben" userId="88a6f5f3-f9e5-47eb-a109-670a0c68440d" providerId="ADAL" clId="{61283625-AFAA-A843-B4D4-BB41EDC646A4}" dt="2021-03-31T22:27:45.587" v="12116" actId="207"/>
          <ac:spMkLst>
            <pc:docMk/>
            <pc:sldMk cId="2814166891" sldId="1723"/>
            <ac:spMk id="171" creationId="{A41C37EB-3E92-7042-AB49-A078CDB9F6E8}"/>
          </ac:spMkLst>
        </pc:spChg>
        <pc:grpChg chg="mod">
          <ac:chgData name="Lamb, Ben" userId="88a6f5f3-f9e5-47eb-a109-670a0c68440d" providerId="ADAL" clId="{61283625-AFAA-A843-B4D4-BB41EDC646A4}" dt="2021-03-31T20:05:25.219" v="11639" actId="1076"/>
          <ac:grpSpMkLst>
            <pc:docMk/>
            <pc:sldMk cId="2814166891" sldId="1723"/>
            <ac:grpSpMk id="48" creationId="{BAA49E14-2961-DD4E-9D94-526C9BDB2AF9}"/>
          </ac:grpSpMkLst>
        </pc:grpChg>
        <pc:grpChg chg="mod">
          <ac:chgData name="Lamb, Ben" userId="88a6f5f3-f9e5-47eb-a109-670a0c68440d" providerId="ADAL" clId="{61283625-AFAA-A843-B4D4-BB41EDC646A4}" dt="2021-03-31T20:05:43.319" v="11644" actId="1076"/>
          <ac:grpSpMkLst>
            <pc:docMk/>
            <pc:sldMk cId="2814166891" sldId="1723"/>
            <ac:grpSpMk id="54" creationId="{AECB0851-EF9D-D248-BAC4-53187CCD9F4C}"/>
          </ac:grpSpMkLst>
        </pc:grpChg>
        <pc:grpChg chg="mod">
          <ac:chgData name="Lamb, Ben" userId="88a6f5f3-f9e5-47eb-a109-670a0c68440d" providerId="ADAL" clId="{61283625-AFAA-A843-B4D4-BB41EDC646A4}" dt="2021-03-31T20:05:45.929" v="11645" actId="1076"/>
          <ac:grpSpMkLst>
            <pc:docMk/>
            <pc:sldMk cId="2814166891" sldId="1723"/>
            <ac:grpSpMk id="58" creationId="{08F3CE03-3553-D14F-9087-83CA63E5C39C}"/>
          </ac:grpSpMkLst>
        </pc:grpChg>
        <pc:grpChg chg="mod">
          <ac:chgData name="Lamb, Ben" userId="88a6f5f3-f9e5-47eb-a109-670a0c68440d" providerId="ADAL" clId="{61283625-AFAA-A843-B4D4-BB41EDC646A4}" dt="2021-03-31T20:05:51.484" v="11646" actId="1076"/>
          <ac:grpSpMkLst>
            <pc:docMk/>
            <pc:sldMk cId="2814166891" sldId="1723"/>
            <ac:grpSpMk id="61" creationId="{F1C39678-EFA0-214F-A9C6-7D4787298A91}"/>
          </ac:grpSpMkLst>
        </pc:grpChg>
        <pc:grpChg chg="mod">
          <ac:chgData name="Lamb, Ben" userId="88a6f5f3-f9e5-47eb-a109-670a0c68440d" providerId="ADAL" clId="{61283625-AFAA-A843-B4D4-BB41EDC646A4}" dt="2021-03-31T20:05:54.567" v="11647" actId="1076"/>
          <ac:grpSpMkLst>
            <pc:docMk/>
            <pc:sldMk cId="2814166891" sldId="1723"/>
            <ac:grpSpMk id="64" creationId="{387D7E53-35FE-434B-B7E5-7C36F414E999}"/>
          </ac:grpSpMkLst>
        </pc:grpChg>
        <pc:grpChg chg="del mod">
          <ac:chgData name="Lamb, Ben" userId="88a6f5f3-f9e5-47eb-a109-670a0c68440d" providerId="ADAL" clId="{61283625-AFAA-A843-B4D4-BB41EDC646A4}" dt="2021-03-31T19:52:00.039" v="11378" actId="478"/>
          <ac:grpSpMkLst>
            <pc:docMk/>
            <pc:sldMk cId="2814166891" sldId="1723"/>
            <ac:grpSpMk id="72" creationId="{C4DB9CD2-E2AB-CA4C-B5FA-F7B7C668067C}"/>
          </ac:grpSpMkLst>
        </pc:grpChg>
        <pc:grpChg chg="del">
          <ac:chgData name="Lamb, Ben" userId="88a6f5f3-f9e5-47eb-a109-670a0c68440d" providerId="ADAL" clId="{61283625-AFAA-A843-B4D4-BB41EDC646A4}" dt="2021-03-31T19:47:39.613" v="11277" actId="478"/>
          <ac:grpSpMkLst>
            <pc:docMk/>
            <pc:sldMk cId="2814166891" sldId="1723"/>
            <ac:grpSpMk id="86" creationId="{E54DB785-639E-6B4C-B735-FE26792999A8}"/>
          </ac:grpSpMkLst>
        </pc:grpChg>
        <pc:grpChg chg="del">
          <ac:chgData name="Lamb, Ben" userId="88a6f5f3-f9e5-47eb-a109-670a0c68440d" providerId="ADAL" clId="{61283625-AFAA-A843-B4D4-BB41EDC646A4}" dt="2021-03-31T19:51:49.650" v="11374" actId="478"/>
          <ac:grpSpMkLst>
            <pc:docMk/>
            <pc:sldMk cId="2814166891" sldId="1723"/>
            <ac:grpSpMk id="97" creationId="{5594E0EE-E71C-1C43-B10F-66D95001208A}"/>
          </ac:grpSpMkLst>
        </pc:grpChg>
        <pc:grpChg chg="del">
          <ac:chgData name="Lamb, Ben" userId="88a6f5f3-f9e5-47eb-a109-670a0c68440d" providerId="ADAL" clId="{61283625-AFAA-A843-B4D4-BB41EDC646A4}" dt="2021-03-31T19:51:58.307" v="11377" actId="478"/>
          <ac:grpSpMkLst>
            <pc:docMk/>
            <pc:sldMk cId="2814166891" sldId="1723"/>
            <ac:grpSpMk id="103" creationId="{10298A58-15CC-5444-9806-5D0000234536}"/>
          </ac:grpSpMkLst>
        </pc:grpChg>
        <pc:grpChg chg="del">
          <ac:chgData name="Lamb, Ben" userId="88a6f5f3-f9e5-47eb-a109-670a0c68440d" providerId="ADAL" clId="{61283625-AFAA-A843-B4D4-BB41EDC646A4}" dt="2021-03-31T19:51:49.650" v="11374" actId="478"/>
          <ac:grpSpMkLst>
            <pc:docMk/>
            <pc:sldMk cId="2814166891" sldId="1723"/>
            <ac:grpSpMk id="106" creationId="{EB7B1966-92F0-E643-8FC8-0043B9C72AEA}"/>
          </ac:grpSpMkLst>
        </pc:grpChg>
        <pc:grpChg chg="del">
          <ac:chgData name="Lamb, Ben" userId="88a6f5f3-f9e5-47eb-a109-670a0c68440d" providerId="ADAL" clId="{61283625-AFAA-A843-B4D4-BB41EDC646A4}" dt="2021-03-31T19:51:49.650" v="11374" actId="478"/>
          <ac:grpSpMkLst>
            <pc:docMk/>
            <pc:sldMk cId="2814166891" sldId="1723"/>
            <ac:grpSpMk id="117" creationId="{F53857B4-CCD6-CE46-84BF-05B52B348D44}"/>
          </ac:grpSpMkLst>
        </pc:grpChg>
        <pc:grpChg chg="del">
          <ac:chgData name="Lamb, Ben" userId="88a6f5f3-f9e5-47eb-a109-670a0c68440d" providerId="ADAL" clId="{61283625-AFAA-A843-B4D4-BB41EDC646A4}" dt="2021-03-31T19:51:49.650" v="11374" actId="478"/>
          <ac:grpSpMkLst>
            <pc:docMk/>
            <pc:sldMk cId="2814166891" sldId="1723"/>
            <ac:grpSpMk id="124" creationId="{47EF67BB-1D55-4D45-B281-5302F400BAED}"/>
          </ac:grpSpMkLst>
        </pc:grpChg>
        <pc:grpChg chg="del">
          <ac:chgData name="Lamb, Ben" userId="88a6f5f3-f9e5-47eb-a109-670a0c68440d" providerId="ADAL" clId="{61283625-AFAA-A843-B4D4-BB41EDC646A4}" dt="2021-03-31T19:51:53.608" v="11375" actId="478"/>
          <ac:grpSpMkLst>
            <pc:docMk/>
            <pc:sldMk cId="2814166891" sldId="1723"/>
            <ac:grpSpMk id="127" creationId="{A48F1CD5-CF01-B642-9A4B-60021964915E}"/>
          </ac:grpSpMkLst>
        </pc:grpChg>
        <pc:grpChg chg="del">
          <ac:chgData name="Lamb, Ben" userId="88a6f5f3-f9e5-47eb-a109-670a0c68440d" providerId="ADAL" clId="{61283625-AFAA-A843-B4D4-BB41EDC646A4}" dt="2021-03-31T19:51:49.650" v="11374" actId="478"/>
          <ac:grpSpMkLst>
            <pc:docMk/>
            <pc:sldMk cId="2814166891" sldId="1723"/>
            <ac:grpSpMk id="130" creationId="{D1AA21A9-F33C-2A47-B748-32707F5146A1}"/>
          </ac:grpSpMkLst>
        </pc:grpChg>
        <pc:grpChg chg="del">
          <ac:chgData name="Lamb, Ben" userId="88a6f5f3-f9e5-47eb-a109-670a0c68440d" providerId="ADAL" clId="{61283625-AFAA-A843-B4D4-BB41EDC646A4}" dt="2021-03-31T19:51:49.650" v="11374" actId="478"/>
          <ac:grpSpMkLst>
            <pc:docMk/>
            <pc:sldMk cId="2814166891" sldId="1723"/>
            <ac:grpSpMk id="141" creationId="{87E719C2-58C3-3A48-9E2C-9FC4EEA91294}"/>
          </ac:grpSpMkLst>
        </pc:grpChg>
        <pc:grpChg chg="add mod">
          <ac:chgData name="Lamb, Ben" userId="88a6f5f3-f9e5-47eb-a109-670a0c68440d" providerId="ADAL" clId="{61283625-AFAA-A843-B4D4-BB41EDC646A4}" dt="2021-03-31T20:05:09.110" v="11633" actId="1076"/>
          <ac:grpSpMkLst>
            <pc:docMk/>
            <pc:sldMk cId="2814166891" sldId="1723"/>
            <ac:grpSpMk id="167" creationId="{807B9268-1C10-864B-8046-3C97A94910AF}"/>
          </ac:grpSpMkLst>
        </pc:grpChg>
        <pc:cxnChg chg="del">
          <ac:chgData name="Lamb, Ben" userId="88a6f5f3-f9e5-47eb-a109-670a0c68440d" providerId="ADAL" clId="{61283625-AFAA-A843-B4D4-BB41EDC646A4}" dt="2021-03-31T19:51:49.650" v="11374" actId="478"/>
          <ac:cxnSpMkLst>
            <pc:docMk/>
            <pc:sldMk cId="2814166891" sldId="1723"/>
            <ac:cxnSpMk id="28" creationId="{E7D73830-D2AD-C343-9B41-8874A84525A6}"/>
          </ac:cxnSpMkLst>
        </pc:cxnChg>
        <pc:cxnChg chg="del">
          <ac:chgData name="Lamb, Ben" userId="88a6f5f3-f9e5-47eb-a109-670a0c68440d" providerId="ADAL" clId="{61283625-AFAA-A843-B4D4-BB41EDC646A4}" dt="2021-03-31T19:47:40.784" v="11278" actId="478"/>
          <ac:cxnSpMkLst>
            <pc:docMk/>
            <pc:sldMk cId="2814166891" sldId="1723"/>
            <ac:cxnSpMk id="29" creationId="{90ADB5BA-6AAD-9744-88E1-798097B04CE6}"/>
          </ac:cxnSpMkLst>
        </pc:cxnChg>
        <pc:cxnChg chg="del">
          <ac:chgData name="Lamb, Ben" userId="88a6f5f3-f9e5-47eb-a109-670a0c68440d" providerId="ADAL" clId="{61283625-AFAA-A843-B4D4-BB41EDC646A4}" dt="2021-03-31T19:51:49.650" v="11374" actId="478"/>
          <ac:cxnSpMkLst>
            <pc:docMk/>
            <pc:sldMk cId="2814166891" sldId="1723"/>
            <ac:cxnSpMk id="30" creationId="{CCA99453-FC98-F64B-8812-86DF19D25B23}"/>
          </ac:cxnSpMkLst>
        </pc:cxnChg>
        <pc:cxnChg chg="del">
          <ac:chgData name="Lamb, Ben" userId="88a6f5f3-f9e5-47eb-a109-670a0c68440d" providerId="ADAL" clId="{61283625-AFAA-A843-B4D4-BB41EDC646A4}" dt="2021-03-31T19:51:49.650" v="11374" actId="478"/>
          <ac:cxnSpMkLst>
            <pc:docMk/>
            <pc:sldMk cId="2814166891" sldId="1723"/>
            <ac:cxnSpMk id="37" creationId="{2E9C1E03-089B-F94B-B6E9-99314F21BEBB}"/>
          </ac:cxnSpMkLst>
        </pc:cxnChg>
        <pc:cxnChg chg="add del mod">
          <ac:chgData name="Lamb, Ben" userId="88a6f5f3-f9e5-47eb-a109-670a0c68440d" providerId="ADAL" clId="{61283625-AFAA-A843-B4D4-BB41EDC646A4}" dt="2021-03-31T19:52:00.039" v="11378" actId="478"/>
          <ac:cxnSpMkLst>
            <pc:docMk/>
            <pc:sldMk cId="2814166891" sldId="1723"/>
            <ac:cxnSpMk id="38" creationId="{A52ECCEE-C5F9-7849-A7ED-BF419FAF0937}"/>
          </ac:cxnSpMkLst>
        </pc:cxnChg>
        <pc:cxnChg chg="del">
          <ac:chgData name="Lamb, Ben" userId="88a6f5f3-f9e5-47eb-a109-670a0c68440d" providerId="ADAL" clId="{61283625-AFAA-A843-B4D4-BB41EDC646A4}" dt="2021-03-31T19:51:49.650" v="11374" actId="478"/>
          <ac:cxnSpMkLst>
            <pc:docMk/>
            <pc:sldMk cId="2814166891" sldId="1723"/>
            <ac:cxnSpMk id="40" creationId="{AE58ACAE-3FFA-6446-ABD8-F1FB5F1A6A87}"/>
          </ac:cxnSpMkLst>
        </pc:cxnChg>
        <pc:cxnChg chg="del">
          <ac:chgData name="Lamb, Ben" userId="88a6f5f3-f9e5-47eb-a109-670a0c68440d" providerId="ADAL" clId="{61283625-AFAA-A843-B4D4-BB41EDC646A4}" dt="2021-03-31T19:51:53.608" v="11375" actId="478"/>
          <ac:cxnSpMkLst>
            <pc:docMk/>
            <pc:sldMk cId="2814166891" sldId="1723"/>
            <ac:cxnSpMk id="41" creationId="{DD270770-EFB9-A047-BB47-A52E2392C9EB}"/>
          </ac:cxnSpMkLst>
        </pc:cxnChg>
        <pc:cxnChg chg="del">
          <ac:chgData name="Lamb, Ben" userId="88a6f5f3-f9e5-47eb-a109-670a0c68440d" providerId="ADAL" clId="{61283625-AFAA-A843-B4D4-BB41EDC646A4}" dt="2021-03-31T19:51:49.650" v="11374" actId="478"/>
          <ac:cxnSpMkLst>
            <pc:docMk/>
            <pc:sldMk cId="2814166891" sldId="1723"/>
            <ac:cxnSpMk id="44" creationId="{7CE34008-E192-7F46-BF25-65E836794896}"/>
          </ac:cxnSpMkLst>
        </pc:cxnChg>
        <pc:cxnChg chg="del">
          <ac:chgData name="Lamb, Ben" userId="88a6f5f3-f9e5-47eb-a109-670a0c68440d" providerId="ADAL" clId="{61283625-AFAA-A843-B4D4-BB41EDC646A4}" dt="2021-03-31T19:51:49.650" v="11374" actId="478"/>
          <ac:cxnSpMkLst>
            <pc:docMk/>
            <pc:sldMk cId="2814166891" sldId="1723"/>
            <ac:cxnSpMk id="46" creationId="{15406969-C55E-324A-85C9-7DF283F91F15}"/>
          </ac:cxnSpMkLst>
        </pc:cxnChg>
        <pc:cxnChg chg="del">
          <ac:chgData name="Lamb, Ben" userId="88a6f5f3-f9e5-47eb-a109-670a0c68440d" providerId="ADAL" clId="{61283625-AFAA-A843-B4D4-BB41EDC646A4}" dt="2021-03-31T19:51:49.650" v="11374" actId="478"/>
          <ac:cxnSpMkLst>
            <pc:docMk/>
            <pc:sldMk cId="2814166891" sldId="1723"/>
            <ac:cxnSpMk id="47" creationId="{3D6AE52C-8458-4147-AA66-8DF1B4C59007}"/>
          </ac:cxnSpMkLst>
        </pc:cxnChg>
        <pc:cxnChg chg="add mod">
          <ac:chgData name="Lamb, Ben" userId="88a6f5f3-f9e5-47eb-a109-670a0c68440d" providerId="ADAL" clId="{61283625-AFAA-A843-B4D4-BB41EDC646A4}" dt="2021-03-31T20:05:09.110" v="11633" actId="1076"/>
          <ac:cxnSpMkLst>
            <pc:docMk/>
            <pc:sldMk cId="2814166891" sldId="1723"/>
            <ac:cxnSpMk id="150" creationId="{E91B9DA5-987F-764A-9E92-122218E8BD63}"/>
          </ac:cxnSpMkLst>
        </pc:cxnChg>
        <pc:cxnChg chg="add mod">
          <ac:chgData name="Lamb, Ben" userId="88a6f5f3-f9e5-47eb-a109-670a0c68440d" providerId="ADAL" clId="{61283625-AFAA-A843-B4D4-BB41EDC646A4}" dt="2021-03-31T20:05:09.110" v="11633" actId="1076"/>
          <ac:cxnSpMkLst>
            <pc:docMk/>
            <pc:sldMk cId="2814166891" sldId="1723"/>
            <ac:cxnSpMk id="152" creationId="{74EF7C31-1916-4946-848B-743D3C8A2206}"/>
          </ac:cxnSpMkLst>
        </pc:cxnChg>
        <pc:cxnChg chg="add mod">
          <ac:chgData name="Lamb, Ben" userId="88a6f5f3-f9e5-47eb-a109-670a0c68440d" providerId="ADAL" clId="{61283625-AFAA-A843-B4D4-BB41EDC646A4}" dt="2021-03-31T20:05:13.242" v="11635" actId="1035"/>
          <ac:cxnSpMkLst>
            <pc:docMk/>
            <pc:sldMk cId="2814166891" sldId="1723"/>
            <ac:cxnSpMk id="154" creationId="{373BD1E1-B42A-2542-AE45-9FA77B7D7B07}"/>
          </ac:cxnSpMkLst>
        </pc:cxnChg>
        <pc:cxnChg chg="add mod">
          <ac:chgData name="Lamb, Ben" userId="88a6f5f3-f9e5-47eb-a109-670a0c68440d" providerId="ADAL" clId="{61283625-AFAA-A843-B4D4-BB41EDC646A4}" dt="2021-03-31T20:05:13.242" v="11635" actId="1035"/>
          <ac:cxnSpMkLst>
            <pc:docMk/>
            <pc:sldMk cId="2814166891" sldId="1723"/>
            <ac:cxnSpMk id="156" creationId="{A0BD0C4B-F7E0-0E42-AA61-E410AF16999C}"/>
          </ac:cxnSpMkLst>
        </pc:cxnChg>
        <pc:cxnChg chg="add mod">
          <ac:chgData name="Lamb, Ben" userId="88a6f5f3-f9e5-47eb-a109-670a0c68440d" providerId="ADAL" clId="{61283625-AFAA-A843-B4D4-BB41EDC646A4}" dt="2021-03-31T20:05:13.242" v="11635" actId="1035"/>
          <ac:cxnSpMkLst>
            <pc:docMk/>
            <pc:sldMk cId="2814166891" sldId="1723"/>
            <ac:cxnSpMk id="157" creationId="{53DD9FF3-DDD6-A54D-B5B7-B44B7DC98A74}"/>
          </ac:cxnSpMkLst>
        </pc:cxnChg>
        <pc:cxnChg chg="add mod">
          <ac:chgData name="Lamb, Ben" userId="88a6f5f3-f9e5-47eb-a109-670a0c68440d" providerId="ADAL" clId="{61283625-AFAA-A843-B4D4-BB41EDC646A4}" dt="2021-03-31T20:05:09.110" v="11633" actId="1076"/>
          <ac:cxnSpMkLst>
            <pc:docMk/>
            <pc:sldMk cId="2814166891" sldId="1723"/>
            <ac:cxnSpMk id="159" creationId="{D93DE573-43B9-3544-8647-BE2FC39A6D25}"/>
          </ac:cxnSpMkLst>
        </pc:cxnChg>
        <pc:cxnChg chg="add del mod">
          <ac:chgData name="Lamb, Ben" userId="88a6f5f3-f9e5-47eb-a109-670a0c68440d" providerId="ADAL" clId="{61283625-AFAA-A843-B4D4-BB41EDC646A4}" dt="2021-03-31T19:52:38.953" v="11395"/>
          <ac:cxnSpMkLst>
            <pc:docMk/>
            <pc:sldMk cId="2814166891" sldId="1723"/>
            <ac:cxnSpMk id="163" creationId="{750EAD51-D91C-3841-B2A5-03BAEF359934}"/>
          </ac:cxnSpMkLst>
        </pc:cxnChg>
        <pc:cxnChg chg="add mod">
          <ac:chgData name="Lamb, Ben" userId="88a6f5f3-f9e5-47eb-a109-670a0c68440d" providerId="ADAL" clId="{61283625-AFAA-A843-B4D4-BB41EDC646A4}" dt="2021-03-31T20:05:09.110" v="11633" actId="1076"/>
          <ac:cxnSpMkLst>
            <pc:docMk/>
            <pc:sldMk cId="2814166891" sldId="1723"/>
            <ac:cxnSpMk id="165" creationId="{0AFFF7B1-2004-9549-A9CD-11FB9BFE6CBA}"/>
          </ac:cxnSpMkLst>
        </pc:cxnChg>
        <pc:cxnChg chg="add mod">
          <ac:chgData name="Lamb, Ben" userId="88a6f5f3-f9e5-47eb-a109-670a0c68440d" providerId="ADAL" clId="{61283625-AFAA-A843-B4D4-BB41EDC646A4}" dt="2021-03-31T20:05:09.110" v="11633" actId="1076"/>
          <ac:cxnSpMkLst>
            <pc:docMk/>
            <pc:sldMk cId="2814166891" sldId="1723"/>
            <ac:cxnSpMk id="166" creationId="{534E3EDB-AC43-C848-A4EF-9C95DA7ADE82}"/>
          </ac:cxnSpMkLst>
        </pc:cxnChg>
        <pc:cxnChg chg="add mod">
          <ac:chgData name="Lamb, Ben" userId="88a6f5f3-f9e5-47eb-a109-670a0c68440d" providerId="ADAL" clId="{61283625-AFAA-A843-B4D4-BB41EDC646A4}" dt="2021-03-31T20:05:09.110" v="11633" actId="1076"/>
          <ac:cxnSpMkLst>
            <pc:docMk/>
            <pc:sldMk cId="2814166891" sldId="1723"/>
            <ac:cxnSpMk id="172" creationId="{0084A0F3-7F3D-5447-94B7-F3367FB835A9}"/>
          </ac:cxnSpMkLst>
        </pc:cxnChg>
      </pc:sldChg>
      <pc:sldChg chg="addSp delSp modSp new mod modClrScheme chgLayout">
        <pc:chgData name="Lamb, Ben" userId="88a6f5f3-f9e5-47eb-a109-670a0c68440d" providerId="ADAL" clId="{61283625-AFAA-A843-B4D4-BB41EDC646A4}" dt="2021-03-31T20:09:45.039" v="11670" actId="20577"/>
        <pc:sldMkLst>
          <pc:docMk/>
          <pc:sldMk cId="581404038" sldId="1724"/>
        </pc:sldMkLst>
        <pc:spChg chg="del">
          <ac:chgData name="Lamb, Ben" userId="88a6f5f3-f9e5-47eb-a109-670a0c68440d" providerId="ADAL" clId="{61283625-AFAA-A843-B4D4-BB41EDC646A4}" dt="2021-03-31T20:09:17.793" v="11659" actId="700"/>
          <ac:spMkLst>
            <pc:docMk/>
            <pc:sldMk cId="581404038" sldId="1724"/>
            <ac:spMk id="2" creationId="{4F3AFA58-985D-B945-9199-C87552DD89AB}"/>
          </ac:spMkLst>
        </pc:spChg>
        <pc:spChg chg="del">
          <ac:chgData name="Lamb, Ben" userId="88a6f5f3-f9e5-47eb-a109-670a0c68440d" providerId="ADAL" clId="{61283625-AFAA-A843-B4D4-BB41EDC646A4}" dt="2021-03-31T20:09:17.793" v="11659" actId="700"/>
          <ac:spMkLst>
            <pc:docMk/>
            <pc:sldMk cId="581404038" sldId="1724"/>
            <ac:spMk id="3" creationId="{D85211DE-E0E0-CE49-A93C-DA989853BE18}"/>
          </ac:spMkLst>
        </pc:spChg>
        <pc:spChg chg="del">
          <ac:chgData name="Lamb, Ben" userId="88a6f5f3-f9e5-47eb-a109-670a0c68440d" providerId="ADAL" clId="{61283625-AFAA-A843-B4D4-BB41EDC646A4}" dt="2021-03-31T20:09:17.793" v="11659" actId="700"/>
          <ac:spMkLst>
            <pc:docMk/>
            <pc:sldMk cId="581404038" sldId="1724"/>
            <ac:spMk id="4" creationId="{137CBEE0-842B-DC44-B762-FB45F2884A12}"/>
          </ac:spMkLst>
        </pc:spChg>
        <pc:spChg chg="add del mod">
          <ac:chgData name="Lamb, Ben" userId="88a6f5f3-f9e5-47eb-a109-670a0c68440d" providerId="ADAL" clId="{61283625-AFAA-A843-B4D4-BB41EDC646A4}" dt="2021-03-31T20:09:42.694" v="11662" actId="700"/>
          <ac:spMkLst>
            <pc:docMk/>
            <pc:sldMk cId="581404038" sldId="1724"/>
            <ac:spMk id="5" creationId="{70FF69D2-307C-C146-848A-18126C8A4765}"/>
          </ac:spMkLst>
        </pc:spChg>
        <pc:spChg chg="add del mod ord">
          <ac:chgData name="Lamb, Ben" userId="88a6f5f3-f9e5-47eb-a109-670a0c68440d" providerId="ADAL" clId="{61283625-AFAA-A843-B4D4-BB41EDC646A4}" dt="2021-03-31T20:09:42.694" v="11662" actId="700"/>
          <ac:spMkLst>
            <pc:docMk/>
            <pc:sldMk cId="581404038" sldId="1724"/>
            <ac:spMk id="6" creationId="{32BA6AE5-6E5B-3A4B-8C37-94C9D8312701}"/>
          </ac:spMkLst>
        </pc:spChg>
        <pc:spChg chg="add del mod">
          <ac:chgData name="Lamb, Ben" userId="88a6f5f3-f9e5-47eb-a109-670a0c68440d" providerId="ADAL" clId="{61283625-AFAA-A843-B4D4-BB41EDC646A4}" dt="2021-03-31T20:09:42.694" v="11662" actId="700"/>
          <ac:spMkLst>
            <pc:docMk/>
            <pc:sldMk cId="581404038" sldId="1724"/>
            <ac:spMk id="7" creationId="{B4A13DC6-C943-EC43-9C10-677E57334FA0}"/>
          </ac:spMkLst>
        </pc:spChg>
        <pc:spChg chg="add mod ord">
          <ac:chgData name="Lamb, Ben" userId="88a6f5f3-f9e5-47eb-a109-670a0c68440d" providerId="ADAL" clId="{61283625-AFAA-A843-B4D4-BB41EDC646A4}" dt="2021-03-31T20:09:45.039" v="11670" actId="20577"/>
          <ac:spMkLst>
            <pc:docMk/>
            <pc:sldMk cId="581404038" sldId="1724"/>
            <ac:spMk id="8" creationId="{C3C178AD-02A1-4942-8024-FBC4657A120C}"/>
          </ac:spMkLst>
        </pc:spChg>
      </pc:sldChg>
      <pc:sldChg chg="addSp delSp modSp add del mod delCm">
        <pc:chgData name="Lamb, Ben" userId="88a6f5f3-f9e5-47eb-a109-670a0c68440d" providerId="ADAL" clId="{61283625-AFAA-A843-B4D4-BB41EDC646A4}" dt="2021-04-01T18:01:49.722" v="16598" actId="2696"/>
        <pc:sldMkLst>
          <pc:docMk/>
          <pc:sldMk cId="473805852" sldId="1725"/>
        </pc:sldMkLst>
        <pc:spChg chg="mod">
          <ac:chgData name="Lamb, Ben" userId="88a6f5f3-f9e5-47eb-a109-670a0c68440d" providerId="ADAL" clId="{61283625-AFAA-A843-B4D4-BB41EDC646A4}" dt="2021-04-01T14:15:30.197" v="13707" actId="20577"/>
          <ac:spMkLst>
            <pc:docMk/>
            <pc:sldMk cId="473805852" sldId="1725"/>
            <ac:spMk id="2" creationId="{6803BF32-346D-D848-BCA0-2E76713755FF}"/>
          </ac:spMkLst>
        </pc:spChg>
        <pc:spChg chg="add del mod">
          <ac:chgData name="Lamb, Ben" userId="88a6f5f3-f9e5-47eb-a109-670a0c68440d" providerId="ADAL" clId="{61283625-AFAA-A843-B4D4-BB41EDC646A4}" dt="2021-04-01T14:24:08.254" v="13716"/>
          <ac:spMkLst>
            <pc:docMk/>
            <pc:sldMk cId="473805852" sldId="1725"/>
            <ac:spMk id="4" creationId="{64C1B0D4-1373-8843-951E-228E42007F17}"/>
          </ac:spMkLst>
        </pc:spChg>
        <pc:spChg chg="mod">
          <ac:chgData name="Lamb, Ben" userId="88a6f5f3-f9e5-47eb-a109-670a0c68440d" providerId="ADAL" clId="{61283625-AFAA-A843-B4D4-BB41EDC646A4}" dt="2021-04-01T15:34:54.931" v="14017" actId="1076"/>
          <ac:spMkLst>
            <pc:docMk/>
            <pc:sldMk cId="473805852" sldId="1725"/>
            <ac:spMk id="5" creationId="{7496F3D1-9F54-414E-9E4A-CF185921593A}"/>
          </ac:spMkLst>
        </pc:spChg>
        <pc:spChg chg="del">
          <ac:chgData name="Lamb, Ben" userId="88a6f5f3-f9e5-47eb-a109-670a0c68440d" providerId="ADAL" clId="{61283625-AFAA-A843-B4D4-BB41EDC646A4}" dt="2021-04-01T14:39:48.252" v="13831" actId="478"/>
          <ac:spMkLst>
            <pc:docMk/>
            <pc:sldMk cId="473805852" sldId="1725"/>
            <ac:spMk id="6" creationId="{9EE36527-2B7C-D841-8BBA-39A4A301218D}"/>
          </ac:spMkLst>
        </pc:spChg>
        <pc:spChg chg="del">
          <ac:chgData name="Lamb, Ben" userId="88a6f5f3-f9e5-47eb-a109-670a0c68440d" providerId="ADAL" clId="{61283625-AFAA-A843-B4D4-BB41EDC646A4}" dt="2021-04-01T14:39:48.252" v="13831" actId="478"/>
          <ac:spMkLst>
            <pc:docMk/>
            <pc:sldMk cId="473805852" sldId="1725"/>
            <ac:spMk id="7" creationId="{7EC2D5C7-3065-C042-B369-CA2C2309D512}"/>
          </ac:spMkLst>
        </pc:spChg>
        <pc:spChg chg="del mod">
          <ac:chgData name="Lamb, Ben" userId="88a6f5f3-f9e5-47eb-a109-670a0c68440d" providerId="ADAL" clId="{61283625-AFAA-A843-B4D4-BB41EDC646A4}" dt="2021-04-01T14:39:48.252" v="13831" actId="478"/>
          <ac:spMkLst>
            <pc:docMk/>
            <pc:sldMk cId="473805852" sldId="1725"/>
            <ac:spMk id="9" creationId="{FC47455C-BE5E-9B46-A8F2-33D49C655F92}"/>
          </ac:spMkLst>
        </pc:spChg>
        <pc:spChg chg="del">
          <ac:chgData name="Lamb, Ben" userId="88a6f5f3-f9e5-47eb-a109-670a0c68440d" providerId="ADAL" clId="{61283625-AFAA-A843-B4D4-BB41EDC646A4}" dt="2021-04-01T14:39:48.252" v="13831" actId="478"/>
          <ac:spMkLst>
            <pc:docMk/>
            <pc:sldMk cId="473805852" sldId="1725"/>
            <ac:spMk id="12" creationId="{4793E1DF-A8BA-4B45-814D-CE4487530B8C}"/>
          </ac:spMkLst>
        </pc:spChg>
        <pc:spChg chg="del">
          <ac:chgData name="Lamb, Ben" userId="88a6f5f3-f9e5-47eb-a109-670a0c68440d" providerId="ADAL" clId="{61283625-AFAA-A843-B4D4-BB41EDC646A4}" dt="2021-04-01T14:24:01.485" v="13714" actId="478"/>
          <ac:spMkLst>
            <pc:docMk/>
            <pc:sldMk cId="473805852" sldId="1725"/>
            <ac:spMk id="13" creationId="{35C1F822-75BF-944C-B30D-BAEED58529DB}"/>
          </ac:spMkLst>
        </pc:spChg>
        <pc:spChg chg="del mod">
          <ac:chgData name="Lamb, Ben" userId="88a6f5f3-f9e5-47eb-a109-670a0c68440d" providerId="ADAL" clId="{61283625-AFAA-A843-B4D4-BB41EDC646A4}" dt="2021-04-01T14:39:48.252" v="13831" actId="478"/>
          <ac:spMkLst>
            <pc:docMk/>
            <pc:sldMk cId="473805852" sldId="1725"/>
            <ac:spMk id="14" creationId="{D9574139-CC82-2D45-8309-DFE356415800}"/>
          </ac:spMkLst>
        </pc:spChg>
        <pc:spChg chg="del">
          <ac:chgData name="Lamb, Ben" userId="88a6f5f3-f9e5-47eb-a109-670a0c68440d" providerId="ADAL" clId="{61283625-AFAA-A843-B4D4-BB41EDC646A4}" dt="2021-04-01T14:39:48.252" v="13831" actId="478"/>
          <ac:spMkLst>
            <pc:docMk/>
            <pc:sldMk cId="473805852" sldId="1725"/>
            <ac:spMk id="16" creationId="{291918C6-3E93-D843-939D-63ADA0C0955E}"/>
          </ac:spMkLst>
        </pc:spChg>
        <pc:spChg chg="del mod">
          <ac:chgData name="Lamb, Ben" userId="88a6f5f3-f9e5-47eb-a109-670a0c68440d" providerId="ADAL" clId="{61283625-AFAA-A843-B4D4-BB41EDC646A4}" dt="2021-04-01T14:39:48.252" v="13831" actId="478"/>
          <ac:spMkLst>
            <pc:docMk/>
            <pc:sldMk cId="473805852" sldId="1725"/>
            <ac:spMk id="17" creationId="{77B6C6D4-65BE-7F48-B2CB-57B2B02D15B5}"/>
          </ac:spMkLst>
        </pc:spChg>
        <pc:spChg chg="del">
          <ac:chgData name="Lamb, Ben" userId="88a6f5f3-f9e5-47eb-a109-670a0c68440d" providerId="ADAL" clId="{61283625-AFAA-A843-B4D4-BB41EDC646A4}" dt="2021-04-01T14:23:41.134" v="13708" actId="478"/>
          <ac:spMkLst>
            <pc:docMk/>
            <pc:sldMk cId="473805852" sldId="1725"/>
            <ac:spMk id="20" creationId="{364210EB-9D1B-7E42-978B-D54156F318C8}"/>
          </ac:spMkLst>
        </pc:spChg>
        <pc:spChg chg="del">
          <ac:chgData name="Lamb, Ben" userId="88a6f5f3-f9e5-47eb-a109-670a0c68440d" providerId="ADAL" clId="{61283625-AFAA-A843-B4D4-BB41EDC646A4}" dt="2021-04-01T14:23:41.134" v="13708" actId="478"/>
          <ac:spMkLst>
            <pc:docMk/>
            <pc:sldMk cId="473805852" sldId="1725"/>
            <ac:spMk id="21" creationId="{F1958830-145C-984D-9030-71E69425D5D2}"/>
          </ac:spMkLst>
        </pc:spChg>
        <pc:spChg chg="del">
          <ac:chgData name="Lamb, Ben" userId="88a6f5f3-f9e5-47eb-a109-670a0c68440d" providerId="ADAL" clId="{61283625-AFAA-A843-B4D4-BB41EDC646A4}" dt="2021-04-01T14:39:48.252" v="13831" actId="478"/>
          <ac:spMkLst>
            <pc:docMk/>
            <pc:sldMk cId="473805852" sldId="1725"/>
            <ac:spMk id="23" creationId="{343932C0-2353-7C4E-8CE4-C1348C669375}"/>
          </ac:spMkLst>
        </pc:spChg>
        <pc:spChg chg="del mod">
          <ac:chgData name="Lamb, Ben" userId="88a6f5f3-f9e5-47eb-a109-670a0c68440d" providerId="ADAL" clId="{61283625-AFAA-A843-B4D4-BB41EDC646A4}" dt="2021-04-01T14:39:48.252" v="13831" actId="478"/>
          <ac:spMkLst>
            <pc:docMk/>
            <pc:sldMk cId="473805852" sldId="1725"/>
            <ac:spMk id="24" creationId="{05753340-1ED1-0B45-9528-C8FB88C5B924}"/>
          </ac:spMkLst>
        </pc:spChg>
        <pc:spChg chg="del mod">
          <ac:chgData name="Lamb, Ben" userId="88a6f5f3-f9e5-47eb-a109-670a0c68440d" providerId="ADAL" clId="{61283625-AFAA-A843-B4D4-BB41EDC646A4}" dt="2021-04-01T14:39:48.252" v="13831" actId="478"/>
          <ac:spMkLst>
            <pc:docMk/>
            <pc:sldMk cId="473805852" sldId="1725"/>
            <ac:spMk id="30" creationId="{D422DB41-3AB0-2648-B589-864A6BEEF597}"/>
          </ac:spMkLst>
        </pc:spChg>
        <pc:spChg chg="del">
          <ac:chgData name="Lamb, Ben" userId="88a6f5f3-f9e5-47eb-a109-670a0c68440d" providerId="ADAL" clId="{61283625-AFAA-A843-B4D4-BB41EDC646A4}" dt="2021-04-01T14:23:41.134" v="13708" actId="478"/>
          <ac:spMkLst>
            <pc:docMk/>
            <pc:sldMk cId="473805852" sldId="1725"/>
            <ac:spMk id="33" creationId="{E6C1EB0B-D6C7-8844-A72A-363F4C64F301}"/>
          </ac:spMkLst>
        </pc:spChg>
        <pc:spChg chg="del">
          <ac:chgData name="Lamb, Ben" userId="88a6f5f3-f9e5-47eb-a109-670a0c68440d" providerId="ADAL" clId="{61283625-AFAA-A843-B4D4-BB41EDC646A4}" dt="2021-04-01T14:39:48.252" v="13831" actId="478"/>
          <ac:spMkLst>
            <pc:docMk/>
            <pc:sldMk cId="473805852" sldId="1725"/>
            <ac:spMk id="46" creationId="{3DD6E6F6-7978-A745-96B6-413A8E752BEB}"/>
          </ac:spMkLst>
        </pc:spChg>
        <pc:spChg chg="add del mod">
          <ac:chgData name="Lamb, Ben" userId="88a6f5f3-f9e5-47eb-a109-670a0c68440d" providerId="ADAL" clId="{61283625-AFAA-A843-B4D4-BB41EDC646A4}" dt="2021-04-01T14:39:48.252" v="13831" actId="478"/>
          <ac:spMkLst>
            <pc:docMk/>
            <pc:sldMk cId="473805852" sldId="1725"/>
            <ac:spMk id="49" creationId="{D81F77F7-112A-4E44-86C6-201121294198}"/>
          </ac:spMkLst>
        </pc:spChg>
        <pc:spChg chg="del">
          <ac:chgData name="Lamb, Ben" userId="88a6f5f3-f9e5-47eb-a109-670a0c68440d" providerId="ADAL" clId="{61283625-AFAA-A843-B4D4-BB41EDC646A4}" dt="2021-04-01T14:39:48.252" v="13831" actId="478"/>
          <ac:spMkLst>
            <pc:docMk/>
            <pc:sldMk cId="473805852" sldId="1725"/>
            <ac:spMk id="53" creationId="{E3DC0D3C-7BDA-9349-A187-4CFBCA7DFEE5}"/>
          </ac:spMkLst>
        </pc:spChg>
        <pc:spChg chg="add del mod">
          <ac:chgData name="Lamb, Ben" userId="88a6f5f3-f9e5-47eb-a109-670a0c68440d" providerId="ADAL" clId="{61283625-AFAA-A843-B4D4-BB41EDC646A4}" dt="2021-04-01T14:34:32.264" v="13791" actId="478"/>
          <ac:spMkLst>
            <pc:docMk/>
            <pc:sldMk cId="473805852" sldId="1725"/>
            <ac:spMk id="56" creationId="{17355683-1F56-3E4C-BC7C-9B5B5B8D10A4}"/>
          </ac:spMkLst>
        </pc:spChg>
        <pc:spChg chg="add del mod">
          <ac:chgData name="Lamb, Ben" userId="88a6f5f3-f9e5-47eb-a109-670a0c68440d" providerId="ADAL" clId="{61283625-AFAA-A843-B4D4-BB41EDC646A4}" dt="2021-04-01T14:39:48.252" v="13831" actId="478"/>
          <ac:spMkLst>
            <pc:docMk/>
            <pc:sldMk cId="473805852" sldId="1725"/>
            <ac:spMk id="57" creationId="{803EED92-E826-1A40-BA11-65649C95FD7D}"/>
          </ac:spMkLst>
        </pc:spChg>
        <pc:spChg chg="add del mod">
          <ac:chgData name="Lamb, Ben" userId="88a6f5f3-f9e5-47eb-a109-670a0c68440d" providerId="ADAL" clId="{61283625-AFAA-A843-B4D4-BB41EDC646A4}" dt="2021-04-01T16:08:02.003" v="14814" actId="478"/>
          <ac:spMkLst>
            <pc:docMk/>
            <pc:sldMk cId="473805852" sldId="1725"/>
            <ac:spMk id="71" creationId="{0A627191-953E-2E4E-B065-D2E7CE7B01F9}"/>
          </ac:spMkLst>
        </pc:spChg>
        <pc:spChg chg="del">
          <ac:chgData name="Lamb, Ben" userId="88a6f5f3-f9e5-47eb-a109-670a0c68440d" providerId="ADAL" clId="{61283625-AFAA-A843-B4D4-BB41EDC646A4}" dt="2021-04-01T14:23:41.134" v="13708" actId="478"/>
          <ac:spMkLst>
            <pc:docMk/>
            <pc:sldMk cId="473805852" sldId="1725"/>
            <ac:spMk id="73" creationId="{01103F7B-1CFB-6844-860B-AEB366E7B385}"/>
          </ac:spMkLst>
        </pc:spChg>
        <pc:spChg chg="add del mod topLvl">
          <ac:chgData name="Lamb, Ben" userId="88a6f5f3-f9e5-47eb-a109-670a0c68440d" providerId="ADAL" clId="{61283625-AFAA-A843-B4D4-BB41EDC646A4}" dt="2021-04-01T16:08:02.003" v="14814" actId="478"/>
          <ac:spMkLst>
            <pc:docMk/>
            <pc:sldMk cId="473805852" sldId="1725"/>
            <ac:spMk id="74" creationId="{AC59E981-4840-A441-92F1-E55F0A4DC429}"/>
          </ac:spMkLst>
        </pc:spChg>
        <pc:spChg chg="del">
          <ac:chgData name="Lamb, Ben" userId="88a6f5f3-f9e5-47eb-a109-670a0c68440d" providerId="ADAL" clId="{61283625-AFAA-A843-B4D4-BB41EDC646A4}" dt="2021-04-01T14:39:48.252" v="13831" actId="478"/>
          <ac:spMkLst>
            <pc:docMk/>
            <pc:sldMk cId="473805852" sldId="1725"/>
            <ac:spMk id="75" creationId="{1D20A48F-6194-5D40-BAE0-39708E686180}"/>
          </ac:spMkLst>
        </pc:spChg>
        <pc:spChg chg="del">
          <ac:chgData name="Lamb, Ben" userId="88a6f5f3-f9e5-47eb-a109-670a0c68440d" providerId="ADAL" clId="{61283625-AFAA-A843-B4D4-BB41EDC646A4}" dt="2021-04-01T14:39:48.252" v="13831" actId="478"/>
          <ac:spMkLst>
            <pc:docMk/>
            <pc:sldMk cId="473805852" sldId="1725"/>
            <ac:spMk id="76" creationId="{80FA2994-89D5-F046-A9FE-C07099E0D98A}"/>
          </ac:spMkLst>
        </pc:spChg>
        <pc:spChg chg="del mod">
          <ac:chgData name="Lamb, Ben" userId="88a6f5f3-f9e5-47eb-a109-670a0c68440d" providerId="ADAL" clId="{61283625-AFAA-A843-B4D4-BB41EDC646A4}" dt="2021-04-01T14:39:48.252" v="13831" actId="478"/>
          <ac:spMkLst>
            <pc:docMk/>
            <pc:sldMk cId="473805852" sldId="1725"/>
            <ac:spMk id="77" creationId="{EEF5EC48-FE02-8C4C-9084-C90BFDF0B99C}"/>
          </ac:spMkLst>
        </pc:spChg>
        <pc:spChg chg="del mod topLvl">
          <ac:chgData name="Lamb, Ben" userId="88a6f5f3-f9e5-47eb-a109-670a0c68440d" providerId="ADAL" clId="{61283625-AFAA-A843-B4D4-BB41EDC646A4}" dt="2021-04-01T14:42:11.941" v="13869" actId="478"/>
          <ac:spMkLst>
            <pc:docMk/>
            <pc:sldMk cId="473805852" sldId="1725"/>
            <ac:spMk id="78" creationId="{94127B66-C714-C14A-863F-3CA709123017}"/>
          </ac:spMkLst>
        </pc:spChg>
        <pc:spChg chg="add del mod">
          <ac:chgData name="Lamb, Ben" userId="88a6f5f3-f9e5-47eb-a109-670a0c68440d" providerId="ADAL" clId="{61283625-AFAA-A843-B4D4-BB41EDC646A4}" dt="2021-04-01T16:08:02.003" v="14814" actId="478"/>
          <ac:spMkLst>
            <pc:docMk/>
            <pc:sldMk cId="473805852" sldId="1725"/>
            <ac:spMk id="81" creationId="{834A42ED-DEB5-F240-826D-AD52C3886702}"/>
          </ac:spMkLst>
        </pc:spChg>
        <pc:spChg chg="del">
          <ac:chgData name="Lamb, Ben" userId="88a6f5f3-f9e5-47eb-a109-670a0c68440d" providerId="ADAL" clId="{61283625-AFAA-A843-B4D4-BB41EDC646A4}" dt="2021-04-01T14:39:48.252" v="13831" actId="478"/>
          <ac:spMkLst>
            <pc:docMk/>
            <pc:sldMk cId="473805852" sldId="1725"/>
            <ac:spMk id="83" creationId="{74411139-3E4B-9642-B97E-20F088FEEEA5}"/>
          </ac:spMkLst>
        </pc:spChg>
        <pc:spChg chg="add del mod topLvl">
          <ac:chgData name="Lamb, Ben" userId="88a6f5f3-f9e5-47eb-a109-670a0c68440d" providerId="ADAL" clId="{61283625-AFAA-A843-B4D4-BB41EDC646A4}" dt="2021-04-01T16:08:02.003" v="14814" actId="478"/>
          <ac:spMkLst>
            <pc:docMk/>
            <pc:sldMk cId="473805852" sldId="1725"/>
            <ac:spMk id="84" creationId="{7B2EE784-21E2-8C4E-B2FA-C34E222434B0}"/>
          </ac:spMkLst>
        </pc:spChg>
        <pc:spChg chg="del mod topLvl">
          <ac:chgData name="Lamb, Ben" userId="88a6f5f3-f9e5-47eb-a109-670a0c68440d" providerId="ADAL" clId="{61283625-AFAA-A843-B4D4-BB41EDC646A4}" dt="2021-04-01T14:42:18.718" v="13872" actId="478"/>
          <ac:spMkLst>
            <pc:docMk/>
            <pc:sldMk cId="473805852" sldId="1725"/>
            <ac:spMk id="86" creationId="{97669065-FFC1-0343-ADEE-BE054786E96D}"/>
          </ac:spMkLst>
        </pc:spChg>
        <pc:spChg chg="add del mod">
          <ac:chgData name="Lamb, Ben" userId="88a6f5f3-f9e5-47eb-a109-670a0c68440d" providerId="ADAL" clId="{61283625-AFAA-A843-B4D4-BB41EDC646A4}" dt="2021-04-01T16:08:02.003" v="14814" actId="478"/>
          <ac:spMkLst>
            <pc:docMk/>
            <pc:sldMk cId="473805852" sldId="1725"/>
            <ac:spMk id="87" creationId="{CF367115-F9FC-8F49-BE9C-F4A860005964}"/>
          </ac:spMkLst>
        </pc:spChg>
        <pc:spChg chg="add del mod">
          <ac:chgData name="Lamb, Ben" userId="88a6f5f3-f9e5-47eb-a109-670a0c68440d" providerId="ADAL" clId="{61283625-AFAA-A843-B4D4-BB41EDC646A4}" dt="2021-04-01T16:08:02.003" v="14814" actId="478"/>
          <ac:spMkLst>
            <pc:docMk/>
            <pc:sldMk cId="473805852" sldId="1725"/>
            <ac:spMk id="88" creationId="{19C2CF22-6DAF-6D41-8619-6ED34F0D04E0}"/>
          </ac:spMkLst>
        </pc:spChg>
        <pc:spChg chg="add del mod">
          <ac:chgData name="Lamb, Ben" userId="88a6f5f3-f9e5-47eb-a109-670a0c68440d" providerId="ADAL" clId="{61283625-AFAA-A843-B4D4-BB41EDC646A4}" dt="2021-04-01T15:34:55.527" v="14018"/>
          <ac:spMkLst>
            <pc:docMk/>
            <pc:sldMk cId="473805852" sldId="1725"/>
            <ac:spMk id="89" creationId="{25A79F00-124A-C244-8573-8A420166F917}"/>
          </ac:spMkLst>
        </pc:spChg>
        <pc:spChg chg="add del mod">
          <ac:chgData name="Lamb, Ben" userId="88a6f5f3-f9e5-47eb-a109-670a0c68440d" providerId="ADAL" clId="{61283625-AFAA-A843-B4D4-BB41EDC646A4}" dt="2021-04-01T15:34:55.527" v="14018"/>
          <ac:spMkLst>
            <pc:docMk/>
            <pc:sldMk cId="473805852" sldId="1725"/>
            <ac:spMk id="90" creationId="{F3FF3067-88F1-9A4B-8C41-9FE9AB9A7802}"/>
          </ac:spMkLst>
        </pc:spChg>
        <pc:spChg chg="add del mod">
          <ac:chgData name="Lamb, Ben" userId="88a6f5f3-f9e5-47eb-a109-670a0c68440d" providerId="ADAL" clId="{61283625-AFAA-A843-B4D4-BB41EDC646A4}" dt="2021-04-01T15:34:55.527" v="14018"/>
          <ac:spMkLst>
            <pc:docMk/>
            <pc:sldMk cId="473805852" sldId="1725"/>
            <ac:spMk id="95" creationId="{C811A9F1-41C0-F34D-A88C-E4941B8AEBDC}"/>
          </ac:spMkLst>
        </pc:spChg>
        <pc:spChg chg="add del mod">
          <ac:chgData name="Lamb, Ben" userId="88a6f5f3-f9e5-47eb-a109-670a0c68440d" providerId="ADAL" clId="{61283625-AFAA-A843-B4D4-BB41EDC646A4}" dt="2021-04-01T15:34:55.527" v="14018"/>
          <ac:spMkLst>
            <pc:docMk/>
            <pc:sldMk cId="473805852" sldId="1725"/>
            <ac:spMk id="96" creationId="{E2A99794-55B3-4641-98B6-E2A328A1DE4B}"/>
          </ac:spMkLst>
        </pc:spChg>
        <pc:spChg chg="add del mod">
          <ac:chgData name="Lamb, Ben" userId="88a6f5f3-f9e5-47eb-a109-670a0c68440d" providerId="ADAL" clId="{61283625-AFAA-A843-B4D4-BB41EDC646A4}" dt="2021-04-01T15:34:55.527" v="14018"/>
          <ac:spMkLst>
            <pc:docMk/>
            <pc:sldMk cId="473805852" sldId="1725"/>
            <ac:spMk id="98" creationId="{12A63C83-971A-994A-819C-46C298CE4667}"/>
          </ac:spMkLst>
        </pc:spChg>
        <pc:spChg chg="add del mod">
          <ac:chgData name="Lamb, Ben" userId="88a6f5f3-f9e5-47eb-a109-670a0c68440d" providerId="ADAL" clId="{61283625-AFAA-A843-B4D4-BB41EDC646A4}" dt="2021-04-01T15:34:55.527" v="14018"/>
          <ac:spMkLst>
            <pc:docMk/>
            <pc:sldMk cId="473805852" sldId="1725"/>
            <ac:spMk id="99" creationId="{F6AAAE5F-E7A2-D34F-8E1B-6301F4A1D589}"/>
          </ac:spMkLst>
        </pc:spChg>
        <pc:spChg chg="add del mod">
          <ac:chgData name="Lamb, Ben" userId="88a6f5f3-f9e5-47eb-a109-670a0c68440d" providerId="ADAL" clId="{61283625-AFAA-A843-B4D4-BB41EDC646A4}" dt="2021-04-01T15:34:55.527" v="14018"/>
          <ac:spMkLst>
            <pc:docMk/>
            <pc:sldMk cId="473805852" sldId="1725"/>
            <ac:spMk id="100" creationId="{5D042768-C384-6A4F-9CE1-7F8608C7D5B9}"/>
          </ac:spMkLst>
        </pc:spChg>
        <pc:spChg chg="add del mod">
          <ac:chgData name="Lamb, Ben" userId="88a6f5f3-f9e5-47eb-a109-670a0c68440d" providerId="ADAL" clId="{61283625-AFAA-A843-B4D4-BB41EDC646A4}" dt="2021-04-01T15:34:55.527" v="14018"/>
          <ac:spMkLst>
            <pc:docMk/>
            <pc:sldMk cId="473805852" sldId="1725"/>
            <ac:spMk id="101" creationId="{B54007F9-579B-E74A-89F7-1F43EEC8B030}"/>
          </ac:spMkLst>
        </pc:spChg>
        <pc:spChg chg="add del mod">
          <ac:chgData name="Lamb, Ben" userId="88a6f5f3-f9e5-47eb-a109-670a0c68440d" providerId="ADAL" clId="{61283625-AFAA-A843-B4D4-BB41EDC646A4}" dt="2021-04-01T15:34:55.527" v="14018"/>
          <ac:spMkLst>
            <pc:docMk/>
            <pc:sldMk cId="473805852" sldId="1725"/>
            <ac:spMk id="104" creationId="{0B51CBAA-54FD-624E-8889-21ADE1C42168}"/>
          </ac:spMkLst>
        </pc:spChg>
        <pc:spChg chg="add del mod">
          <ac:chgData name="Lamb, Ben" userId="88a6f5f3-f9e5-47eb-a109-670a0c68440d" providerId="ADAL" clId="{61283625-AFAA-A843-B4D4-BB41EDC646A4}" dt="2021-04-01T15:34:55.527" v="14018"/>
          <ac:spMkLst>
            <pc:docMk/>
            <pc:sldMk cId="473805852" sldId="1725"/>
            <ac:spMk id="107" creationId="{7F2A6445-BA8A-7644-B5C7-470C07BAE9A6}"/>
          </ac:spMkLst>
        </pc:spChg>
        <pc:spChg chg="add del mod">
          <ac:chgData name="Lamb, Ben" userId="88a6f5f3-f9e5-47eb-a109-670a0c68440d" providerId="ADAL" clId="{61283625-AFAA-A843-B4D4-BB41EDC646A4}" dt="2021-04-01T15:34:55.527" v="14018"/>
          <ac:spMkLst>
            <pc:docMk/>
            <pc:sldMk cId="473805852" sldId="1725"/>
            <ac:spMk id="108" creationId="{FA8385BA-CC11-AE45-A5E5-BF87D4E119CB}"/>
          </ac:spMkLst>
        </pc:spChg>
        <pc:spChg chg="mod">
          <ac:chgData name="Lamb, Ben" userId="88a6f5f3-f9e5-47eb-a109-670a0c68440d" providerId="ADAL" clId="{61283625-AFAA-A843-B4D4-BB41EDC646A4}" dt="2021-04-01T15:34:34.473" v="14013"/>
          <ac:spMkLst>
            <pc:docMk/>
            <pc:sldMk cId="473805852" sldId="1725"/>
            <ac:spMk id="113" creationId="{7DBCA361-7704-F241-8A35-09A28BB9B5B1}"/>
          </ac:spMkLst>
        </pc:spChg>
        <pc:spChg chg="mod">
          <ac:chgData name="Lamb, Ben" userId="88a6f5f3-f9e5-47eb-a109-670a0c68440d" providerId="ADAL" clId="{61283625-AFAA-A843-B4D4-BB41EDC646A4}" dt="2021-04-01T15:34:34.473" v="14013"/>
          <ac:spMkLst>
            <pc:docMk/>
            <pc:sldMk cId="473805852" sldId="1725"/>
            <ac:spMk id="114" creationId="{7C6CD516-C583-0B4B-A1FD-3A2642AABDEC}"/>
          </ac:spMkLst>
        </pc:spChg>
        <pc:spChg chg="mod">
          <ac:chgData name="Lamb, Ben" userId="88a6f5f3-f9e5-47eb-a109-670a0c68440d" providerId="ADAL" clId="{61283625-AFAA-A843-B4D4-BB41EDC646A4}" dt="2021-04-01T15:34:34.473" v="14013"/>
          <ac:spMkLst>
            <pc:docMk/>
            <pc:sldMk cId="473805852" sldId="1725"/>
            <ac:spMk id="116" creationId="{EC782366-740F-7345-BB1C-04BD5A2614B6}"/>
          </ac:spMkLst>
        </pc:spChg>
        <pc:spChg chg="mod">
          <ac:chgData name="Lamb, Ben" userId="88a6f5f3-f9e5-47eb-a109-670a0c68440d" providerId="ADAL" clId="{61283625-AFAA-A843-B4D4-BB41EDC646A4}" dt="2021-04-01T15:34:34.473" v="14013"/>
          <ac:spMkLst>
            <pc:docMk/>
            <pc:sldMk cId="473805852" sldId="1725"/>
            <ac:spMk id="117" creationId="{0F89F85B-D6C4-DA4E-A4F6-BF36EBFA2198}"/>
          </ac:spMkLst>
        </pc:spChg>
        <pc:spChg chg="mod">
          <ac:chgData name="Lamb, Ben" userId="88a6f5f3-f9e5-47eb-a109-670a0c68440d" providerId="ADAL" clId="{61283625-AFAA-A843-B4D4-BB41EDC646A4}" dt="2021-04-01T15:34:34.473" v="14013"/>
          <ac:spMkLst>
            <pc:docMk/>
            <pc:sldMk cId="473805852" sldId="1725"/>
            <ac:spMk id="119" creationId="{FD56494F-4030-4948-BA18-F1A05E6B8593}"/>
          </ac:spMkLst>
        </pc:spChg>
        <pc:spChg chg="mod">
          <ac:chgData name="Lamb, Ben" userId="88a6f5f3-f9e5-47eb-a109-670a0c68440d" providerId="ADAL" clId="{61283625-AFAA-A843-B4D4-BB41EDC646A4}" dt="2021-04-01T15:34:34.473" v="14013"/>
          <ac:spMkLst>
            <pc:docMk/>
            <pc:sldMk cId="473805852" sldId="1725"/>
            <ac:spMk id="120" creationId="{2EA28CFA-689E-3C4D-AA8C-96FE37CDE19F}"/>
          </ac:spMkLst>
        </pc:spChg>
        <pc:spChg chg="mod">
          <ac:chgData name="Lamb, Ben" userId="88a6f5f3-f9e5-47eb-a109-670a0c68440d" providerId="ADAL" clId="{61283625-AFAA-A843-B4D4-BB41EDC646A4}" dt="2021-04-01T15:34:34.473" v="14013"/>
          <ac:spMkLst>
            <pc:docMk/>
            <pc:sldMk cId="473805852" sldId="1725"/>
            <ac:spMk id="122" creationId="{DE5D7C04-F96E-C94C-87E0-63C3819DF021}"/>
          </ac:spMkLst>
        </pc:spChg>
        <pc:spChg chg="mod">
          <ac:chgData name="Lamb, Ben" userId="88a6f5f3-f9e5-47eb-a109-670a0c68440d" providerId="ADAL" clId="{61283625-AFAA-A843-B4D4-BB41EDC646A4}" dt="2021-04-01T15:34:34.473" v="14013"/>
          <ac:spMkLst>
            <pc:docMk/>
            <pc:sldMk cId="473805852" sldId="1725"/>
            <ac:spMk id="123" creationId="{CAFF6574-6FAA-2C41-B04B-A6B801889EBB}"/>
          </ac:spMkLst>
        </pc:spChg>
        <pc:spChg chg="mod">
          <ac:chgData name="Lamb, Ben" userId="88a6f5f3-f9e5-47eb-a109-670a0c68440d" providerId="ADAL" clId="{61283625-AFAA-A843-B4D4-BB41EDC646A4}" dt="2021-04-01T15:34:34.473" v="14013"/>
          <ac:spMkLst>
            <pc:docMk/>
            <pc:sldMk cId="473805852" sldId="1725"/>
            <ac:spMk id="125" creationId="{446B270A-C9E8-F24B-8E47-FE81FCD089AC}"/>
          </ac:spMkLst>
        </pc:spChg>
        <pc:spChg chg="del mod">
          <ac:chgData name="Lamb, Ben" userId="88a6f5f3-f9e5-47eb-a109-670a0c68440d" providerId="ADAL" clId="{61283625-AFAA-A843-B4D4-BB41EDC646A4}" dt="2021-04-01T14:35:01.670" v="13824" actId="478"/>
          <ac:spMkLst>
            <pc:docMk/>
            <pc:sldMk cId="473805852" sldId="1725"/>
            <ac:spMk id="126" creationId="{7A97EF4C-5050-514A-9654-A0C1A56C57F7}"/>
          </ac:spMkLst>
        </pc:spChg>
        <pc:spChg chg="del">
          <ac:chgData name="Lamb, Ben" userId="88a6f5f3-f9e5-47eb-a109-670a0c68440d" providerId="ADAL" clId="{61283625-AFAA-A843-B4D4-BB41EDC646A4}" dt="2021-04-01T14:23:41.134" v="13708" actId="478"/>
          <ac:spMkLst>
            <pc:docMk/>
            <pc:sldMk cId="473805852" sldId="1725"/>
            <ac:spMk id="127" creationId="{4802BAB3-7F0F-744D-95F2-ADCEADD80805}"/>
          </ac:spMkLst>
        </pc:spChg>
        <pc:spChg chg="del">
          <ac:chgData name="Lamb, Ben" userId="88a6f5f3-f9e5-47eb-a109-670a0c68440d" providerId="ADAL" clId="{61283625-AFAA-A843-B4D4-BB41EDC646A4}" dt="2021-04-01T14:39:48.252" v="13831" actId="478"/>
          <ac:spMkLst>
            <pc:docMk/>
            <pc:sldMk cId="473805852" sldId="1725"/>
            <ac:spMk id="128" creationId="{7FB8D9AA-B8D8-6448-87FD-20250E80D346}"/>
          </ac:spMkLst>
        </pc:spChg>
        <pc:spChg chg="mod">
          <ac:chgData name="Lamb, Ben" userId="88a6f5f3-f9e5-47eb-a109-670a0c68440d" providerId="ADAL" clId="{61283625-AFAA-A843-B4D4-BB41EDC646A4}" dt="2021-04-01T15:34:34.473" v="14013"/>
          <ac:spMkLst>
            <pc:docMk/>
            <pc:sldMk cId="473805852" sldId="1725"/>
            <ac:spMk id="129" creationId="{4A58EA63-99BF-B346-9011-C7D8910FF1DD}"/>
          </ac:spMkLst>
        </pc:spChg>
        <pc:spChg chg="add del mod">
          <ac:chgData name="Lamb, Ben" userId="88a6f5f3-f9e5-47eb-a109-670a0c68440d" providerId="ADAL" clId="{61283625-AFAA-A843-B4D4-BB41EDC646A4}" dt="2021-04-01T15:34:55.527" v="14018"/>
          <ac:spMkLst>
            <pc:docMk/>
            <pc:sldMk cId="473805852" sldId="1725"/>
            <ac:spMk id="130" creationId="{B85EC709-1B17-2D4B-827C-628CC5FC4BDB}"/>
          </ac:spMkLst>
        </pc:spChg>
        <pc:spChg chg="del mod">
          <ac:chgData name="Lamb, Ben" userId="88a6f5f3-f9e5-47eb-a109-670a0c68440d" providerId="ADAL" clId="{61283625-AFAA-A843-B4D4-BB41EDC646A4}" dt="2021-04-01T14:39:48.252" v="13831" actId="478"/>
          <ac:spMkLst>
            <pc:docMk/>
            <pc:sldMk cId="473805852" sldId="1725"/>
            <ac:spMk id="131" creationId="{6D0B2F07-98BC-484C-8E94-0A7D88BB3C64}"/>
          </ac:spMkLst>
        </pc:spChg>
        <pc:spChg chg="add del mod">
          <ac:chgData name="Lamb, Ben" userId="88a6f5f3-f9e5-47eb-a109-670a0c68440d" providerId="ADAL" clId="{61283625-AFAA-A843-B4D4-BB41EDC646A4}" dt="2021-04-01T15:34:55.527" v="14018"/>
          <ac:spMkLst>
            <pc:docMk/>
            <pc:sldMk cId="473805852" sldId="1725"/>
            <ac:spMk id="132" creationId="{BF4AA2FB-03BB-F84E-8443-2EEADB748F61}"/>
          </ac:spMkLst>
        </pc:spChg>
        <pc:spChg chg="mod">
          <ac:chgData name="Lamb, Ben" userId="88a6f5f3-f9e5-47eb-a109-670a0c68440d" providerId="ADAL" clId="{61283625-AFAA-A843-B4D4-BB41EDC646A4}" dt="2021-04-01T15:34:34.473" v="14013"/>
          <ac:spMkLst>
            <pc:docMk/>
            <pc:sldMk cId="473805852" sldId="1725"/>
            <ac:spMk id="135" creationId="{182DB090-014D-0C45-AC06-4DD0F85A4DB2}"/>
          </ac:spMkLst>
        </pc:spChg>
        <pc:spChg chg="mod">
          <ac:chgData name="Lamb, Ben" userId="88a6f5f3-f9e5-47eb-a109-670a0c68440d" providerId="ADAL" clId="{61283625-AFAA-A843-B4D4-BB41EDC646A4}" dt="2021-04-01T15:34:34.473" v="14013"/>
          <ac:spMkLst>
            <pc:docMk/>
            <pc:sldMk cId="473805852" sldId="1725"/>
            <ac:spMk id="136" creationId="{BEB4D38B-BB5B-BF47-B84E-6DB8019F391F}"/>
          </ac:spMkLst>
        </pc:spChg>
        <pc:spChg chg="mod">
          <ac:chgData name="Lamb, Ben" userId="88a6f5f3-f9e5-47eb-a109-670a0c68440d" providerId="ADAL" clId="{61283625-AFAA-A843-B4D4-BB41EDC646A4}" dt="2021-04-01T15:34:34.473" v="14013"/>
          <ac:spMkLst>
            <pc:docMk/>
            <pc:sldMk cId="473805852" sldId="1725"/>
            <ac:spMk id="137" creationId="{D614AECA-7586-1642-84DF-FEED1FBF73CD}"/>
          </ac:spMkLst>
        </pc:spChg>
        <pc:spChg chg="mod">
          <ac:chgData name="Lamb, Ben" userId="88a6f5f3-f9e5-47eb-a109-670a0c68440d" providerId="ADAL" clId="{61283625-AFAA-A843-B4D4-BB41EDC646A4}" dt="2021-04-01T15:34:34.473" v="14013"/>
          <ac:spMkLst>
            <pc:docMk/>
            <pc:sldMk cId="473805852" sldId="1725"/>
            <ac:spMk id="138" creationId="{79006BAD-1375-BC47-8D5E-28C5194268FE}"/>
          </ac:spMkLst>
        </pc:spChg>
        <pc:spChg chg="mod">
          <ac:chgData name="Lamb, Ben" userId="88a6f5f3-f9e5-47eb-a109-670a0c68440d" providerId="ADAL" clId="{61283625-AFAA-A843-B4D4-BB41EDC646A4}" dt="2021-04-01T15:34:34.473" v="14013"/>
          <ac:spMkLst>
            <pc:docMk/>
            <pc:sldMk cId="473805852" sldId="1725"/>
            <ac:spMk id="139" creationId="{AAA5E459-FB60-444E-898B-971B39AE70EA}"/>
          </ac:spMkLst>
        </pc:spChg>
        <pc:spChg chg="mod">
          <ac:chgData name="Lamb, Ben" userId="88a6f5f3-f9e5-47eb-a109-670a0c68440d" providerId="ADAL" clId="{61283625-AFAA-A843-B4D4-BB41EDC646A4}" dt="2021-04-01T15:34:34.473" v="14013"/>
          <ac:spMkLst>
            <pc:docMk/>
            <pc:sldMk cId="473805852" sldId="1725"/>
            <ac:spMk id="140" creationId="{1AC8AA42-F7CB-C548-9ED4-C4789F9A7454}"/>
          </ac:spMkLst>
        </pc:spChg>
        <pc:spChg chg="mod">
          <ac:chgData name="Lamb, Ben" userId="88a6f5f3-f9e5-47eb-a109-670a0c68440d" providerId="ADAL" clId="{61283625-AFAA-A843-B4D4-BB41EDC646A4}" dt="2021-04-01T15:34:34.473" v="14013"/>
          <ac:spMkLst>
            <pc:docMk/>
            <pc:sldMk cId="473805852" sldId="1725"/>
            <ac:spMk id="141" creationId="{23B9FA06-8546-1A42-9A56-DC2A3D6CFBC6}"/>
          </ac:spMkLst>
        </pc:spChg>
        <pc:spChg chg="mod">
          <ac:chgData name="Lamb, Ben" userId="88a6f5f3-f9e5-47eb-a109-670a0c68440d" providerId="ADAL" clId="{61283625-AFAA-A843-B4D4-BB41EDC646A4}" dt="2021-04-01T15:34:34.473" v="14013"/>
          <ac:spMkLst>
            <pc:docMk/>
            <pc:sldMk cId="473805852" sldId="1725"/>
            <ac:spMk id="142" creationId="{6FB72077-6470-3C47-9477-1B76B117775C}"/>
          </ac:spMkLst>
        </pc:spChg>
        <pc:spChg chg="del">
          <ac:chgData name="Lamb, Ben" userId="88a6f5f3-f9e5-47eb-a109-670a0c68440d" providerId="ADAL" clId="{61283625-AFAA-A843-B4D4-BB41EDC646A4}" dt="2021-04-01T14:39:48.252" v="13831" actId="478"/>
          <ac:spMkLst>
            <pc:docMk/>
            <pc:sldMk cId="473805852" sldId="1725"/>
            <ac:spMk id="145" creationId="{3E8AFB6B-DC07-2242-8704-09BC7C4933D2}"/>
          </ac:spMkLst>
        </pc:spChg>
        <pc:spChg chg="mod">
          <ac:chgData name="Lamb, Ben" userId="88a6f5f3-f9e5-47eb-a109-670a0c68440d" providerId="ADAL" clId="{61283625-AFAA-A843-B4D4-BB41EDC646A4}" dt="2021-04-01T15:34:34.473" v="14013"/>
          <ac:spMkLst>
            <pc:docMk/>
            <pc:sldMk cId="473805852" sldId="1725"/>
            <ac:spMk id="146" creationId="{D729D514-E6AD-7F40-98DF-0E14B5D8A5D7}"/>
          </ac:spMkLst>
        </pc:spChg>
        <pc:spChg chg="mod">
          <ac:chgData name="Lamb, Ben" userId="88a6f5f3-f9e5-47eb-a109-670a0c68440d" providerId="ADAL" clId="{61283625-AFAA-A843-B4D4-BB41EDC646A4}" dt="2021-04-01T15:34:34.473" v="14013"/>
          <ac:spMkLst>
            <pc:docMk/>
            <pc:sldMk cId="473805852" sldId="1725"/>
            <ac:spMk id="148" creationId="{69319D77-3E47-7F4B-848E-67C69F707AEE}"/>
          </ac:spMkLst>
        </pc:spChg>
        <pc:spChg chg="mod">
          <ac:chgData name="Lamb, Ben" userId="88a6f5f3-f9e5-47eb-a109-670a0c68440d" providerId="ADAL" clId="{61283625-AFAA-A843-B4D4-BB41EDC646A4}" dt="2021-04-01T15:34:34.473" v="14013"/>
          <ac:spMkLst>
            <pc:docMk/>
            <pc:sldMk cId="473805852" sldId="1725"/>
            <ac:spMk id="149" creationId="{A1E32532-076E-964C-90B5-6B46257139EA}"/>
          </ac:spMkLst>
        </pc:spChg>
        <pc:spChg chg="mod">
          <ac:chgData name="Lamb, Ben" userId="88a6f5f3-f9e5-47eb-a109-670a0c68440d" providerId="ADAL" clId="{61283625-AFAA-A843-B4D4-BB41EDC646A4}" dt="2021-04-01T15:34:34.473" v="14013"/>
          <ac:spMkLst>
            <pc:docMk/>
            <pc:sldMk cId="473805852" sldId="1725"/>
            <ac:spMk id="153" creationId="{5AEF3BE9-8B36-0E4F-A11C-A07FCC5A11B2}"/>
          </ac:spMkLst>
        </pc:spChg>
        <pc:spChg chg="mod">
          <ac:chgData name="Lamb, Ben" userId="88a6f5f3-f9e5-47eb-a109-670a0c68440d" providerId="ADAL" clId="{61283625-AFAA-A843-B4D4-BB41EDC646A4}" dt="2021-04-01T15:34:34.473" v="14013"/>
          <ac:spMkLst>
            <pc:docMk/>
            <pc:sldMk cId="473805852" sldId="1725"/>
            <ac:spMk id="154" creationId="{9F82E0CE-483F-814D-8E88-2CA58DAEA2CA}"/>
          </ac:spMkLst>
        </pc:spChg>
        <pc:spChg chg="mod">
          <ac:chgData name="Lamb, Ben" userId="88a6f5f3-f9e5-47eb-a109-670a0c68440d" providerId="ADAL" clId="{61283625-AFAA-A843-B4D4-BB41EDC646A4}" dt="2021-04-01T15:34:34.473" v="14013"/>
          <ac:spMkLst>
            <pc:docMk/>
            <pc:sldMk cId="473805852" sldId="1725"/>
            <ac:spMk id="155" creationId="{3A1B6D01-013C-7649-BB4E-158F95886FA1}"/>
          </ac:spMkLst>
        </pc:spChg>
        <pc:spChg chg="mod">
          <ac:chgData name="Lamb, Ben" userId="88a6f5f3-f9e5-47eb-a109-670a0c68440d" providerId="ADAL" clId="{61283625-AFAA-A843-B4D4-BB41EDC646A4}" dt="2021-04-01T15:34:34.473" v="14013"/>
          <ac:spMkLst>
            <pc:docMk/>
            <pc:sldMk cId="473805852" sldId="1725"/>
            <ac:spMk id="157" creationId="{4CBC7261-A294-3A4C-AAD5-B710302018BB}"/>
          </ac:spMkLst>
        </pc:spChg>
        <pc:spChg chg="mod">
          <ac:chgData name="Lamb, Ben" userId="88a6f5f3-f9e5-47eb-a109-670a0c68440d" providerId="ADAL" clId="{61283625-AFAA-A843-B4D4-BB41EDC646A4}" dt="2021-04-01T15:34:34.473" v="14013"/>
          <ac:spMkLst>
            <pc:docMk/>
            <pc:sldMk cId="473805852" sldId="1725"/>
            <ac:spMk id="158" creationId="{3F0586E8-C794-C24A-9312-9F1369748454}"/>
          </ac:spMkLst>
        </pc:spChg>
        <pc:spChg chg="mod">
          <ac:chgData name="Lamb, Ben" userId="88a6f5f3-f9e5-47eb-a109-670a0c68440d" providerId="ADAL" clId="{61283625-AFAA-A843-B4D4-BB41EDC646A4}" dt="2021-04-01T15:34:34.473" v="14013"/>
          <ac:spMkLst>
            <pc:docMk/>
            <pc:sldMk cId="473805852" sldId="1725"/>
            <ac:spMk id="161" creationId="{6510C9DA-C2D8-C541-AD58-00D33EB84C1F}"/>
          </ac:spMkLst>
        </pc:spChg>
        <pc:spChg chg="mod">
          <ac:chgData name="Lamb, Ben" userId="88a6f5f3-f9e5-47eb-a109-670a0c68440d" providerId="ADAL" clId="{61283625-AFAA-A843-B4D4-BB41EDC646A4}" dt="2021-04-01T15:34:34.473" v="14013"/>
          <ac:spMkLst>
            <pc:docMk/>
            <pc:sldMk cId="473805852" sldId="1725"/>
            <ac:spMk id="162" creationId="{9ADB4F83-B954-514F-8D8A-55C268C891CB}"/>
          </ac:spMkLst>
        </pc:spChg>
        <pc:spChg chg="mod">
          <ac:chgData name="Lamb, Ben" userId="88a6f5f3-f9e5-47eb-a109-670a0c68440d" providerId="ADAL" clId="{61283625-AFAA-A843-B4D4-BB41EDC646A4}" dt="2021-04-01T15:34:34.473" v="14013"/>
          <ac:spMkLst>
            <pc:docMk/>
            <pc:sldMk cId="473805852" sldId="1725"/>
            <ac:spMk id="163" creationId="{2D50EE31-0911-E845-ACF4-2AA147C71373}"/>
          </ac:spMkLst>
        </pc:spChg>
        <pc:spChg chg="mod">
          <ac:chgData name="Lamb, Ben" userId="88a6f5f3-f9e5-47eb-a109-670a0c68440d" providerId="ADAL" clId="{61283625-AFAA-A843-B4D4-BB41EDC646A4}" dt="2021-04-01T15:34:34.473" v="14013"/>
          <ac:spMkLst>
            <pc:docMk/>
            <pc:sldMk cId="473805852" sldId="1725"/>
            <ac:spMk id="164" creationId="{10E4CB41-8652-D640-B4D2-B6D8833BA60B}"/>
          </ac:spMkLst>
        </pc:spChg>
        <pc:spChg chg="mod">
          <ac:chgData name="Lamb, Ben" userId="88a6f5f3-f9e5-47eb-a109-670a0c68440d" providerId="ADAL" clId="{61283625-AFAA-A843-B4D4-BB41EDC646A4}" dt="2021-04-01T15:34:34.473" v="14013"/>
          <ac:spMkLst>
            <pc:docMk/>
            <pc:sldMk cId="473805852" sldId="1725"/>
            <ac:spMk id="165" creationId="{F52C8B4E-6AB0-054D-8701-6CC6639AF068}"/>
          </ac:spMkLst>
        </pc:spChg>
        <pc:spChg chg="mod">
          <ac:chgData name="Lamb, Ben" userId="88a6f5f3-f9e5-47eb-a109-670a0c68440d" providerId="ADAL" clId="{61283625-AFAA-A843-B4D4-BB41EDC646A4}" dt="2021-04-01T15:34:34.473" v="14013"/>
          <ac:spMkLst>
            <pc:docMk/>
            <pc:sldMk cId="473805852" sldId="1725"/>
            <ac:spMk id="166" creationId="{15BEA1CA-383E-FC41-A936-D88DB3B623E2}"/>
          </ac:spMkLst>
        </pc:spChg>
        <pc:spChg chg="mod">
          <ac:chgData name="Lamb, Ben" userId="88a6f5f3-f9e5-47eb-a109-670a0c68440d" providerId="ADAL" clId="{61283625-AFAA-A843-B4D4-BB41EDC646A4}" dt="2021-04-01T15:34:34.473" v="14013"/>
          <ac:spMkLst>
            <pc:docMk/>
            <pc:sldMk cId="473805852" sldId="1725"/>
            <ac:spMk id="167" creationId="{7F5B8D6C-4F8F-9449-9B27-3EC79A2D58A6}"/>
          </ac:spMkLst>
        </pc:spChg>
        <pc:spChg chg="mod">
          <ac:chgData name="Lamb, Ben" userId="88a6f5f3-f9e5-47eb-a109-670a0c68440d" providerId="ADAL" clId="{61283625-AFAA-A843-B4D4-BB41EDC646A4}" dt="2021-04-01T15:34:34.473" v="14013"/>
          <ac:spMkLst>
            <pc:docMk/>
            <pc:sldMk cId="473805852" sldId="1725"/>
            <ac:spMk id="170" creationId="{4CD01805-CCB7-F541-A9A3-65E85C35B622}"/>
          </ac:spMkLst>
        </pc:spChg>
        <pc:spChg chg="mod">
          <ac:chgData name="Lamb, Ben" userId="88a6f5f3-f9e5-47eb-a109-670a0c68440d" providerId="ADAL" clId="{61283625-AFAA-A843-B4D4-BB41EDC646A4}" dt="2021-04-01T15:34:34.473" v="14013"/>
          <ac:spMkLst>
            <pc:docMk/>
            <pc:sldMk cId="473805852" sldId="1725"/>
            <ac:spMk id="171" creationId="{C653DE78-5692-A446-8F75-052C3907ECE3}"/>
          </ac:spMkLst>
        </pc:spChg>
        <pc:spChg chg="mod">
          <ac:chgData name="Lamb, Ben" userId="88a6f5f3-f9e5-47eb-a109-670a0c68440d" providerId="ADAL" clId="{61283625-AFAA-A843-B4D4-BB41EDC646A4}" dt="2021-04-01T15:34:34.473" v="14013"/>
          <ac:spMkLst>
            <pc:docMk/>
            <pc:sldMk cId="473805852" sldId="1725"/>
            <ac:spMk id="172" creationId="{06F43634-CD1A-C545-A172-1DCB3F144748}"/>
          </ac:spMkLst>
        </pc:spChg>
        <pc:spChg chg="mod">
          <ac:chgData name="Lamb, Ben" userId="88a6f5f3-f9e5-47eb-a109-670a0c68440d" providerId="ADAL" clId="{61283625-AFAA-A843-B4D4-BB41EDC646A4}" dt="2021-04-01T15:34:34.473" v="14013"/>
          <ac:spMkLst>
            <pc:docMk/>
            <pc:sldMk cId="473805852" sldId="1725"/>
            <ac:spMk id="174" creationId="{0F93BB44-BE15-E94B-9912-ABA2E8D407A7}"/>
          </ac:spMkLst>
        </pc:spChg>
        <pc:spChg chg="mod">
          <ac:chgData name="Lamb, Ben" userId="88a6f5f3-f9e5-47eb-a109-670a0c68440d" providerId="ADAL" clId="{61283625-AFAA-A843-B4D4-BB41EDC646A4}" dt="2021-04-01T15:34:34.473" v="14013"/>
          <ac:spMkLst>
            <pc:docMk/>
            <pc:sldMk cId="473805852" sldId="1725"/>
            <ac:spMk id="175" creationId="{A5B000E1-315A-B341-A317-CC98539EDF8B}"/>
          </ac:spMkLst>
        </pc:spChg>
        <pc:spChg chg="mod">
          <ac:chgData name="Lamb, Ben" userId="88a6f5f3-f9e5-47eb-a109-670a0c68440d" providerId="ADAL" clId="{61283625-AFAA-A843-B4D4-BB41EDC646A4}" dt="2021-04-01T15:34:34.473" v="14013"/>
          <ac:spMkLst>
            <pc:docMk/>
            <pc:sldMk cId="473805852" sldId="1725"/>
            <ac:spMk id="177" creationId="{B8C61D64-AD8B-A64A-8AFC-2682CF30E56C}"/>
          </ac:spMkLst>
        </pc:spChg>
        <pc:spChg chg="mod">
          <ac:chgData name="Lamb, Ben" userId="88a6f5f3-f9e5-47eb-a109-670a0c68440d" providerId="ADAL" clId="{61283625-AFAA-A843-B4D4-BB41EDC646A4}" dt="2021-04-01T15:34:34.473" v="14013"/>
          <ac:spMkLst>
            <pc:docMk/>
            <pc:sldMk cId="473805852" sldId="1725"/>
            <ac:spMk id="178" creationId="{0A6DFFD1-D719-364F-B66D-3F05D9D5AF83}"/>
          </ac:spMkLst>
        </pc:spChg>
        <pc:spChg chg="mod">
          <ac:chgData name="Lamb, Ben" userId="88a6f5f3-f9e5-47eb-a109-670a0c68440d" providerId="ADAL" clId="{61283625-AFAA-A843-B4D4-BB41EDC646A4}" dt="2021-04-01T15:34:34.473" v="14013"/>
          <ac:spMkLst>
            <pc:docMk/>
            <pc:sldMk cId="473805852" sldId="1725"/>
            <ac:spMk id="181" creationId="{AF29C533-052F-B64E-91CB-5BD3134BC428}"/>
          </ac:spMkLst>
        </pc:spChg>
        <pc:spChg chg="mod">
          <ac:chgData name="Lamb, Ben" userId="88a6f5f3-f9e5-47eb-a109-670a0c68440d" providerId="ADAL" clId="{61283625-AFAA-A843-B4D4-BB41EDC646A4}" dt="2021-04-01T15:34:34.473" v="14013"/>
          <ac:spMkLst>
            <pc:docMk/>
            <pc:sldMk cId="473805852" sldId="1725"/>
            <ac:spMk id="182" creationId="{260F4534-8712-8148-AB33-D0695DA8B26A}"/>
          </ac:spMkLst>
        </pc:spChg>
        <pc:spChg chg="mod">
          <ac:chgData name="Lamb, Ben" userId="88a6f5f3-f9e5-47eb-a109-670a0c68440d" providerId="ADAL" clId="{61283625-AFAA-A843-B4D4-BB41EDC646A4}" dt="2021-04-01T15:34:34.473" v="14013"/>
          <ac:spMkLst>
            <pc:docMk/>
            <pc:sldMk cId="473805852" sldId="1725"/>
            <ac:spMk id="183" creationId="{DC6FAFB3-F25C-214B-9816-74E495A26A61}"/>
          </ac:spMkLst>
        </pc:spChg>
        <pc:spChg chg="mod">
          <ac:chgData name="Lamb, Ben" userId="88a6f5f3-f9e5-47eb-a109-670a0c68440d" providerId="ADAL" clId="{61283625-AFAA-A843-B4D4-BB41EDC646A4}" dt="2021-04-01T15:34:34.473" v="14013"/>
          <ac:spMkLst>
            <pc:docMk/>
            <pc:sldMk cId="473805852" sldId="1725"/>
            <ac:spMk id="184" creationId="{51A85ACA-7CF5-4448-9636-E1063469E37D}"/>
          </ac:spMkLst>
        </pc:spChg>
        <pc:spChg chg="mod">
          <ac:chgData name="Lamb, Ben" userId="88a6f5f3-f9e5-47eb-a109-670a0c68440d" providerId="ADAL" clId="{61283625-AFAA-A843-B4D4-BB41EDC646A4}" dt="2021-04-01T15:34:34.473" v="14013"/>
          <ac:spMkLst>
            <pc:docMk/>
            <pc:sldMk cId="473805852" sldId="1725"/>
            <ac:spMk id="185" creationId="{0C992E74-46DE-D14E-AA9A-D19839B39611}"/>
          </ac:spMkLst>
        </pc:spChg>
        <pc:spChg chg="mod">
          <ac:chgData name="Lamb, Ben" userId="88a6f5f3-f9e5-47eb-a109-670a0c68440d" providerId="ADAL" clId="{61283625-AFAA-A843-B4D4-BB41EDC646A4}" dt="2021-04-01T15:34:34.473" v="14013"/>
          <ac:spMkLst>
            <pc:docMk/>
            <pc:sldMk cId="473805852" sldId="1725"/>
            <ac:spMk id="186" creationId="{E6C901D0-20D6-C248-889B-1737C318C07F}"/>
          </ac:spMkLst>
        </pc:spChg>
        <pc:spChg chg="mod">
          <ac:chgData name="Lamb, Ben" userId="88a6f5f3-f9e5-47eb-a109-670a0c68440d" providerId="ADAL" clId="{61283625-AFAA-A843-B4D4-BB41EDC646A4}" dt="2021-04-01T15:34:34.473" v="14013"/>
          <ac:spMkLst>
            <pc:docMk/>
            <pc:sldMk cId="473805852" sldId="1725"/>
            <ac:spMk id="187" creationId="{F407560F-6219-C040-A76E-586B436274BB}"/>
          </ac:spMkLst>
        </pc:spChg>
        <pc:spChg chg="mod">
          <ac:chgData name="Lamb, Ben" userId="88a6f5f3-f9e5-47eb-a109-670a0c68440d" providerId="ADAL" clId="{61283625-AFAA-A843-B4D4-BB41EDC646A4}" dt="2021-04-01T15:34:34.473" v="14013"/>
          <ac:spMkLst>
            <pc:docMk/>
            <pc:sldMk cId="473805852" sldId="1725"/>
            <ac:spMk id="188" creationId="{AE1B54D8-41AE-5647-8FFF-64E0757FD400}"/>
          </ac:spMkLst>
        </pc:spChg>
        <pc:spChg chg="mod">
          <ac:chgData name="Lamb, Ben" userId="88a6f5f3-f9e5-47eb-a109-670a0c68440d" providerId="ADAL" clId="{61283625-AFAA-A843-B4D4-BB41EDC646A4}" dt="2021-04-01T15:34:34.473" v="14013"/>
          <ac:spMkLst>
            <pc:docMk/>
            <pc:sldMk cId="473805852" sldId="1725"/>
            <ac:spMk id="189" creationId="{7BDDF87E-AF7C-7E49-98AB-F41728E0AB4F}"/>
          </ac:spMkLst>
        </pc:spChg>
        <pc:spChg chg="mod">
          <ac:chgData name="Lamb, Ben" userId="88a6f5f3-f9e5-47eb-a109-670a0c68440d" providerId="ADAL" clId="{61283625-AFAA-A843-B4D4-BB41EDC646A4}" dt="2021-04-01T15:34:34.473" v="14013"/>
          <ac:spMkLst>
            <pc:docMk/>
            <pc:sldMk cId="473805852" sldId="1725"/>
            <ac:spMk id="191" creationId="{DF01DB1E-52A1-2848-A91D-6B922551A8F4}"/>
          </ac:spMkLst>
        </pc:spChg>
        <pc:spChg chg="mod">
          <ac:chgData name="Lamb, Ben" userId="88a6f5f3-f9e5-47eb-a109-670a0c68440d" providerId="ADAL" clId="{61283625-AFAA-A843-B4D4-BB41EDC646A4}" dt="2021-04-01T15:34:34.473" v="14013"/>
          <ac:spMkLst>
            <pc:docMk/>
            <pc:sldMk cId="473805852" sldId="1725"/>
            <ac:spMk id="193" creationId="{B59B300D-F5C0-644F-A4BA-448CCF4B1DD3}"/>
          </ac:spMkLst>
        </pc:spChg>
        <pc:spChg chg="mod">
          <ac:chgData name="Lamb, Ben" userId="88a6f5f3-f9e5-47eb-a109-670a0c68440d" providerId="ADAL" clId="{61283625-AFAA-A843-B4D4-BB41EDC646A4}" dt="2021-04-01T15:34:34.473" v="14013"/>
          <ac:spMkLst>
            <pc:docMk/>
            <pc:sldMk cId="473805852" sldId="1725"/>
            <ac:spMk id="194" creationId="{47A1218F-1FE6-AA43-B310-91CAB6CC1F39}"/>
          </ac:spMkLst>
        </pc:spChg>
        <pc:spChg chg="mod">
          <ac:chgData name="Lamb, Ben" userId="88a6f5f3-f9e5-47eb-a109-670a0c68440d" providerId="ADAL" clId="{61283625-AFAA-A843-B4D4-BB41EDC646A4}" dt="2021-04-01T15:34:34.473" v="14013"/>
          <ac:spMkLst>
            <pc:docMk/>
            <pc:sldMk cId="473805852" sldId="1725"/>
            <ac:spMk id="195" creationId="{3D4DDF50-8CF9-6844-9CC6-4E7443E0F7E9}"/>
          </ac:spMkLst>
        </pc:spChg>
        <pc:spChg chg="mod">
          <ac:chgData name="Lamb, Ben" userId="88a6f5f3-f9e5-47eb-a109-670a0c68440d" providerId="ADAL" clId="{61283625-AFAA-A843-B4D4-BB41EDC646A4}" dt="2021-04-01T15:34:34.473" v="14013"/>
          <ac:spMkLst>
            <pc:docMk/>
            <pc:sldMk cId="473805852" sldId="1725"/>
            <ac:spMk id="196" creationId="{C198F20F-8405-8A44-86EA-07E9995BAC1A}"/>
          </ac:spMkLst>
        </pc:spChg>
        <pc:spChg chg="mod">
          <ac:chgData name="Lamb, Ben" userId="88a6f5f3-f9e5-47eb-a109-670a0c68440d" providerId="ADAL" clId="{61283625-AFAA-A843-B4D4-BB41EDC646A4}" dt="2021-04-01T15:34:34.473" v="14013"/>
          <ac:spMkLst>
            <pc:docMk/>
            <pc:sldMk cId="473805852" sldId="1725"/>
            <ac:spMk id="197" creationId="{62D90DBE-6D63-6C4A-8BC8-D553086283CE}"/>
          </ac:spMkLst>
        </pc:spChg>
        <pc:spChg chg="add del mod">
          <ac:chgData name="Lamb, Ben" userId="88a6f5f3-f9e5-47eb-a109-670a0c68440d" providerId="ADAL" clId="{61283625-AFAA-A843-B4D4-BB41EDC646A4}" dt="2021-04-01T15:34:55.527" v="14018"/>
          <ac:spMkLst>
            <pc:docMk/>
            <pc:sldMk cId="473805852" sldId="1725"/>
            <ac:spMk id="198" creationId="{0CAE577C-88D5-AD4F-BEA6-DA1C6E0E74C5}"/>
          </ac:spMkLst>
        </pc:spChg>
        <pc:spChg chg="add del mod">
          <ac:chgData name="Lamb, Ben" userId="88a6f5f3-f9e5-47eb-a109-670a0c68440d" providerId="ADAL" clId="{61283625-AFAA-A843-B4D4-BB41EDC646A4}" dt="2021-04-01T15:34:55.527" v="14018"/>
          <ac:spMkLst>
            <pc:docMk/>
            <pc:sldMk cId="473805852" sldId="1725"/>
            <ac:spMk id="199" creationId="{48C2D221-34E5-E34C-B8AB-EF5A9EB50021}"/>
          </ac:spMkLst>
        </pc:spChg>
        <pc:spChg chg="add del mod">
          <ac:chgData name="Lamb, Ben" userId="88a6f5f3-f9e5-47eb-a109-670a0c68440d" providerId="ADAL" clId="{61283625-AFAA-A843-B4D4-BB41EDC646A4}" dt="2021-04-01T15:34:55.527" v="14018"/>
          <ac:spMkLst>
            <pc:docMk/>
            <pc:sldMk cId="473805852" sldId="1725"/>
            <ac:spMk id="200" creationId="{7594A48B-4445-254C-8187-77AE6756C0AD}"/>
          </ac:spMkLst>
        </pc:spChg>
        <pc:spChg chg="add del mod">
          <ac:chgData name="Lamb, Ben" userId="88a6f5f3-f9e5-47eb-a109-670a0c68440d" providerId="ADAL" clId="{61283625-AFAA-A843-B4D4-BB41EDC646A4}" dt="2021-04-01T15:34:55.527" v="14018"/>
          <ac:spMkLst>
            <pc:docMk/>
            <pc:sldMk cId="473805852" sldId="1725"/>
            <ac:spMk id="201" creationId="{463E3462-E2A7-1E43-A8FC-2993B3BFDAC6}"/>
          </ac:spMkLst>
        </pc:spChg>
        <pc:spChg chg="mod">
          <ac:chgData name="Lamb, Ben" userId="88a6f5f3-f9e5-47eb-a109-670a0c68440d" providerId="ADAL" clId="{61283625-AFAA-A843-B4D4-BB41EDC646A4}" dt="2021-04-01T15:34:34.473" v="14013"/>
          <ac:spMkLst>
            <pc:docMk/>
            <pc:sldMk cId="473805852" sldId="1725"/>
            <ac:spMk id="203" creationId="{C8CA7C35-CB43-9840-8DF9-DDD647BED179}"/>
          </ac:spMkLst>
        </pc:spChg>
        <pc:spChg chg="mod">
          <ac:chgData name="Lamb, Ben" userId="88a6f5f3-f9e5-47eb-a109-670a0c68440d" providerId="ADAL" clId="{61283625-AFAA-A843-B4D4-BB41EDC646A4}" dt="2021-04-01T15:34:34.473" v="14013"/>
          <ac:spMkLst>
            <pc:docMk/>
            <pc:sldMk cId="473805852" sldId="1725"/>
            <ac:spMk id="204" creationId="{65F80DE1-610B-394D-B71E-48176046E57B}"/>
          </ac:spMkLst>
        </pc:spChg>
        <pc:grpChg chg="add del mod">
          <ac:chgData name="Lamb, Ben" userId="88a6f5f3-f9e5-47eb-a109-670a0c68440d" providerId="ADAL" clId="{61283625-AFAA-A843-B4D4-BB41EDC646A4}" dt="2021-04-01T14:42:11.941" v="13869" actId="478"/>
          <ac:grpSpMkLst>
            <pc:docMk/>
            <pc:sldMk cId="473805852" sldId="1725"/>
            <ac:grpSpMk id="72" creationId="{C47875C6-A904-4F43-B0D3-34983DBD81C0}"/>
          </ac:grpSpMkLst>
        </pc:grpChg>
        <pc:grpChg chg="add del mod">
          <ac:chgData name="Lamb, Ben" userId="88a6f5f3-f9e5-47eb-a109-670a0c68440d" providerId="ADAL" clId="{61283625-AFAA-A843-B4D4-BB41EDC646A4}" dt="2021-04-01T14:42:18.718" v="13872" actId="478"/>
          <ac:grpSpMkLst>
            <pc:docMk/>
            <pc:sldMk cId="473805852" sldId="1725"/>
            <ac:grpSpMk id="82" creationId="{3FAE8F88-EBA7-FA4B-A5D6-135E156BBCBD}"/>
          </ac:grpSpMkLst>
        </pc:grpChg>
        <pc:grpChg chg="add del mod">
          <ac:chgData name="Lamb, Ben" userId="88a6f5f3-f9e5-47eb-a109-670a0c68440d" providerId="ADAL" clId="{61283625-AFAA-A843-B4D4-BB41EDC646A4}" dt="2021-04-01T15:34:55.527" v="14018"/>
          <ac:grpSpMkLst>
            <pc:docMk/>
            <pc:sldMk cId="473805852" sldId="1725"/>
            <ac:grpSpMk id="112" creationId="{8B816D32-96AC-B74B-BF21-8ABE94BC2424}"/>
          </ac:grpSpMkLst>
        </pc:grpChg>
        <pc:grpChg chg="add del mod">
          <ac:chgData name="Lamb, Ben" userId="88a6f5f3-f9e5-47eb-a109-670a0c68440d" providerId="ADAL" clId="{61283625-AFAA-A843-B4D4-BB41EDC646A4}" dt="2021-04-01T15:34:55.527" v="14018"/>
          <ac:grpSpMkLst>
            <pc:docMk/>
            <pc:sldMk cId="473805852" sldId="1725"/>
            <ac:grpSpMk id="115" creationId="{6A56748A-0871-F343-BB2C-A7C741ED56E8}"/>
          </ac:grpSpMkLst>
        </pc:grpChg>
        <pc:grpChg chg="add del mod">
          <ac:chgData name="Lamb, Ben" userId="88a6f5f3-f9e5-47eb-a109-670a0c68440d" providerId="ADAL" clId="{61283625-AFAA-A843-B4D4-BB41EDC646A4}" dt="2021-04-01T15:34:55.527" v="14018"/>
          <ac:grpSpMkLst>
            <pc:docMk/>
            <pc:sldMk cId="473805852" sldId="1725"/>
            <ac:grpSpMk id="118" creationId="{6AAAC484-4D47-1848-8B82-8D310B13DAFC}"/>
          </ac:grpSpMkLst>
        </pc:grpChg>
        <pc:grpChg chg="add del mod">
          <ac:chgData name="Lamb, Ben" userId="88a6f5f3-f9e5-47eb-a109-670a0c68440d" providerId="ADAL" clId="{61283625-AFAA-A843-B4D4-BB41EDC646A4}" dt="2021-04-01T15:34:55.527" v="14018"/>
          <ac:grpSpMkLst>
            <pc:docMk/>
            <pc:sldMk cId="473805852" sldId="1725"/>
            <ac:grpSpMk id="121" creationId="{24705BC6-DF7A-0144-B6FD-B1DB7830414F}"/>
          </ac:grpSpMkLst>
        </pc:grpChg>
        <pc:grpChg chg="add del mod">
          <ac:chgData name="Lamb, Ben" userId="88a6f5f3-f9e5-47eb-a109-670a0c68440d" providerId="ADAL" clId="{61283625-AFAA-A843-B4D4-BB41EDC646A4}" dt="2021-04-01T15:34:55.527" v="14018"/>
          <ac:grpSpMkLst>
            <pc:docMk/>
            <pc:sldMk cId="473805852" sldId="1725"/>
            <ac:grpSpMk id="124" creationId="{25840ED7-BBA0-A949-84E3-A274FD9CB956}"/>
          </ac:grpSpMkLst>
        </pc:grpChg>
        <pc:grpChg chg="add del mod">
          <ac:chgData name="Lamb, Ben" userId="88a6f5f3-f9e5-47eb-a109-670a0c68440d" providerId="ADAL" clId="{61283625-AFAA-A843-B4D4-BB41EDC646A4}" dt="2021-04-01T15:34:55.527" v="14018"/>
          <ac:grpSpMkLst>
            <pc:docMk/>
            <pc:sldMk cId="473805852" sldId="1725"/>
            <ac:grpSpMk id="133" creationId="{FFA8A631-1678-2648-B540-27AC4D288A67}"/>
          </ac:grpSpMkLst>
        </pc:grpChg>
        <pc:grpChg chg="mod">
          <ac:chgData name="Lamb, Ben" userId="88a6f5f3-f9e5-47eb-a109-670a0c68440d" providerId="ADAL" clId="{61283625-AFAA-A843-B4D4-BB41EDC646A4}" dt="2021-04-01T15:34:34.473" v="14013"/>
          <ac:grpSpMkLst>
            <pc:docMk/>
            <pc:sldMk cId="473805852" sldId="1725"/>
            <ac:grpSpMk id="134" creationId="{6D8DC4E3-01FC-8049-AFB4-9BD8CECBADAB}"/>
          </ac:grpSpMkLst>
        </pc:grpChg>
        <pc:grpChg chg="add del mod">
          <ac:chgData name="Lamb, Ben" userId="88a6f5f3-f9e5-47eb-a109-670a0c68440d" providerId="ADAL" clId="{61283625-AFAA-A843-B4D4-BB41EDC646A4}" dt="2021-04-01T15:34:55.527" v="14018"/>
          <ac:grpSpMkLst>
            <pc:docMk/>
            <pc:sldMk cId="473805852" sldId="1725"/>
            <ac:grpSpMk id="143" creationId="{553B25FB-E01A-7D4A-B1AB-4BA2DAEE3908}"/>
          </ac:grpSpMkLst>
        </pc:grpChg>
        <pc:grpChg chg="mod">
          <ac:chgData name="Lamb, Ben" userId="88a6f5f3-f9e5-47eb-a109-670a0c68440d" providerId="ADAL" clId="{61283625-AFAA-A843-B4D4-BB41EDC646A4}" dt="2021-04-01T15:34:34.473" v="14013"/>
          <ac:grpSpMkLst>
            <pc:docMk/>
            <pc:sldMk cId="473805852" sldId="1725"/>
            <ac:grpSpMk id="144" creationId="{6A0ACC2C-499F-954D-ACE3-4931AF0FFD66}"/>
          </ac:grpSpMkLst>
        </pc:grpChg>
        <pc:grpChg chg="add del mod">
          <ac:chgData name="Lamb, Ben" userId="88a6f5f3-f9e5-47eb-a109-670a0c68440d" providerId="ADAL" clId="{61283625-AFAA-A843-B4D4-BB41EDC646A4}" dt="2021-04-01T15:34:55.527" v="14018"/>
          <ac:grpSpMkLst>
            <pc:docMk/>
            <pc:sldMk cId="473805852" sldId="1725"/>
            <ac:grpSpMk id="151" creationId="{30AE7BA6-6F7D-4B47-9D48-703C8AE57D30}"/>
          </ac:grpSpMkLst>
        </pc:grpChg>
        <pc:grpChg chg="mod">
          <ac:chgData name="Lamb, Ben" userId="88a6f5f3-f9e5-47eb-a109-670a0c68440d" providerId="ADAL" clId="{61283625-AFAA-A843-B4D4-BB41EDC646A4}" dt="2021-04-01T15:34:34.473" v="14013"/>
          <ac:grpSpMkLst>
            <pc:docMk/>
            <pc:sldMk cId="473805852" sldId="1725"/>
            <ac:grpSpMk id="152" creationId="{019154D4-5C01-1746-AC44-7D338E4E3D07}"/>
          </ac:grpSpMkLst>
        </pc:grpChg>
        <pc:grpChg chg="add del mod">
          <ac:chgData name="Lamb, Ben" userId="88a6f5f3-f9e5-47eb-a109-670a0c68440d" providerId="ADAL" clId="{61283625-AFAA-A843-B4D4-BB41EDC646A4}" dt="2021-04-01T15:34:55.527" v="14018"/>
          <ac:grpSpMkLst>
            <pc:docMk/>
            <pc:sldMk cId="473805852" sldId="1725"/>
            <ac:grpSpMk id="156" creationId="{BDDCAA3D-CDB1-2340-974D-4ACDA23BC7A5}"/>
          </ac:grpSpMkLst>
        </pc:grpChg>
        <pc:grpChg chg="add del mod">
          <ac:chgData name="Lamb, Ben" userId="88a6f5f3-f9e5-47eb-a109-670a0c68440d" providerId="ADAL" clId="{61283625-AFAA-A843-B4D4-BB41EDC646A4}" dt="2021-04-01T15:34:55.527" v="14018"/>
          <ac:grpSpMkLst>
            <pc:docMk/>
            <pc:sldMk cId="473805852" sldId="1725"/>
            <ac:grpSpMk id="159" creationId="{3468B8E2-A11F-6348-B6B7-AB35D603B54F}"/>
          </ac:grpSpMkLst>
        </pc:grpChg>
        <pc:grpChg chg="mod">
          <ac:chgData name="Lamb, Ben" userId="88a6f5f3-f9e5-47eb-a109-670a0c68440d" providerId="ADAL" clId="{61283625-AFAA-A843-B4D4-BB41EDC646A4}" dt="2021-04-01T15:34:34.473" v="14013"/>
          <ac:grpSpMkLst>
            <pc:docMk/>
            <pc:sldMk cId="473805852" sldId="1725"/>
            <ac:grpSpMk id="160" creationId="{49D19615-21ED-9D45-A638-5B11614FCED5}"/>
          </ac:grpSpMkLst>
        </pc:grpChg>
        <pc:grpChg chg="add del mod">
          <ac:chgData name="Lamb, Ben" userId="88a6f5f3-f9e5-47eb-a109-670a0c68440d" providerId="ADAL" clId="{61283625-AFAA-A843-B4D4-BB41EDC646A4}" dt="2021-04-01T15:34:55.527" v="14018"/>
          <ac:grpSpMkLst>
            <pc:docMk/>
            <pc:sldMk cId="473805852" sldId="1725"/>
            <ac:grpSpMk id="168" creationId="{D20A325D-E776-144A-8D8C-30945ADC76CA}"/>
          </ac:grpSpMkLst>
        </pc:grpChg>
        <pc:grpChg chg="mod">
          <ac:chgData name="Lamb, Ben" userId="88a6f5f3-f9e5-47eb-a109-670a0c68440d" providerId="ADAL" clId="{61283625-AFAA-A843-B4D4-BB41EDC646A4}" dt="2021-04-01T15:34:34.473" v="14013"/>
          <ac:grpSpMkLst>
            <pc:docMk/>
            <pc:sldMk cId="473805852" sldId="1725"/>
            <ac:grpSpMk id="169" creationId="{05EA0BD2-94DD-DA43-A75A-8001233AF3E6}"/>
          </ac:grpSpMkLst>
        </pc:grpChg>
        <pc:grpChg chg="add del mod">
          <ac:chgData name="Lamb, Ben" userId="88a6f5f3-f9e5-47eb-a109-670a0c68440d" providerId="ADAL" clId="{61283625-AFAA-A843-B4D4-BB41EDC646A4}" dt="2021-04-01T15:34:55.527" v="14018"/>
          <ac:grpSpMkLst>
            <pc:docMk/>
            <pc:sldMk cId="473805852" sldId="1725"/>
            <ac:grpSpMk id="173" creationId="{9AD524F6-4CD7-9745-9F7C-AB6953E2A711}"/>
          </ac:grpSpMkLst>
        </pc:grpChg>
        <pc:grpChg chg="add del mod">
          <ac:chgData name="Lamb, Ben" userId="88a6f5f3-f9e5-47eb-a109-670a0c68440d" providerId="ADAL" clId="{61283625-AFAA-A843-B4D4-BB41EDC646A4}" dt="2021-04-01T15:34:55.527" v="14018"/>
          <ac:grpSpMkLst>
            <pc:docMk/>
            <pc:sldMk cId="473805852" sldId="1725"/>
            <ac:grpSpMk id="176" creationId="{A3047E16-893F-4949-9E67-46EB21756763}"/>
          </ac:grpSpMkLst>
        </pc:grpChg>
        <pc:grpChg chg="add del mod">
          <ac:chgData name="Lamb, Ben" userId="88a6f5f3-f9e5-47eb-a109-670a0c68440d" providerId="ADAL" clId="{61283625-AFAA-A843-B4D4-BB41EDC646A4}" dt="2021-04-01T15:34:55.527" v="14018"/>
          <ac:grpSpMkLst>
            <pc:docMk/>
            <pc:sldMk cId="473805852" sldId="1725"/>
            <ac:grpSpMk id="179" creationId="{06497803-E199-7643-B953-F4E73DB295D9}"/>
          </ac:grpSpMkLst>
        </pc:grpChg>
        <pc:grpChg chg="mod">
          <ac:chgData name="Lamb, Ben" userId="88a6f5f3-f9e5-47eb-a109-670a0c68440d" providerId="ADAL" clId="{61283625-AFAA-A843-B4D4-BB41EDC646A4}" dt="2021-04-01T15:34:34.473" v="14013"/>
          <ac:grpSpMkLst>
            <pc:docMk/>
            <pc:sldMk cId="473805852" sldId="1725"/>
            <ac:grpSpMk id="180" creationId="{626D221E-2044-EE41-A13B-AB3FF70A19A8}"/>
          </ac:grpSpMkLst>
        </pc:grpChg>
        <pc:grpChg chg="add del mod">
          <ac:chgData name="Lamb, Ben" userId="88a6f5f3-f9e5-47eb-a109-670a0c68440d" providerId="ADAL" clId="{61283625-AFAA-A843-B4D4-BB41EDC646A4}" dt="2021-04-01T15:34:55.527" v="14018"/>
          <ac:grpSpMkLst>
            <pc:docMk/>
            <pc:sldMk cId="473805852" sldId="1725"/>
            <ac:grpSpMk id="190" creationId="{661C7F55-7910-E744-80A2-F3DC6E7BE65A}"/>
          </ac:grpSpMkLst>
        </pc:grpChg>
        <pc:grpChg chg="mod">
          <ac:chgData name="Lamb, Ben" userId="88a6f5f3-f9e5-47eb-a109-670a0c68440d" providerId="ADAL" clId="{61283625-AFAA-A843-B4D4-BB41EDC646A4}" dt="2021-04-01T15:34:34.473" v="14013"/>
          <ac:grpSpMkLst>
            <pc:docMk/>
            <pc:sldMk cId="473805852" sldId="1725"/>
            <ac:grpSpMk id="192" creationId="{669B469C-8F32-3A49-A894-4976BEA736CE}"/>
          </ac:grpSpMkLst>
        </pc:grpChg>
        <pc:grpChg chg="add del mod">
          <ac:chgData name="Lamb, Ben" userId="88a6f5f3-f9e5-47eb-a109-670a0c68440d" providerId="ADAL" clId="{61283625-AFAA-A843-B4D4-BB41EDC646A4}" dt="2021-04-01T15:34:55.527" v="14018"/>
          <ac:grpSpMkLst>
            <pc:docMk/>
            <pc:sldMk cId="473805852" sldId="1725"/>
            <ac:grpSpMk id="202" creationId="{9721BD94-9507-1A48-97F6-EDACF2F826BC}"/>
          </ac:grpSpMkLst>
        </pc:grpChg>
        <pc:picChg chg="del">
          <ac:chgData name="Lamb, Ben" userId="88a6f5f3-f9e5-47eb-a109-670a0c68440d" providerId="ADAL" clId="{61283625-AFAA-A843-B4D4-BB41EDC646A4}" dt="2021-04-01T14:39:48.252" v="13831" actId="478"/>
          <ac:picMkLst>
            <pc:docMk/>
            <pc:sldMk cId="473805852" sldId="1725"/>
            <ac:picMk id="26" creationId="{DF61ED40-89BE-014F-B45E-6F84E97C0A6F}"/>
          </ac:picMkLst>
        </pc:picChg>
        <pc:picChg chg="del">
          <ac:chgData name="Lamb, Ben" userId="88a6f5f3-f9e5-47eb-a109-670a0c68440d" providerId="ADAL" clId="{61283625-AFAA-A843-B4D4-BB41EDC646A4}" dt="2021-04-01T14:39:48.252" v="13831" actId="478"/>
          <ac:picMkLst>
            <pc:docMk/>
            <pc:sldMk cId="473805852" sldId="1725"/>
            <ac:picMk id="27" creationId="{BB4B7560-E98C-A645-B027-12441B91B2AA}"/>
          </ac:picMkLst>
        </pc:picChg>
        <pc:picChg chg="del mod">
          <ac:chgData name="Lamb, Ben" userId="88a6f5f3-f9e5-47eb-a109-670a0c68440d" providerId="ADAL" clId="{61283625-AFAA-A843-B4D4-BB41EDC646A4}" dt="2021-04-01T14:39:48.252" v="13831" actId="478"/>
          <ac:picMkLst>
            <pc:docMk/>
            <pc:sldMk cId="473805852" sldId="1725"/>
            <ac:picMk id="28" creationId="{071ACE07-A71A-4B47-8085-C21CC5129766}"/>
          </ac:picMkLst>
        </pc:picChg>
        <pc:picChg chg="del mod">
          <ac:chgData name="Lamb, Ben" userId="88a6f5f3-f9e5-47eb-a109-670a0c68440d" providerId="ADAL" clId="{61283625-AFAA-A843-B4D4-BB41EDC646A4}" dt="2021-04-01T14:39:48.252" v="13831" actId="478"/>
          <ac:picMkLst>
            <pc:docMk/>
            <pc:sldMk cId="473805852" sldId="1725"/>
            <ac:picMk id="79" creationId="{FEB86B5C-7F30-C747-8453-3130781A3DC3}"/>
          </ac:picMkLst>
        </pc:picChg>
        <pc:cxnChg chg="del mod">
          <ac:chgData name="Lamb, Ben" userId="88a6f5f3-f9e5-47eb-a109-670a0c68440d" providerId="ADAL" clId="{61283625-AFAA-A843-B4D4-BB41EDC646A4}" dt="2021-04-01T14:39:48.252" v="13831" actId="478"/>
          <ac:cxnSpMkLst>
            <pc:docMk/>
            <pc:sldMk cId="473805852" sldId="1725"/>
            <ac:cxnSpMk id="10" creationId="{EDAE3E5F-E9E0-6849-BA0C-E0F499A17093}"/>
          </ac:cxnSpMkLst>
        </pc:cxnChg>
        <pc:cxnChg chg="del mod">
          <ac:chgData name="Lamb, Ben" userId="88a6f5f3-f9e5-47eb-a109-670a0c68440d" providerId="ADAL" clId="{61283625-AFAA-A843-B4D4-BB41EDC646A4}" dt="2021-04-01T14:39:48.252" v="13831" actId="478"/>
          <ac:cxnSpMkLst>
            <pc:docMk/>
            <pc:sldMk cId="473805852" sldId="1725"/>
            <ac:cxnSpMk id="15" creationId="{B2FB466C-6DB7-AA43-BCCB-F6EC0AF9A2E3}"/>
          </ac:cxnSpMkLst>
        </pc:cxnChg>
        <pc:cxnChg chg="del mod">
          <ac:chgData name="Lamb, Ben" userId="88a6f5f3-f9e5-47eb-a109-670a0c68440d" providerId="ADAL" clId="{61283625-AFAA-A843-B4D4-BB41EDC646A4}" dt="2021-04-01T14:35:03.336" v="13825" actId="478"/>
          <ac:cxnSpMkLst>
            <pc:docMk/>
            <pc:sldMk cId="473805852" sldId="1725"/>
            <ac:cxnSpMk id="18" creationId="{6BBA5B77-D378-8545-9C78-2F4CD19A3304}"/>
          </ac:cxnSpMkLst>
        </pc:cxnChg>
        <pc:cxnChg chg="del mod">
          <ac:chgData name="Lamb, Ben" userId="88a6f5f3-f9e5-47eb-a109-670a0c68440d" providerId="ADAL" clId="{61283625-AFAA-A843-B4D4-BB41EDC646A4}" dt="2021-04-01T14:39:48.252" v="13831" actId="478"/>
          <ac:cxnSpMkLst>
            <pc:docMk/>
            <pc:sldMk cId="473805852" sldId="1725"/>
            <ac:cxnSpMk id="19" creationId="{927F280B-FF39-974E-A326-28732C9C28C2}"/>
          </ac:cxnSpMkLst>
        </pc:cxnChg>
        <pc:cxnChg chg="del mod">
          <ac:chgData name="Lamb, Ben" userId="88a6f5f3-f9e5-47eb-a109-670a0c68440d" providerId="ADAL" clId="{61283625-AFAA-A843-B4D4-BB41EDC646A4}" dt="2021-04-01T14:23:41.134" v="13708" actId="478"/>
          <ac:cxnSpMkLst>
            <pc:docMk/>
            <pc:sldMk cId="473805852" sldId="1725"/>
            <ac:cxnSpMk id="22" creationId="{4A0F444D-64E0-4348-9CBD-109983736642}"/>
          </ac:cxnSpMkLst>
        </pc:cxnChg>
        <pc:cxnChg chg="del mod">
          <ac:chgData name="Lamb, Ben" userId="88a6f5f3-f9e5-47eb-a109-670a0c68440d" providerId="ADAL" clId="{61283625-AFAA-A843-B4D4-BB41EDC646A4}" dt="2021-04-01T14:23:41.134" v="13708" actId="478"/>
          <ac:cxnSpMkLst>
            <pc:docMk/>
            <pc:sldMk cId="473805852" sldId="1725"/>
            <ac:cxnSpMk id="36" creationId="{2503D715-EC65-7947-8142-DBBF9AE9D5E9}"/>
          </ac:cxnSpMkLst>
        </pc:cxnChg>
        <pc:cxnChg chg="del mod">
          <ac:chgData name="Lamb, Ben" userId="88a6f5f3-f9e5-47eb-a109-670a0c68440d" providerId="ADAL" clId="{61283625-AFAA-A843-B4D4-BB41EDC646A4}" dt="2021-04-01T14:39:48.252" v="13831" actId="478"/>
          <ac:cxnSpMkLst>
            <pc:docMk/>
            <pc:sldMk cId="473805852" sldId="1725"/>
            <ac:cxnSpMk id="64" creationId="{AFA74A32-E6C2-3B4C-A37F-3E8F7FF99091}"/>
          </ac:cxnSpMkLst>
        </pc:cxnChg>
        <pc:cxnChg chg="del mod">
          <ac:chgData name="Lamb, Ben" userId="88a6f5f3-f9e5-47eb-a109-670a0c68440d" providerId="ADAL" clId="{61283625-AFAA-A843-B4D4-BB41EDC646A4}" dt="2021-04-01T14:39:48.252" v="13831" actId="478"/>
          <ac:cxnSpMkLst>
            <pc:docMk/>
            <pc:sldMk cId="473805852" sldId="1725"/>
            <ac:cxnSpMk id="80" creationId="{71DDA851-0751-7A49-8341-63097EE471D3}"/>
          </ac:cxnSpMkLst>
        </pc:cxnChg>
        <pc:cxnChg chg="del mod">
          <ac:chgData name="Lamb, Ben" userId="88a6f5f3-f9e5-47eb-a109-670a0c68440d" providerId="ADAL" clId="{61283625-AFAA-A843-B4D4-BB41EDC646A4}" dt="2021-04-01T14:39:48.252" v="13831" actId="478"/>
          <ac:cxnSpMkLst>
            <pc:docMk/>
            <pc:sldMk cId="473805852" sldId="1725"/>
            <ac:cxnSpMk id="85" creationId="{008DDFE9-C686-1141-8BF1-C70D347B935C}"/>
          </ac:cxnSpMkLst>
        </pc:cxnChg>
        <pc:cxnChg chg="add del mod">
          <ac:chgData name="Lamb, Ben" userId="88a6f5f3-f9e5-47eb-a109-670a0c68440d" providerId="ADAL" clId="{61283625-AFAA-A843-B4D4-BB41EDC646A4}" dt="2021-04-01T15:34:55.527" v="14018"/>
          <ac:cxnSpMkLst>
            <pc:docMk/>
            <pc:sldMk cId="473805852" sldId="1725"/>
            <ac:cxnSpMk id="91" creationId="{D7DF3F21-FEA2-EE4B-B769-CA2F4B625F20}"/>
          </ac:cxnSpMkLst>
        </pc:cxnChg>
        <pc:cxnChg chg="add del mod">
          <ac:chgData name="Lamb, Ben" userId="88a6f5f3-f9e5-47eb-a109-670a0c68440d" providerId="ADAL" clId="{61283625-AFAA-A843-B4D4-BB41EDC646A4}" dt="2021-04-01T15:34:55.527" v="14018"/>
          <ac:cxnSpMkLst>
            <pc:docMk/>
            <pc:sldMk cId="473805852" sldId="1725"/>
            <ac:cxnSpMk id="92" creationId="{CEF0EFBF-4040-7745-B56D-9D389241E65F}"/>
          </ac:cxnSpMkLst>
        </pc:cxnChg>
        <pc:cxnChg chg="add del mod">
          <ac:chgData name="Lamb, Ben" userId="88a6f5f3-f9e5-47eb-a109-670a0c68440d" providerId="ADAL" clId="{61283625-AFAA-A843-B4D4-BB41EDC646A4}" dt="2021-04-01T15:34:55.527" v="14018"/>
          <ac:cxnSpMkLst>
            <pc:docMk/>
            <pc:sldMk cId="473805852" sldId="1725"/>
            <ac:cxnSpMk id="93" creationId="{B5BE3CC0-B269-0549-8213-51D6A797081C}"/>
          </ac:cxnSpMkLst>
        </pc:cxnChg>
        <pc:cxnChg chg="del mod">
          <ac:chgData name="Lamb, Ben" userId="88a6f5f3-f9e5-47eb-a109-670a0c68440d" providerId="ADAL" clId="{61283625-AFAA-A843-B4D4-BB41EDC646A4}" dt="2021-04-01T14:39:48.252" v="13831" actId="478"/>
          <ac:cxnSpMkLst>
            <pc:docMk/>
            <pc:sldMk cId="473805852" sldId="1725"/>
            <ac:cxnSpMk id="94" creationId="{9B63AE30-F168-3542-AFC8-B66F1B1EB809}"/>
          </ac:cxnSpMkLst>
        </pc:cxnChg>
        <pc:cxnChg chg="del mod">
          <ac:chgData name="Lamb, Ben" userId="88a6f5f3-f9e5-47eb-a109-670a0c68440d" providerId="ADAL" clId="{61283625-AFAA-A843-B4D4-BB41EDC646A4}" dt="2021-04-01T14:39:48.252" v="13831" actId="478"/>
          <ac:cxnSpMkLst>
            <pc:docMk/>
            <pc:sldMk cId="473805852" sldId="1725"/>
            <ac:cxnSpMk id="97" creationId="{0566378F-203A-8242-B95A-3ADF0AB09F25}"/>
          </ac:cxnSpMkLst>
        </pc:cxnChg>
        <pc:cxnChg chg="add del mod">
          <ac:chgData name="Lamb, Ben" userId="88a6f5f3-f9e5-47eb-a109-670a0c68440d" providerId="ADAL" clId="{61283625-AFAA-A843-B4D4-BB41EDC646A4}" dt="2021-04-01T15:34:55.527" v="14018"/>
          <ac:cxnSpMkLst>
            <pc:docMk/>
            <pc:sldMk cId="473805852" sldId="1725"/>
            <ac:cxnSpMk id="102" creationId="{19CD8B2C-CA2C-7A43-BA72-86CB9D0C58A3}"/>
          </ac:cxnSpMkLst>
        </pc:cxnChg>
        <pc:cxnChg chg="add del mod">
          <ac:chgData name="Lamb, Ben" userId="88a6f5f3-f9e5-47eb-a109-670a0c68440d" providerId="ADAL" clId="{61283625-AFAA-A843-B4D4-BB41EDC646A4}" dt="2021-04-01T15:34:55.527" v="14018"/>
          <ac:cxnSpMkLst>
            <pc:docMk/>
            <pc:sldMk cId="473805852" sldId="1725"/>
            <ac:cxnSpMk id="103" creationId="{F049752F-10A4-7C4A-8247-1F7A153B67AB}"/>
          </ac:cxnSpMkLst>
        </pc:cxnChg>
        <pc:cxnChg chg="add del mod">
          <ac:chgData name="Lamb, Ben" userId="88a6f5f3-f9e5-47eb-a109-670a0c68440d" providerId="ADAL" clId="{61283625-AFAA-A843-B4D4-BB41EDC646A4}" dt="2021-04-01T15:34:55.527" v="14018"/>
          <ac:cxnSpMkLst>
            <pc:docMk/>
            <pc:sldMk cId="473805852" sldId="1725"/>
            <ac:cxnSpMk id="105" creationId="{66BFEBF6-3FF9-1C47-BE3A-167E74B9ABE4}"/>
          </ac:cxnSpMkLst>
        </pc:cxnChg>
        <pc:cxnChg chg="add del mod">
          <ac:chgData name="Lamb, Ben" userId="88a6f5f3-f9e5-47eb-a109-670a0c68440d" providerId="ADAL" clId="{61283625-AFAA-A843-B4D4-BB41EDC646A4}" dt="2021-04-01T15:34:55.527" v="14018"/>
          <ac:cxnSpMkLst>
            <pc:docMk/>
            <pc:sldMk cId="473805852" sldId="1725"/>
            <ac:cxnSpMk id="106" creationId="{7952749D-AF4C-2644-A3EC-9F72740CD6C4}"/>
          </ac:cxnSpMkLst>
        </pc:cxnChg>
        <pc:cxnChg chg="add del mod">
          <ac:chgData name="Lamb, Ben" userId="88a6f5f3-f9e5-47eb-a109-670a0c68440d" providerId="ADAL" clId="{61283625-AFAA-A843-B4D4-BB41EDC646A4}" dt="2021-04-01T15:34:55.527" v="14018"/>
          <ac:cxnSpMkLst>
            <pc:docMk/>
            <pc:sldMk cId="473805852" sldId="1725"/>
            <ac:cxnSpMk id="109" creationId="{EBB3F5D7-E87A-584D-A3B7-F4929AE4147E}"/>
          </ac:cxnSpMkLst>
        </pc:cxnChg>
        <pc:cxnChg chg="add del mod">
          <ac:chgData name="Lamb, Ben" userId="88a6f5f3-f9e5-47eb-a109-670a0c68440d" providerId="ADAL" clId="{61283625-AFAA-A843-B4D4-BB41EDC646A4}" dt="2021-04-01T15:34:55.527" v="14018"/>
          <ac:cxnSpMkLst>
            <pc:docMk/>
            <pc:sldMk cId="473805852" sldId="1725"/>
            <ac:cxnSpMk id="110" creationId="{9193819C-ACCF-B44A-BDDD-C288BD2DF994}"/>
          </ac:cxnSpMkLst>
        </pc:cxnChg>
        <pc:cxnChg chg="add del mod">
          <ac:chgData name="Lamb, Ben" userId="88a6f5f3-f9e5-47eb-a109-670a0c68440d" providerId="ADAL" clId="{61283625-AFAA-A843-B4D4-BB41EDC646A4}" dt="2021-04-01T15:34:55.527" v="14018"/>
          <ac:cxnSpMkLst>
            <pc:docMk/>
            <pc:sldMk cId="473805852" sldId="1725"/>
            <ac:cxnSpMk id="111" creationId="{BBC2D293-2296-2740-BF5A-E921CFB797C2}"/>
          </ac:cxnSpMkLst>
        </pc:cxnChg>
        <pc:cxnChg chg="del mod">
          <ac:chgData name="Lamb, Ben" userId="88a6f5f3-f9e5-47eb-a109-670a0c68440d" providerId="ADAL" clId="{61283625-AFAA-A843-B4D4-BB41EDC646A4}" dt="2021-04-01T14:39:48.252" v="13831" actId="478"/>
          <ac:cxnSpMkLst>
            <pc:docMk/>
            <pc:sldMk cId="473805852" sldId="1725"/>
            <ac:cxnSpMk id="147" creationId="{800E7938-2F7B-6D42-A984-07E3A19627CE}"/>
          </ac:cxnSpMkLst>
        </pc:cxnChg>
        <pc:cxnChg chg="del mod">
          <ac:chgData name="Lamb, Ben" userId="88a6f5f3-f9e5-47eb-a109-670a0c68440d" providerId="ADAL" clId="{61283625-AFAA-A843-B4D4-BB41EDC646A4}" dt="2021-04-01T14:39:48.252" v="13831" actId="478"/>
          <ac:cxnSpMkLst>
            <pc:docMk/>
            <pc:sldMk cId="473805852" sldId="1725"/>
            <ac:cxnSpMk id="150" creationId="{9054AA54-1474-3343-A484-0C6A00A9EF43}"/>
          </ac:cxnSpMkLst>
        </pc:cxnChg>
      </pc:sldChg>
      <pc:sldChg chg="new del">
        <pc:chgData name="Lamb, Ben" userId="88a6f5f3-f9e5-47eb-a109-670a0c68440d" providerId="ADAL" clId="{61283625-AFAA-A843-B4D4-BB41EDC646A4}" dt="2021-03-31T20:09:51.225" v="11672" actId="680"/>
        <pc:sldMkLst>
          <pc:docMk/>
          <pc:sldMk cId="4055989841" sldId="1725"/>
        </pc:sldMkLst>
      </pc:sldChg>
      <pc:sldChg chg="add">
        <pc:chgData name="Lamb, Ben" userId="88a6f5f3-f9e5-47eb-a109-670a0c68440d" providerId="ADAL" clId="{61283625-AFAA-A843-B4D4-BB41EDC646A4}" dt="2021-04-01T18:02:04.638" v="16600"/>
        <pc:sldMkLst>
          <pc:docMk/>
          <pc:sldMk cId="1307733305" sldId="1726"/>
        </pc:sldMkLst>
      </pc:sldChg>
      <pc:sldChg chg="addSp delSp modSp add del mod">
        <pc:chgData name="Lamb, Ben" userId="88a6f5f3-f9e5-47eb-a109-670a0c68440d" providerId="ADAL" clId="{61283625-AFAA-A843-B4D4-BB41EDC646A4}" dt="2021-04-01T18:01:59.826" v="16599" actId="2696"/>
        <pc:sldMkLst>
          <pc:docMk/>
          <pc:sldMk cId="3910625407" sldId="1726"/>
        </pc:sldMkLst>
        <pc:spChg chg="mod">
          <ac:chgData name="Lamb, Ben" userId="88a6f5f3-f9e5-47eb-a109-670a0c68440d" providerId="ADAL" clId="{61283625-AFAA-A843-B4D4-BB41EDC646A4}" dt="2021-04-01T17:52:41.901" v="16463" actId="1076"/>
          <ac:spMkLst>
            <pc:docMk/>
            <pc:sldMk cId="3910625407" sldId="1726"/>
            <ac:spMk id="2" creationId="{6803BF32-346D-D848-BCA0-2E76713755FF}"/>
          </ac:spMkLst>
        </pc:spChg>
        <pc:spChg chg="add del mod">
          <ac:chgData name="Lamb, Ben" userId="88a6f5f3-f9e5-47eb-a109-670a0c68440d" providerId="ADAL" clId="{61283625-AFAA-A843-B4D4-BB41EDC646A4}" dt="2021-04-01T16:06:56.442" v="14809" actId="478"/>
          <ac:spMkLst>
            <pc:docMk/>
            <pc:sldMk cId="3910625407" sldId="1726"/>
            <ac:spMk id="4" creationId="{4342725F-DA99-FD4F-824B-2600C293EA12}"/>
          </ac:spMkLst>
        </pc:spChg>
        <pc:spChg chg="del">
          <ac:chgData name="Lamb, Ben" userId="88a6f5f3-f9e5-47eb-a109-670a0c68440d" providerId="ADAL" clId="{61283625-AFAA-A843-B4D4-BB41EDC646A4}" dt="2021-04-01T15:35:29.300" v="14020" actId="478"/>
          <ac:spMkLst>
            <pc:docMk/>
            <pc:sldMk cId="3910625407" sldId="1726"/>
            <ac:spMk id="5" creationId="{7496F3D1-9F54-414E-9E4A-CF185921593A}"/>
          </ac:spMkLst>
        </pc:spChg>
        <pc:spChg chg="del">
          <ac:chgData name="Lamb, Ben" userId="88a6f5f3-f9e5-47eb-a109-670a0c68440d" providerId="ADAL" clId="{61283625-AFAA-A843-B4D4-BB41EDC646A4}" dt="2021-04-01T15:35:39.171" v="14035" actId="478"/>
          <ac:spMkLst>
            <pc:docMk/>
            <pc:sldMk cId="3910625407" sldId="1726"/>
            <ac:spMk id="6" creationId="{9EE36527-2B7C-D841-8BBA-39A4A301218D}"/>
          </ac:spMkLst>
        </pc:spChg>
        <pc:spChg chg="del">
          <ac:chgData name="Lamb, Ben" userId="88a6f5f3-f9e5-47eb-a109-670a0c68440d" providerId="ADAL" clId="{61283625-AFAA-A843-B4D4-BB41EDC646A4}" dt="2021-04-01T15:35:39.171" v="14035" actId="478"/>
          <ac:spMkLst>
            <pc:docMk/>
            <pc:sldMk cId="3910625407" sldId="1726"/>
            <ac:spMk id="9" creationId="{FC47455C-BE5E-9B46-A8F2-33D49C655F92}"/>
          </ac:spMkLst>
        </pc:spChg>
        <pc:spChg chg="del">
          <ac:chgData name="Lamb, Ben" userId="88a6f5f3-f9e5-47eb-a109-670a0c68440d" providerId="ADAL" clId="{61283625-AFAA-A843-B4D4-BB41EDC646A4}" dt="2021-04-01T15:35:39.171" v="14035" actId="478"/>
          <ac:spMkLst>
            <pc:docMk/>
            <pc:sldMk cId="3910625407" sldId="1726"/>
            <ac:spMk id="12" creationId="{4793E1DF-A8BA-4B45-814D-CE4487530B8C}"/>
          </ac:spMkLst>
        </pc:spChg>
        <pc:spChg chg="del">
          <ac:chgData name="Lamb, Ben" userId="88a6f5f3-f9e5-47eb-a109-670a0c68440d" providerId="ADAL" clId="{61283625-AFAA-A843-B4D4-BB41EDC646A4}" dt="2021-04-01T15:35:39.171" v="14035" actId="478"/>
          <ac:spMkLst>
            <pc:docMk/>
            <pc:sldMk cId="3910625407" sldId="1726"/>
            <ac:spMk id="13" creationId="{35C1F822-75BF-944C-B30D-BAEED58529DB}"/>
          </ac:spMkLst>
        </pc:spChg>
        <pc:spChg chg="del">
          <ac:chgData name="Lamb, Ben" userId="88a6f5f3-f9e5-47eb-a109-670a0c68440d" providerId="ADAL" clId="{61283625-AFAA-A843-B4D4-BB41EDC646A4}" dt="2021-04-01T15:35:39.171" v="14035" actId="478"/>
          <ac:spMkLst>
            <pc:docMk/>
            <pc:sldMk cId="3910625407" sldId="1726"/>
            <ac:spMk id="14" creationId="{D9574139-CC82-2D45-8309-DFE356415800}"/>
          </ac:spMkLst>
        </pc:spChg>
        <pc:spChg chg="del">
          <ac:chgData name="Lamb, Ben" userId="88a6f5f3-f9e5-47eb-a109-670a0c68440d" providerId="ADAL" clId="{61283625-AFAA-A843-B4D4-BB41EDC646A4}" dt="2021-04-01T15:35:39.171" v="14035" actId="478"/>
          <ac:spMkLst>
            <pc:docMk/>
            <pc:sldMk cId="3910625407" sldId="1726"/>
            <ac:spMk id="21" creationId="{F1958830-145C-984D-9030-71E69425D5D2}"/>
          </ac:spMkLst>
        </pc:spChg>
        <pc:spChg chg="del">
          <ac:chgData name="Lamb, Ben" userId="88a6f5f3-f9e5-47eb-a109-670a0c68440d" providerId="ADAL" clId="{61283625-AFAA-A843-B4D4-BB41EDC646A4}" dt="2021-04-01T15:35:39.171" v="14035" actId="478"/>
          <ac:spMkLst>
            <pc:docMk/>
            <pc:sldMk cId="3910625407" sldId="1726"/>
            <ac:spMk id="24" creationId="{05753340-1ED1-0B45-9528-C8FB88C5B924}"/>
          </ac:spMkLst>
        </pc:spChg>
        <pc:spChg chg="del">
          <ac:chgData name="Lamb, Ben" userId="88a6f5f3-f9e5-47eb-a109-670a0c68440d" providerId="ADAL" clId="{61283625-AFAA-A843-B4D4-BB41EDC646A4}" dt="2021-04-01T15:35:39.171" v="14035" actId="478"/>
          <ac:spMkLst>
            <pc:docMk/>
            <pc:sldMk cId="3910625407" sldId="1726"/>
            <ac:spMk id="30" creationId="{D422DB41-3AB0-2648-B589-864A6BEEF597}"/>
          </ac:spMkLst>
        </pc:spChg>
        <pc:spChg chg="del">
          <ac:chgData name="Lamb, Ben" userId="88a6f5f3-f9e5-47eb-a109-670a0c68440d" providerId="ADAL" clId="{61283625-AFAA-A843-B4D4-BB41EDC646A4}" dt="2021-04-01T15:35:39.171" v="14035" actId="478"/>
          <ac:spMkLst>
            <pc:docMk/>
            <pc:sldMk cId="3910625407" sldId="1726"/>
            <ac:spMk id="33" creationId="{E6C1EB0B-D6C7-8844-A72A-363F4C64F301}"/>
          </ac:spMkLst>
        </pc:spChg>
        <pc:spChg chg="add mod">
          <ac:chgData name="Lamb, Ben" userId="88a6f5f3-f9e5-47eb-a109-670a0c68440d" providerId="ADAL" clId="{61283625-AFAA-A843-B4D4-BB41EDC646A4}" dt="2021-04-01T15:45:27.422" v="14183" actId="20577"/>
          <ac:spMkLst>
            <pc:docMk/>
            <pc:sldMk cId="3910625407" sldId="1726"/>
            <ac:spMk id="37" creationId="{DD1B831F-33DC-734F-A585-F0E1967365DF}"/>
          </ac:spMkLst>
        </pc:spChg>
        <pc:spChg chg="add mod">
          <ac:chgData name="Lamb, Ben" userId="88a6f5f3-f9e5-47eb-a109-670a0c68440d" providerId="ADAL" clId="{61283625-AFAA-A843-B4D4-BB41EDC646A4}" dt="2021-04-01T15:44:33.917" v="14146" actId="20577"/>
          <ac:spMkLst>
            <pc:docMk/>
            <pc:sldMk cId="3910625407" sldId="1726"/>
            <ac:spMk id="38" creationId="{05632F35-8B59-8140-B651-8565E2392470}"/>
          </ac:spMkLst>
        </pc:spChg>
        <pc:spChg chg="add mod">
          <ac:chgData name="Lamb, Ben" userId="88a6f5f3-f9e5-47eb-a109-670a0c68440d" providerId="ADAL" clId="{61283625-AFAA-A843-B4D4-BB41EDC646A4}" dt="2021-04-01T15:37:00.976" v="14042" actId="1076"/>
          <ac:spMkLst>
            <pc:docMk/>
            <pc:sldMk cId="3910625407" sldId="1726"/>
            <ac:spMk id="42" creationId="{4025E3F6-FC87-D64A-8D31-EBA48BFCCD26}"/>
          </ac:spMkLst>
        </pc:spChg>
        <pc:spChg chg="add mod">
          <ac:chgData name="Lamb, Ben" userId="88a6f5f3-f9e5-47eb-a109-670a0c68440d" providerId="ADAL" clId="{61283625-AFAA-A843-B4D4-BB41EDC646A4}" dt="2021-04-01T15:37:00.976" v="14042" actId="1076"/>
          <ac:spMkLst>
            <pc:docMk/>
            <pc:sldMk cId="3910625407" sldId="1726"/>
            <ac:spMk id="43" creationId="{AB89DE2C-954E-C54A-A829-04E6448EEF89}"/>
          </ac:spMkLst>
        </pc:spChg>
        <pc:spChg chg="add mod">
          <ac:chgData name="Lamb, Ben" userId="88a6f5f3-f9e5-47eb-a109-670a0c68440d" providerId="ADAL" clId="{61283625-AFAA-A843-B4D4-BB41EDC646A4}" dt="2021-04-01T15:37:00.976" v="14042" actId="1076"/>
          <ac:spMkLst>
            <pc:docMk/>
            <pc:sldMk cId="3910625407" sldId="1726"/>
            <ac:spMk id="44" creationId="{6B719D6D-E85C-C449-A648-B1FCC35551E8}"/>
          </ac:spMkLst>
        </pc:spChg>
        <pc:spChg chg="add mod">
          <ac:chgData name="Lamb, Ben" userId="88a6f5f3-f9e5-47eb-a109-670a0c68440d" providerId="ADAL" clId="{61283625-AFAA-A843-B4D4-BB41EDC646A4}" dt="2021-04-01T15:41:31.437" v="14095" actId="1076"/>
          <ac:spMkLst>
            <pc:docMk/>
            <pc:sldMk cId="3910625407" sldId="1726"/>
            <ac:spMk id="45" creationId="{47FAF30C-0DAD-2744-BF06-C3C3D1DC3046}"/>
          </ac:spMkLst>
        </pc:spChg>
        <pc:spChg chg="add mod">
          <ac:chgData name="Lamb, Ben" userId="88a6f5f3-f9e5-47eb-a109-670a0c68440d" providerId="ADAL" clId="{61283625-AFAA-A843-B4D4-BB41EDC646A4}" dt="2021-04-01T15:53:58.653" v="14530" actId="20577"/>
          <ac:spMkLst>
            <pc:docMk/>
            <pc:sldMk cId="3910625407" sldId="1726"/>
            <ac:spMk id="46" creationId="{09616488-B681-9743-BDAC-8C94AEE6A7E2}"/>
          </ac:spMkLst>
        </pc:spChg>
        <pc:spChg chg="add mod">
          <ac:chgData name="Lamb, Ben" userId="88a6f5f3-f9e5-47eb-a109-670a0c68440d" providerId="ADAL" clId="{61283625-AFAA-A843-B4D4-BB41EDC646A4}" dt="2021-04-01T15:45:45.216" v="14220" actId="20577"/>
          <ac:spMkLst>
            <pc:docMk/>
            <pc:sldMk cId="3910625407" sldId="1726"/>
            <ac:spMk id="47" creationId="{E3D0CCCF-549B-E54F-B211-1D00217A6C66}"/>
          </ac:spMkLst>
        </pc:spChg>
        <pc:spChg chg="add mod">
          <ac:chgData name="Lamb, Ben" userId="88a6f5f3-f9e5-47eb-a109-670a0c68440d" providerId="ADAL" clId="{61283625-AFAA-A843-B4D4-BB41EDC646A4}" dt="2021-04-01T15:53:43.915" v="14518" actId="1076"/>
          <ac:spMkLst>
            <pc:docMk/>
            <pc:sldMk cId="3910625407" sldId="1726"/>
            <ac:spMk id="50" creationId="{15E284C3-CF77-8044-A7AE-93B55E9C1B0E}"/>
          </ac:spMkLst>
        </pc:spChg>
        <pc:spChg chg="del">
          <ac:chgData name="Lamb, Ben" userId="88a6f5f3-f9e5-47eb-a109-670a0c68440d" providerId="ADAL" clId="{61283625-AFAA-A843-B4D4-BB41EDC646A4}" dt="2021-04-01T15:35:39.171" v="14035" actId="478"/>
          <ac:spMkLst>
            <pc:docMk/>
            <pc:sldMk cId="3910625407" sldId="1726"/>
            <ac:spMk id="53" creationId="{E3DC0D3C-7BDA-9349-A187-4CFBCA7DFEE5}"/>
          </ac:spMkLst>
        </pc:spChg>
        <pc:spChg chg="add mod">
          <ac:chgData name="Lamb, Ben" userId="88a6f5f3-f9e5-47eb-a109-670a0c68440d" providerId="ADAL" clId="{61283625-AFAA-A843-B4D4-BB41EDC646A4}" dt="2021-04-01T16:15:47.968" v="14945" actId="1076"/>
          <ac:spMkLst>
            <pc:docMk/>
            <pc:sldMk cId="3910625407" sldId="1726"/>
            <ac:spMk id="55" creationId="{36D57EA2-AB3A-9D4C-AD0E-0E49617A1144}"/>
          </ac:spMkLst>
        </pc:spChg>
        <pc:spChg chg="add mod">
          <ac:chgData name="Lamb, Ben" userId="88a6f5f3-f9e5-47eb-a109-670a0c68440d" providerId="ADAL" clId="{61283625-AFAA-A843-B4D4-BB41EDC646A4}" dt="2021-04-01T15:44:09.861" v="14106" actId="1076"/>
          <ac:spMkLst>
            <pc:docMk/>
            <pc:sldMk cId="3910625407" sldId="1726"/>
            <ac:spMk id="56" creationId="{C45B0F60-4814-0849-A486-0E8AD2C9005C}"/>
          </ac:spMkLst>
        </pc:spChg>
        <pc:spChg chg="mod">
          <ac:chgData name="Lamb, Ben" userId="88a6f5f3-f9e5-47eb-a109-670a0c68440d" providerId="ADAL" clId="{61283625-AFAA-A843-B4D4-BB41EDC646A4}" dt="2021-04-01T15:35:39.661" v="14036"/>
          <ac:spMkLst>
            <pc:docMk/>
            <pc:sldMk cId="3910625407" sldId="1726"/>
            <ac:spMk id="61" creationId="{FD92ED13-1137-7047-BCFA-CCCC3EB44845}"/>
          </ac:spMkLst>
        </pc:spChg>
        <pc:spChg chg="mod">
          <ac:chgData name="Lamb, Ben" userId="88a6f5f3-f9e5-47eb-a109-670a0c68440d" providerId="ADAL" clId="{61283625-AFAA-A843-B4D4-BB41EDC646A4}" dt="2021-04-01T15:35:39.661" v="14036"/>
          <ac:spMkLst>
            <pc:docMk/>
            <pc:sldMk cId="3910625407" sldId="1726"/>
            <ac:spMk id="62" creationId="{CFAF0ABD-4273-A84A-B968-6799B645BF1D}"/>
          </ac:spMkLst>
        </pc:spChg>
        <pc:spChg chg="mod">
          <ac:chgData name="Lamb, Ben" userId="88a6f5f3-f9e5-47eb-a109-670a0c68440d" providerId="ADAL" clId="{61283625-AFAA-A843-B4D4-BB41EDC646A4}" dt="2021-04-01T15:35:39.661" v="14036"/>
          <ac:spMkLst>
            <pc:docMk/>
            <pc:sldMk cId="3910625407" sldId="1726"/>
            <ac:spMk id="65" creationId="{F1929A83-FAA7-3F4C-A966-FEE1C5C1D66E}"/>
          </ac:spMkLst>
        </pc:spChg>
        <pc:spChg chg="mod">
          <ac:chgData name="Lamb, Ben" userId="88a6f5f3-f9e5-47eb-a109-670a0c68440d" providerId="ADAL" clId="{61283625-AFAA-A843-B4D4-BB41EDC646A4}" dt="2021-04-01T15:35:39.661" v="14036"/>
          <ac:spMkLst>
            <pc:docMk/>
            <pc:sldMk cId="3910625407" sldId="1726"/>
            <ac:spMk id="66" creationId="{68C49D6E-A559-0949-BE44-2AA2C2BB526C}"/>
          </ac:spMkLst>
        </pc:spChg>
        <pc:spChg chg="mod">
          <ac:chgData name="Lamb, Ben" userId="88a6f5f3-f9e5-47eb-a109-670a0c68440d" providerId="ADAL" clId="{61283625-AFAA-A843-B4D4-BB41EDC646A4}" dt="2021-04-01T15:45:50.054" v="14221" actId="404"/>
          <ac:spMkLst>
            <pc:docMk/>
            <pc:sldMk cId="3910625407" sldId="1726"/>
            <ac:spMk id="68" creationId="{93B20400-B2C5-CB47-A676-C48E811EC749}"/>
          </ac:spMkLst>
        </pc:spChg>
        <pc:spChg chg="mod">
          <ac:chgData name="Lamb, Ben" userId="88a6f5f3-f9e5-47eb-a109-670a0c68440d" providerId="ADAL" clId="{61283625-AFAA-A843-B4D4-BB41EDC646A4}" dt="2021-04-01T15:45:50.054" v="14221" actId="404"/>
          <ac:spMkLst>
            <pc:docMk/>
            <pc:sldMk cId="3910625407" sldId="1726"/>
            <ac:spMk id="69" creationId="{CA153230-6DF2-5B43-B64A-E17058723E62}"/>
          </ac:spMkLst>
        </pc:spChg>
        <pc:spChg chg="mod">
          <ac:chgData name="Lamb, Ben" userId="88a6f5f3-f9e5-47eb-a109-670a0c68440d" providerId="ADAL" clId="{61283625-AFAA-A843-B4D4-BB41EDC646A4}" dt="2021-04-01T15:35:39.661" v="14036"/>
          <ac:spMkLst>
            <pc:docMk/>
            <pc:sldMk cId="3910625407" sldId="1726"/>
            <ac:spMk id="71" creationId="{89D4147F-9EA1-2E43-9D55-9383491E03F3}"/>
          </ac:spMkLst>
        </pc:spChg>
        <pc:spChg chg="mod">
          <ac:chgData name="Lamb, Ben" userId="88a6f5f3-f9e5-47eb-a109-670a0c68440d" providerId="ADAL" clId="{61283625-AFAA-A843-B4D4-BB41EDC646A4}" dt="2021-04-01T15:35:39.661" v="14036"/>
          <ac:spMkLst>
            <pc:docMk/>
            <pc:sldMk cId="3910625407" sldId="1726"/>
            <ac:spMk id="72" creationId="{1289E5EE-6921-0B49-817D-094CC0F8F338}"/>
          </ac:spMkLst>
        </pc:spChg>
        <pc:spChg chg="del">
          <ac:chgData name="Lamb, Ben" userId="88a6f5f3-f9e5-47eb-a109-670a0c68440d" providerId="ADAL" clId="{61283625-AFAA-A843-B4D4-BB41EDC646A4}" dt="2021-04-01T15:35:39.171" v="14035" actId="478"/>
          <ac:spMkLst>
            <pc:docMk/>
            <pc:sldMk cId="3910625407" sldId="1726"/>
            <ac:spMk id="73" creationId="{01103F7B-1CFB-6844-860B-AEB366E7B385}"/>
          </ac:spMkLst>
        </pc:spChg>
        <pc:spChg chg="mod">
          <ac:chgData name="Lamb, Ben" userId="88a6f5f3-f9e5-47eb-a109-670a0c68440d" providerId="ADAL" clId="{61283625-AFAA-A843-B4D4-BB41EDC646A4}" dt="2021-04-01T15:35:39.661" v="14036"/>
          <ac:spMkLst>
            <pc:docMk/>
            <pc:sldMk cId="3910625407" sldId="1726"/>
            <ac:spMk id="75" creationId="{BA6AD9E9-A703-C849-AFF2-895837E4542B}"/>
          </ac:spMkLst>
        </pc:spChg>
        <pc:spChg chg="del">
          <ac:chgData name="Lamb, Ben" userId="88a6f5f3-f9e5-47eb-a109-670a0c68440d" providerId="ADAL" clId="{61283625-AFAA-A843-B4D4-BB41EDC646A4}" dt="2021-04-01T15:35:39.171" v="14035" actId="478"/>
          <ac:spMkLst>
            <pc:docMk/>
            <pc:sldMk cId="3910625407" sldId="1726"/>
            <ac:spMk id="76" creationId="{80FA2994-89D5-F046-A9FE-C07099E0D98A}"/>
          </ac:spMkLst>
        </pc:spChg>
        <pc:spChg chg="del">
          <ac:chgData name="Lamb, Ben" userId="88a6f5f3-f9e5-47eb-a109-670a0c68440d" providerId="ADAL" clId="{61283625-AFAA-A843-B4D4-BB41EDC646A4}" dt="2021-04-01T15:35:39.171" v="14035" actId="478"/>
          <ac:spMkLst>
            <pc:docMk/>
            <pc:sldMk cId="3910625407" sldId="1726"/>
            <ac:spMk id="77" creationId="{EEF5EC48-FE02-8C4C-9084-C90BFDF0B99C}"/>
          </ac:spMkLst>
        </pc:spChg>
        <pc:spChg chg="mod">
          <ac:chgData name="Lamb, Ben" userId="88a6f5f3-f9e5-47eb-a109-670a0c68440d" providerId="ADAL" clId="{61283625-AFAA-A843-B4D4-BB41EDC646A4}" dt="2021-04-01T15:35:39.661" v="14036"/>
          <ac:spMkLst>
            <pc:docMk/>
            <pc:sldMk cId="3910625407" sldId="1726"/>
            <ac:spMk id="78" creationId="{57F18657-5D12-F74C-BB31-EFD211FD10B3}"/>
          </ac:spMkLst>
        </pc:spChg>
        <pc:spChg chg="add mod">
          <ac:chgData name="Lamb, Ben" userId="88a6f5f3-f9e5-47eb-a109-670a0c68440d" providerId="ADAL" clId="{61283625-AFAA-A843-B4D4-BB41EDC646A4}" dt="2021-04-01T15:37:00.976" v="14042" actId="1076"/>
          <ac:spMkLst>
            <pc:docMk/>
            <pc:sldMk cId="3910625407" sldId="1726"/>
            <ac:spMk id="79" creationId="{867DD012-E0E0-B543-9433-C1948F7AF607}"/>
          </ac:spMkLst>
        </pc:spChg>
        <pc:spChg chg="add mod">
          <ac:chgData name="Lamb, Ben" userId="88a6f5f3-f9e5-47eb-a109-670a0c68440d" providerId="ADAL" clId="{61283625-AFAA-A843-B4D4-BB41EDC646A4}" dt="2021-04-01T15:38:31.473" v="14070" actId="1076"/>
          <ac:spMkLst>
            <pc:docMk/>
            <pc:sldMk cId="3910625407" sldId="1726"/>
            <ac:spMk id="80" creationId="{5DBA7128-54FB-9E42-8F6F-EA9078413086}"/>
          </ac:spMkLst>
        </pc:spChg>
        <pc:spChg chg="mod">
          <ac:chgData name="Lamb, Ben" userId="88a6f5f3-f9e5-47eb-a109-670a0c68440d" providerId="ADAL" clId="{61283625-AFAA-A843-B4D4-BB41EDC646A4}" dt="2021-04-01T15:35:39.661" v="14036"/>
          <ac:spMkLst>
            <pc:docMk/>
            <pc:sldMk cId="3910625407" sldId="1726"/>
            <ac:spMk id="83" creationId="{64013698-45C3-814B-8053-811575B78766}"/>
          </ac:spMkLst>
        </pc:spChg>
        <pc:spChg chg="mod">
          <ac:chgData name="Lamb, Ben" userId="88a6f5f3-f9e5-47eb-a109-670a0c68440d" providerId="ADAL" clId="{61283625-AFAA-A843-B4D4-BB41EDC646A4}" dt="2021-04-01T15:35:39.661" v="14036"/>
          <ac:spMkLst>
            <pc:docMk/>
            <pc:sldMk cId="3910625407" sldId="1726"/>
            <ac:spMk id="84" creationId="{6C26CDEC-2B35-AC49-A42C-57241A9922A4}"/>
          </ac:spMkLst>
        </pc:spChg>
        <pc:spChg chg="mod">
          <ac:chgData name="Lamb, Ben" userId="88a6f5f3-f9e5-47eb-a109-670a0c68440d" providerId="ADAL" clId="{61283625-AFAA-A843-B4D4-BB41EDC646A4}" dt="2021-04-01T15:35:39.661" v="14036"/>
          <ac:spMkLst>
            <pc:docMk/>
            <pc:sldMk cId="3910625407" sldId="1726"/>
            <ac:spMk id="86" creationId="{47543D1E-A628-B547-90B8-41663667B0D4}"/>
          </ac:spMkLst>
        </pc:spChg>
        <pc:spChg chg="mod">
          <ac:chgData name="Lamb, Ben" userId="88a6f5f3-f9e5-47eb-a109-670a0c68440d" providerId="ADAL" clId="{61283625-AFAA-A843-B4D4-BB41EDC646A4}" dt="2021-04-01T15:35:39.661" v="14036"/>
          <ac:spMkLst>
            <pc:docMk/>
            <pc:sldMk cId="3910625407" sldId="1726"/>
            <ac:spMk id="87" creationId="{B94DB976-CB34-194F-9BFE-E5A95CD743C5}"/>
          </ac:spMkLst>
        </pc:spChg>
        <pc:spChg chg="mod">
          <ac:chgData name="Lamb, Ben" userId="88a6f5f3-f9e5-47eb-a109-670a0c68440d" providerId="ADAL" clId="{61283625-AFAA-A843-B4D4-BB41EDC646A4}" dt="2021-04-01T15:35:39.661" v="14036"/>
          <ac:spMkLst>
            <pc:docMk/>
            <pc:sldMk cId="3910625407" sldId="1726"/>
            <ac:spMk id="88" creationId="{A50E4CE8-4339-5342-95DD-50D673C105F3}"/>
          </ac:spMkLst>
        </pc:spChg>
        <pc:spChg chg="mod">
          <ac:chgData name="Lamb, Ben" userId="88a6f5f3-f9e5-47eb-a109-670a0c68440d" providerId="ADAL" clId="{61283625-AFAA-A843-B4D4-BB41EDC646A4}" dt="2021-04-01T15:35:39.661" v="14036"/>
          <ac:spMkLst>
            <pc:docMk/>
            <pc:sldMk cId="3910625407" sldId="1726"/>
            <ac:spMk id="89" creationId="{03AAAFAF-089A-BD45-9048-DDD1D80679D7}"/>
          </ac:spMkLst>
        </pc:spChg>
        <pc:spChg chg="mod">
          <ac:chgData name="Lamb, Ben" userId="88a6f5f3-f9e5-47eb-a109-670a0c68440d" providerId="ADAL" clId="{61283625-AFAA-A843-B4D4-BB41EDC646A4}" dt="2021-04-01T15:35:39.661" v="14036"/>
          <ac:spMkLst>
            <pc:docMk/>
            <pc:sldMk cId="3910625407" sldId="1726"/>
            <ac:spMk id="90" creationId="{686C9FBA-D503-0141-B1A8-3A293AD44F05}"/>
          </ac:spMkLst>
        </pc:spChg>
        <pc:spChg chg="del">
          <ac:chgData name="Lamb, Ben" userId="88a6f5f3-f9e5-47eb-a109-670a0c68440d" providerId="ADAL" clId="{61283625-AFAA-A843-B4D4-BB41EDC646A4}" dt="2021-04-01T15:35:39.171" v="14035" actId="478"/>
          <ac:spMkLst>
            <pc:docMk/>
            <pc:sldMk cId="3910625407" sldId="1726"/>
            <ac:spMk id="91" creationId="{F2954D11-234A-D74F-BE2E-76A5431694E4}"/>
          </ac:spMkLst>
        </pc:spChg>
        <pc:spChg chg="mod">
          <ac:chgData name="Lamb, Ben" userId="88a6f5f3-f9e5-47eb-a109-670a0c68440d" providerId="ADAL" clId="{61283625-AFAA-A843-B4D4-BB41EDC646A4}" dt="2021-04-01T15:35:39.661" v="14036"/>
          <ac:spMkLst>
            <pc:docMk/>
            <pc:sldMk cId="3910625407" sldId="1726"/>
            <ac:spMk id="92" creationId="{CC27DA30-6BFE-744D-98F3-E4F0ED920C37}"/>
          </ac:spMkLst>
        </pc:spChg>
        <pc:spChg chg="del">
          <ac:chgData name="Lamb, Ben" userId="88a6f5f3-f9e5-47eb-a109-670a0c68440d" providerId="ADAL" clId="{61283625-AFAA-A843-B4D4-BB41EDC646A4}" dt="2021-04-01T15:35:39.171" v="14035" actId="478"/>
          <ac:spMkLst>
            <pc:docMk/>
            <pc:sldMk cId="3910625407" sldId="1726"/>
            <ac:spMk id="95" creationId="{A5C3B437-3E43-B94D-A46E-8B5EAE878DE2}"/>
          </ac:spMkLst>
        </pc:spChg>
        <pc:spChg chg="mod">
          <ac:chgData name="Lamb, Ben" userId="88a6f5f3-f9e5-47eb-a109-670a0c68440d" providerId="ADAL" clId="{61283625-AFAA-A843-B4D4-BB41EDC646A4}" dt="2021-04-01T15:35:39.661" v="14036"/>
          <ac:spMkLst>
            <pc:docMk/>
            <pc:sldMk cId="3910625407" sldId="1726"/>
            <ac:spMk id="96" creationId="{252B5610-B542-7743-AEFC-E27156153EE5}"/>
          </ac:spMkLst>
        </pc:spChg>
        <pc:spChg chg="mod">
          <ac:chgData name="Lamb, Ben" userId="88a6f5f3-f9e5-47eb-a109-670a0c68440d" providerId="ADAL" clId="{61283625-AFAA-A843-B4D4-BB41EDC646A4}" dt="2021-04-01T15:35:39.661" v="14036"/>
          <ac:spMkLst>
            <pc:docMk/>
            <pc:sldMk cId="3910625407" sldId="1726"/>
            <ac:spMk id="98" creationId="{AED261B9-082D-4F44-B1F6-7E39AF4AD464}"/>
          </ac:spMkLst>
        </pc:spChg>
        <pc:spChg chg="mod">
          <ac:chgData name="Lamb, Ben" userId="88a6f5f3-f9e5-47eb-a109-670a0c68440d" providerId="ADAL" clId="{61283625-AFAA-A843-B4D4-BB41EDC646A4}" dt="2021-04-01T15:35:39.661" v="14036"/>
          <ac:spMkLst>
            <pc:docMk/>
            <pc:sldMk cId="3910625407" sldId="1726"/>
            <ac:spMk id="99" creationId="{FA0A4986-FB3B-6349-81C8-22E88001F73A}"/>
          </ac:spMkLst>
        </pc:spChg>
        <pc:spChg chg="mod">
          <ac:chgData name="Lamb, Ben" userId="88a6f5f3-f9e5-47eb-a109-670a0c68440d" providerId="ADAL" clId="{61283625-AFAA-A843-B4D4-BB41EDC646A4}" dt="2021-04-01T15:35:39.661" v="14036"/>
          <ac:spMkLst>
            <pc:docMk/>
            <pc:sldMk cId="3910625407" sldId="1726"/>
            <ac:spMk id="102" creationId="{BB1D2ABF-06BE-1B4C-9F07-3953271B1B11}"/>
          </ac:spMkLst>
        </pc:spChg>
        <pc:spChg chg="mod">
          <ac:chgData name="Lamb, Ben" userId="88a6f5f3-f9e5-47eb-a109-670a0c68440d" providerId="ADAL" clId="{61283625-AFAA-A843-B4D4-BB41EDC646A4}" dt="2021-04-01T15:35:39.661" v="14036"/>
          <ac:spMkLst>
            <pc:docMk/>
            <pc:sldMk cId="3910625407" sldId="1726"/>
            <ac:spMk id="103" creationId="{7437ABF0-51CF-924E-9C92-C447EF4AE5DB}"/>
          </ac:spMkLst>
        </pc:spChg>
        <pc:spChg chg="mod">
          <ac:chgData name="Lamb, Ben" userId="88a6f5f3-f9e5-47eb-a109-670a0c68440d" providerId="ADAL" clId="{61283625-AFAA-A843-B4D4-BB41EDC646A4}" dt="2021-04-01T15:35:39.661" v="14036"/>
          <ac:spMkLst>
            <pc:docMk/>
            <pc:sldMk cId="3910625407" sldId="1726"/>
            <ac:spMk id="104" creationId="{2C4B3A3C-C566-8A4E-ADB6-0191490E4564}"/>
          </ac:spMkLst>
        </pc:spChg>
        <pc:spChg chg="mod">
          <ac:chgData name="Lamb, Ben" userId="88a6f5f3-f9e5-47eb-a109-670a0c68440d" providerId="ADAL" clId="{61283625-AFAA-A843-B4D4-BB41EDC646A4}" dt="2021-04-01T15:35:39.661" v="14036"/>
          <ac:spMkLst>
            <pc:docMk/>
            <pc:sldMk cId="3910625407" sldId="1726"/>
            <ac:spMk id="106" creationId="{3F8C19E0-597A-9C40-9FC8-3B6C69491B43}"/>
          </ac:spMkLst>
        </pc:spChg>
        <pc:spChg chg="mod">
          <ac:chgData name="Lamb, Ben" userId="88a6f5f3-f9e5-47eb-a109-670a0c68440d" providerId="ADAL" clId="{61283625-AFAA-A843-B4D4-BB41EDC646A4}" dt="2021-04-01T15:35:39.661" v="14036"/>
          <ac:spMkLst>
            <pc:docMk/>
            <pc:sldMk cId="3910625407" sldId="1726"/>
            <ac:spMk id="107" creationId="{D4BF1079-E928-F24D-9E76-FB96D0A38BCB}"/>
          </ac:spMkLst>
        </pc:spChg>
        <pc:spChg chg="mod">
          <ac:chgData name="Lamb, Ben" userId="88a6f5f3-f9e5-47eb-a109-670a0c68440d" providerId="ADAL" clId="{61283625-AFAA-A843-B4D4-BB41EDC646A4}" dt="2021-04-01T15:35:39.661" v="14036"/>
          <ac:spMkLst>
            <pc:docMk/>
            <pc:sldMk cId="3910625407" sldId="1726"/>
            <ac:spMk id="110" creationId="{1BD1E184-D771-5045-B602-B2226904CD7E}"/>
          </ac:spMkLst>
        </pc:spChg>
        <pc:spChg chg="mod">
          <ac:chgData name="Lamb, Ben" userId="88a6f5f3-f9e5-47eb-a109-670a0c68440d" providerId="ADAL" clId="{61283625-AFAA-A843-B4D4-BB41EDC646A4}" dt="2021-04-01T15:35:39.661" v="14036"/>
          <ac:spMkLst>
            <pc:docMk/>
            <pc:sldMk cId="3910625407" sldId="1726"/>
            <ac:spMk id="111" creationId="{F11B1CD5-BFFD-1647-B41B-EA42A968CAAE}"/>
          </ac:spMkLst>
        </pc:spChg>
        <pc:spChg chg="mod">
          <ac:chgData name="Lamb, Ben" userId="88a6f5f3-f9e5-47eb-a109-670a0c68440d" providerId="ADAL" clId="{61283625-AFAA-A843-B4D4-BB41EDC646A4}" dt="2021-04-01T15:35:39.661" v="14036"/>
          <ac:spMkLst>
            <pc:docMk/>
            <pc:sldMk cId="3910625407" sldId="1726"/>
            <ac:spMk id="112" creationId="{2F4557AA-92A9-3A49-A90D-80392B250966}"/>
          </ac:spMkLst>
        </pc:spChg>
        <pc:spChg chg="del">
          <ac:chgData name="Lamb, Ben" userId="88a6f5f3-f9e5-47eb-a109-670a0c68440d" providerId="ADAL" clId="{61283625-AFAA-A843-B4D4-BB41EDC646A4}" dt="2021-04-01T15:35:39.171" v="14035" actId="478"/>
          <ac:spMkLst>
            <pc:docMk/>
            <pc:sldMk cId="3910625407" sldId="1726"/>
            <ac:spMk id="113" creationId="{6A3B61CE-AAB9-204B-B10C-9DB438CB0EE7}"/>
          </ac:spMkLst>
        </pc:spChg>
        <pc:spChg chg="mod">
          <ac:chgData name="Lamb, Ben" userId="88a6f5f3-f9e5-47eb-a109-670a0c68440d" providerId="ADAL" clId="{61283625-AFAA-A843-B4D4-BB41EDC646A4}" dt="2021-04-01T15:35:39.661" v="14036"/>
          <ac:spMkLst>
            <pc:docMk/>
            <pc:sldMk cId="3910625407" sldId="1726"/>
            <ac:spMk id="115" creationId="{1110A79D-8B18-E148-86A9-F49F4C9D1C0F}"/>
          </ac:spMkLst>
        </pc:spChg>
        <pc:spChg chg="mod">
          <ac:chgData name="Lamb, Ben" userId="88a6f5f3-f9e5-47eb-a109-670a0c68440d" providerId="ADAL" clId="{61283625-AFAA-A843-B4D4-BB41EDC646A4}" dt="2021-04-01T15:35:39.661" v="14036"/>
          <ac:spMkLst>
            <pc:docMk/>
            <pc:sldMk cId="3910625407" sldId="1726"/>
            <ac:spMk id="116" creationId="{4CE7A06C-9850-0541-B5C6-10F7C3B4540D}"/>
          </ac:spMkLst>
        </pc:spChg>
        <pc:spChg chg="mod">
          <ac:chgData name="Lamb, Ben" userId="88a6f5f3-f9e5-47eb-a109-670a0c68440d" providerId="ADAL" clId="{61283625-AFAA-A843-B4D4-BB41EDC646A4}" dt="2021-04-01T15:35:39.661" v="14036"/>
          <ac:spMkLst>
            <pc:docMk/>
            <pc:sldMk cId="3910625407" sldId="1726"/>
            <ac:spMk id="117" creationId="{6BACF48A-3081-A242-AAEB-FFED33515FDE}"/>
          </ac:spMkLst>
        </pc:spChg>
        <pc:spChg chg="mod">
          <ac:chgData name="Lamb, Ben" userId="88a6f5f3-f9e5-47eb-a109-670a0c68440d" providerId="ADAL" clId="{61283625-AFAA-A843-B4D4-BB41EDC646A4}" dt="2021-04-01T15:35:39.661" v="14036"/>
          <ac:spMkLst>
            <pc:docMk/>
            <pc:sldMk cId="3910625407" sldId="1726"/>
            <ac:spMk id="118" creationId="{B180CE58-A972-B945-81C8-A4A9EE943363}"/>
          </ac:spMkLst>
        </pc:spChg>
        <pc:spChg chg="mod">
          <ac:chgData name="Lamb, Ben" userId="88a6f5f3-f9e5-47eb-a109-670a0c68440d" providerId="ADAL" clId="{61283625-AFAA-A843-B4D4-BB41EDC646A4}" dt="2021-04-01T15:35:39.661" v="14036"/>
          <ac:spMkLst>
            <pc:docMk/>
            <pc:sldMk cId="3910625407" sldId="1726"/>
            <ac:spMk id="121" creationId="{C22261E8-48D3-664E-82B0-780B9F57A015}"/>
          </ac:spMkLst>
        </pc:spChg>
        <pc:spChg chg="mod">
          <ac:chgData name="Lamb, Ben" userId="88a6f5f3-f9e5-47eb-a109-670a0c68440d" providerId="ADAL" clId="{61283625-AFAA-A843-B4D4-BB41EDC646A4}" dt="2021-04-01T15:35:39.661" v="14036"/>
          <ac:spMkLst>
            <pc:docMk/>
            <pc:sldMk cId="3910625407" sldId="1726"/>
            <ac:spMk id="122" creationId="{5BFC2A51-74FE-4B48-ADF9-CA5A30CE645A}"/>
          </ac:spMkLst>
        </pc:spChg>
        <pc:spChg chg="mod">
          <ac:chgData name="Lamb, Ben" userId="88a6f5f3-f9e5-47eb-a109-670a0c68440d" providerId="ADAL" clId="{61283625-AFAA-A843-B4D4-BB41EDC646A4}" dt="2021-04-01T15:35:39.661" v="14036"/>
          <ac:spMkLst>
            <pc:docMk/>
            <pc:sldMk cId="3910625407" sldId="1726"/>
            <ac:spMk id="123" creationId="{687C4E03-144E-F541-AE43-B8BC37A2BA32}"/>
          </ac:spMkLst>
        </pc:spChg>
        <pc:spChg chg="mod">
          <ac:chgData name="Lamb, Ben" userId="88a6f5f3-f9e5-47eb-a109-670a0c68440d" providerId="ADAL" clId="{61283625-AFAA-A843-B4D4-BB41EDC646A4}" dt="2021-04-01T15:35:39.661" v="14036"/>
          <ac:spMkLst>
            <pc:docMk/>
            <pc:sldMk cId="3910625407" sldId="1726"/>
            <ac:spMk id="125" creationId="{9E33A3CC-799B-A740-A2A9-944B92AA4F7E}"/>
          </ac:spMkLst>
        </pc:spChg>
        <pc:spChg chg="del">
          <ac:chgData name="Lamb, Ben" userId="88a6f5f3-f9e5-47eb-a109-670a0c68440d" providerId="ADAL" clId="{61283625-AFAA-A843-B4D4-BB41EDC646A4}" dt="2021-04-01T15:35:39.171" v="14035" actId="478"/>
          <ac:spMkLst>
            <pc:docMk/>
            <pc:sldMk cId="3910625407" sldId="1726"/>
            <ac:spMk id="126" creationId="{7A97EF4C-5050-514A-9654-A0C1A56C57F7}"/>
          </ac:spMkLst>
        </pc:spChg>
        <pc:spChg chg="mod">
          <ac:chgData name="Lamb, Ben" userId="88a6f5f3-f9e5-47eb-a109-670a0c68440d" providerId="ADAL" clId="{61283625-AFAA-A843-B4D4-BB41EDC646A4}" dt="2021-04-01T15:35:39.661" v="14036"/>
          <ac:spMkLst>
            <pc:docMk/>
            <pc:sldMk cId="3910625407" sldId="1726"/>
            <ac:spMk id="127" creationId="{15D83CC2-F88C-1840-BD8C-1C54318487D4}"/>
          </ac:spMkLst>
        </pc:spChg>
        <pc:spChg chg="del">
          <ac:chgData name="Lamb, Ben" userId="88a6f5f3-f9e5-47eb-a109-670a0c68440d" providerId="ADAL" clId="{61283625-AFAA-A843-B4D4-BB41EDC646A4}" dt="2021-04-01T15:35:39.171" v="14035" actId="478"/>
          <ac:spMkLst>
            <pc:docMk/>
            <pc:sldMk cId="3910625407" sldId="1726"/>
            <ac:spMk id="128" creationId="{7FB8D9AA-B8D8-6448-87FD-20250E80D346}"/>
          </ac:spMkLst>
        </pc:spChg>
        <pc:spChg chg="mod">
          <ac:chgData name="Lamb, Ben" userId="88a6f5f3-f9e5-47eb-a109-670a0c68440d" providerId="ADAL" clId="{61283625-AFAA-A843-B4D4-BB41EDC646A4}" dt="2021-04-01T15:35:39.661" v="14036"/>
          <ac:spMkLst>
            <pc:docMk/>
            <pc:sldMk cId="3910625407" sldId="1726"/>
            <ac:spMk id="130" creationId="{02A6F844-BD78-CC4C-8C3C-787FD511B64D}"/>
          </ac:spMkLst>
        </pc:spChg>
        <pc:spChg chg="del">
          <ac:chgData name="Lamb, Ben" userId="88a6f5f3-f9e5-47eb-a109-670a0c68440d" providerId="ADAL" clId="{61283625-AFAA-A843-B4D4-BB41EDC646A4}" dt="2021-04-01T15:35:39.171" v="14035" actId="478"/>
          <ac:spMkLst>
            <pc:docMk/>
            <pc:sldMk cId="3910625407" sldId="1726"/>
            <ac:spMk id="131" creationId="{6D0B2F07-98BC-484C-8E94-0A7D88BB3C64}"/>
          </ac:spMkLst>
        </pc:spChg>
        <pc:spChg chg="mod">
          <ac:chgData name="Lamb, Ben" userId="88a6f5f3-f9e5-47eb-a109-670a0c68440d" providerId="ADAL" clId="{61283625-AFAA-A843-B4D4-BB41EDC646A4}" dt="2021-04-01T15:35:39.661" v="14036"/>
          <ac:spMkLst>
            <pc:docMk/>
            <pc:sldMk cId="3910625407" sldId="1726"/>
            <ac:spMk id="132" creationId="{D4B776D6-A579-EF45-B3C1-E413F11CEDDF}"/>
          </ac:spMkLst>
        </pc:spChg>
        <pc:spChg chg="mod">
          <ac:chgData name="Lamb, Ben" userId="88a6f5f3-f9e5-47eb-a109-670a0c68440d" providerId="ADAL" clId="{61283625-AFAA-A843-B4D4-BB41EDC646A4}" dt="2021-04-01T15:35:39.661" v="14036"/>
          <ac:spMkLst>
            <pc:docMk/>
            <pc:sldMk cId="3910625407" sldId="1726"/>
            <ac:spMk id="135" creationId="{C67B2CD3-637A-8D4B-A9CF-580854F7D8C5}"/>
          </ac:spMkLst>
        </pc:spChg>
        <pc:spChg chg="mod">
          <ac:chgData name="Lamb, Ben" userId="88a6f5f3-f9e5-47eb-a109-670a0c68440d" providerId="ADAL" clId="{61283625-AFAA-A843-B4D4-BB41EDC646A4}" dt="2021-04-01T15:35:39.661" v="14036"/>
          <ac:spMkLst>
            <pc:docMk/>
            <pc:sldMk cId="3910625407" sldId="1726"/>
            <ac:spMk id="136" creationId="{44AA4A79-BC3B-F140-9ACC-7F13E40B97CF}"/>
          </ac:spMkLst>
        </pc:spChg>
        <pc:spChg chg="mod">
          <ac:chgData name="Lamb, Ben" userId="88a6f5f3-f9e5-47eb-a109-670a0c68440d" providerId="ADAL" clId="{61283625-AFAA-A843-B4D4-BB41EDC646A4}" dt="2021-04-01T15:35:39.661" v="14036"/>
          <ac:spMkLst>
            <pc:docMk/>
            <pc:sldMk cId="3910625407" sldId="1726"/>
            <ac:spMk id="137" creationId="{3C4B2AB0-2DEC-4647-9E3F-C857C53A3615}"/>
          </ac:spMkLst>
        </pc:spChg>
        <pc:spChg chg="mod">
          <ac:chgData name="Lamb, Ben" userId="88a6f5f3-f9e5-47eb-a109-670a0c68440d" providerId="ADAL" clId="{61283625-AFAA-A843-B4D4-BB41EDC646A4}" dt="2021-04-01T15:35:39.661" v="14036"/>
          <ac:spMkLst>
            <pc:docMk/>
            <pc:sldMk cId="3910625407" sldId="1726"/>
            <ac:spMk id="138" creationId="{51767B94-A4C9-8A44-A511-93FA96FD7AC2}"/>
          </ac:spMkLst>
        </pc:spChg>
        <pc:spChg chg="mod">
          <ac:chgData name="Lamb, Ben" userId="88a6f5f3-f9e5-47eb-a109-670a0c68440d" providerId="ADAL" clId="{61283625-AFAA-A843-B4D4-BB41EDC646A4}" dt="2021-04-01T15:35:39.661" v="14036"/>
          <ac:spMkLst>
            <pc:docMk/>
            <pc:sldMk cId="3910625407" sldId="1726"/>
            <ac:spMk id="139" creationId="{A1033521-E8C3-124C-B90B-8622061F09E2}"/>
          </ac:spMkLst>
        </pc:spChg>
        <pc:spChg chg="mod">
          <ac:chgData name="Lamb, Ben" userId="88a6f5f3-f9e5-47eb-a109-670a0c68440d" providerId="ADAL" clId="{61283625-AFAA-A843-B4D4-BB41EDC646A4}" dt="2021-04-01T15:35:39.661" v="14036"/>
          <ac:spMkLst>
            <pc:docMk/>
            <pc:sldMk cId="3910625407" sldId="1726"/>
            <ac:spMk id="140" creationId="{8DFC6F74-2704-EF4A-B2CA-56CA7BE980DC}"/>
          </ac:spMkLst>
        </pc:spChg>
        <pc:spChg chg="mod">
          <ac:chgData name="Lamb, Ben" userId="88a6f5f3-f9e5-47eb-a109-670a0c68440d" providerId="ADAL" clId="{61283625-AFAA-A843-B4D4-BB41EDC646A4}" dt="2021-04-01T15:35:39.661" v="14036"/>
          <ac:spMkLst>
            <pc:docMk/>
            <pc:sldMk cId="3910625407" sldId="1726"/>
            <ac:spMk id="141" creationId="{42BE02F7-BE7F-814C-A8D3-F390B5723B02}"/>
          </ac:spMkLst>
        </pc:spChg>
        <pc:spChg chg="mod">
          <ac:chgData name="Lamb, Ben" userId="88a6f5f3-f9e5-47eb-a109-670a0c68440d" providerId="ADAL" clId="{61283625-AFAA-A843-B4D4-BB41EDC646A4}" dt="2021-04-01T15:35:39.661" v="14036"/>
          <ac:spMkLst>
            <pc:docMk/>
            <pc:sldMk cId="3910625407" sldId="1726"/>
            <ac:spMk id="142" creationId="{F4616E20-AC4E-BC4B-8E46-426C0A0C66EE}"/>
          </ac:spMkLst>
        </pc:spChg>
        <pc:spChg chg="mod">
          <ac:chgData name="Lamb, Ben" userId="88a6f5f3-f9e5-47eb-a109-670a0c68440d" providerId="ADAL" clId="{61283625-AFAA-A843-B4D4-BB41EDC646A4}" dt="2021-04-01T15:35:39.661" v="14036"/>
          <ac:spMkLst>
            <pc:docMk/>
            <pc:sldMk cId="3910625407" sldId="1726"/>
            <ac:spMk id="143" creationId="{2D08C698-434D-3242-B97A-BDCF5A918965}"/>
          </ac:spMkLst>
        </pc:spChg>
        <pc:spChg chg="del">
          <ac:chgData name="Lamb, Ben" userId="88a6f5f3-f9e5-47eb-a109-670a0c68440d" providerId="ADAL" clId="{61283625-AFAA-A843-B4D4-BB41EDC646A4}" dt="2021-04-01T15:35:39.171" v="14035" actId="478"/>
          <ac:spMkLst>
            <pc:docMk/>
            <pc:sldMk cId="3910625407" sldId="1726"/>
            <ac:spMk id="145" creationId="{3E8AFB6B-DC07-2242-8704-09BC7C4933D2}"/>
          </ac:spMkLst>
        </pc:spChg>
        <pc:spChg chg="mod">
          <ac:chgData name="Lamb, Ben" userId="88a6f5f3-f9e5-47eb-a109-670a0c68440d" providerId="ADAL" clId="{61283625-AFAA-A843-B4D4-BB41EDC646A4}" dt="2021-04-01T15:35:39.661" v="14036"/>
          <ac:spMkLst>
            <pc:docMk/>
            <pc:sldMk cId="3910625407" sldId="1726"/>
            <ac:spMk id="146" creationId="{FC0EA756-D947-7842-8757-BD5077C2CD06}"/>
          </ac:spMkLst>
        </pc:spChg>
        <pc:spChg chg="mod">
          <ac:chgData name="Lamb, Ben" userId="88a6f5f3-f9e5-47eb-a109-670a0c68440d" providerId="ADAL" clId="{61283625-AFAA-A843-B4D4-BB41EDC646A4}" dt="2021-04-01T15:35:39.661" v="14036"/>
          <ac:spMkLst>
            <pc:docMk/>
            <pc:sldMk cId="3910625407" sldId="1726"/>
            <ac:spMk id="148" creationId="{9A76BE4A-5969-FE4E-9E69-941CEC7D2A67}"/>
          </ac:spMkLst>
        </pc:spChg>
        <pc:spChg chg="mod">
          <ac:chgData name="Lamb, Ben" userId="88a6f5f3-f9e5-47eb-a109-670a0c68440d" providerId="ADAL" clId="{61283625-AFAA-A843-B4D4-BB41EDC646A4}" dt="2021-04-01T15:35:39.661" v="14036"/>
          <ac:spMkLst>
            <pc:docMk/>
            <pc:sldMk cId="3910625407" sldId="1726"/>
            <ac:spMk id="149" creationId="{4A205275-1A2A-1846-8533-3AA358811729}"/>
          </ac:spMkLst>
        </pc:spChg>
        <pc:spChg chg="mod">
          <ac:chgData name="Lamb, Ben" userId="88a6f5f3-f9e5-47eb-a109-670a0c68440d" providerId="ADAL" clId="{61283625-AFAA-A843-B4D4-BB41EDC646A4}" dt="2021-04-01T15:35:39.661" v="14036"/>
          <ac:spMkLst>
            <pc:docMk/>
            <pc:sldMk cId="3910625407" sldId="1726"/>
            <ac:spMk id="151" creationId="{FE334766-BF0E-5C43-AD83-9B478D19F574}"/>
          </ac:spMkLst>
        </pc:spChg>
        <pc:spChg chg="mod">
          <ac:chgData name="Lamb, Ben" userId="88a6f5f3-f9e5-47eb-a109-670a0c68440d" providerId="ADAL" clId="{61283625-AFAA-A843-B4D4-BB41EDC646A4}" dt="2021-04-01T15:35:39.661" v="14036"/>
          <ac:spMkLst>
            <pc:docMk/>
            <pc:sldMk cId="3910625407" sldId="1726"/>
            <ac:spMk id="152" creationId="{555607A9-A1FB-B044-9783-F29E4D4A2AEE}"/>
          </ac:spMkLst>
        </pc:spChg>
        <pc:spChg chg="mod">
          <ac:chgData name="Lamb, Ben" userId="88a6f5f3-f9e5-47eb-a109-670a0c68440d" providerId="ADAL" clId="{61283625-AFAA-A843-B4D4-BB41EDC646A4}" dt="2021-04-01T15:35:39.661" v="14036"/>
          <ac:spMkLst>
            <pc:docMk/>
            <pc:sldMk cId="3910625407" sldId="1726"/>
            <ac:spMk id="153" creationId="{0BA200E9-B873-0D4F-A2E9-87D142BDAA19}"/>
          </ac:spMkLst>
        </pc:spChg>
        <pc:spChg chg="add mod">
          <ac:chgData name="Lamb, Ben" userId="88a6f5f3-f9e5-47eb-a109-670a0c68440d" providerId="ADAL" clId="{61283625-AFAA-A843-B4D4-BB41EDC646A4}" dt="2021-04-01T15:44:09.861" v="14106" actId="1076"/>
          <ac:spMkLst>
            <pc:docMk/>
            <pc:sldMk cId="3910625407" sldId="1726"/>
            <ac:spMk id="154" creationId="{FEAA033F-97AF-C24B-9486-72AAED5EA9B5}"/>
          </ac:spMkLst>
        </pc:spChg>
        <pc:spChg chg="add del mod">
          <ac:chgData name="Lamb, Ben" userId="88a6f5f3-f9e5-47eb-a109-670a0c68440d" providerId="ADAL" clId="{61283625-AFAA-A843-B4D4-BB41EDC646A4}" dt="2021-04-01T16:09:35.195" v="14876" actId="478"/>
          <ac:spMkLst>
            <pc:docMk/>
            <pc:sldMk cId="3910625407" sldId="1726"/>
            <ac:spMk id="155" creationId="{40587ACF-74A8-834D-83F9-DE17F25ACCBA}"/>
          </ac:spMkLst>
        </pc:spChg>
        <pc:spChg chg="add del mod">
          <ac:chgData name="Lamb, Ben" userId="88a6f5f3-f9e5-47eb-a109-670a0c68440d" providerId="ADAL" clId="{61283625-AFAA-A843-B4D4-BB41EDC646A4}" dt="2021-04-01T16:09:35.195" v="14876" actId="478"/>
          <ac:spMkLst>
            <pc:docMk/>
            <pc:sldMk cId="3910625407" sldId="1726"/>
            <ac:spMk id="156" creationId="{25C37B23-317D-7C43-B5BF-BFE2F46BABAD}"/>
          </ac:spMkLst>
        </pc:spChg>
        <pc:spChg chg="add del mod">
          <ac:chgData name="Lamb, Ben" userId="88a6f5f3-f9e5-47eb-a109-670a0c68440d" providerId="ADAL" clId="{61283625-AFAA-A843-B4D4-BB41EDC646A4}" dt="2021-04-01T16:09:35.195" v="14876" actId="478"/>
          <ac:spMkLst>
            <pc:docMk/>
            <pc:sldMk cId="3910625407" sldId="1726"/>
            <ac:spMk id="157" creationId="{B1CFCF07-A37C-B44A-873C-AA166D320BBE}"/>
          </ac:spMkLst>
        </pc:spChg>
        <pc:spChg chg="mod">
          <ac:chgData name="Lamb, Ben" userId="88a6f5f3-f9e5-47eb-a109-670a0c68440d" providerId="ADAL" clId="{61283625-AFAA-A843-B4D4-BB41EDC646A4}" dt="2021-04-01T15:35:39.661" v="14036"/>
          <ac:spMkLst>
            <pc:docMk/>
            <pc:sldMk cId="3910625407" sldId="1726"/>
            <ac:spMk id="159" creationId="{20AFD372-AE48-C141-8E6F-0C79784476B1}"/>
          </ac:spMkLst>
        </pc:spChg>
        <pc:spChg chg="mod">
          <ac:chgData name="Lamb, Ben" userId="88a6f5f3-f9e5-47eb-a109-670a0c68440d" providerId="ADAL" clId="{61283625-AFAA-A843-B4D4-BB41EDC646A4}" dt="2021-04-01T15:35:39.661" v="14036"/>
          <ac:spMkLst>
            <pc:docMk/>
            <pc:sldMk cId="3910625407" sldId="1726"/>
            <ac:spMk id="160" creationId="{3E789084-BAA0-B743-89D1-DF5AE8C0FB66}"/>
          </ac:spMkLst>
        </pc:spChg>
        <pc:spChg chg="add mod">
          <ac:chgData name="Lamb, Ben" userId="88a6f5f3-f9e5-47eb-a109-670a0c68440d" providerId="ADAL" clId="{61283625-AFAA-A843-B4D4-BB41EDC646A4}" dt="2021-04-01T16:11:32.568" v="14898" actId="14100"/>
          <ac:spMkLst>
            <pc:docMk/>
            <pc:sldMk cId="3910625407" sldId="1726"/>
            <ac:spMk id="161" creationId="{25F0FAA6-E4F8-2F4D-9900-448E9F1A9B91}"/>
          </ac:spMkLst>
        </pc:spChg>
        <pc:spChg chg="mod">
          <ac:chgData name="Lamb, Ben" userId="88a6f5f3-f9e5-47eb-a109-670a0c68440d" providerId="ADAL" clId="{61283625-AFAA-A843-B4D4-BB41EDC646A4}" dt="2021-04-01T15:46:41.780" v="14225"/>
          <ac:spMkLst>
            <pc:docMk/>
            <pc:sldMk cId="3910625407" sldId="1726"/>
            <ac:spMk id="163" creationId="{C17CA209-BFD2-1144-95FF-FB93EEE3B890}"/>
          </ac:spMkLst>
        </pc:spChg>
        <pc:spChg chg="mod">
          <ac:chgData name="Lamb, Ben" userId="88a6f5f3-f9e5-47eb-a109-670a0c68440d" providerId="ADAL" clId="{61283625-AFAA-A843-B4D4-BB41EDC646A4}" dt="2021-04-01T15:46:41.780" v="14225"/>
          <ac:spMkLst>
            <pc:docMk/>
            <pc:sldMk cId="3910625407" sldId="1726"/>
            <ac:spMk id="164" creationId="{4213C24A-CCBD-DB49-AB7F-3C1C7B28DEFA}"/>
          </ac:spMkLst>
        </pc:spChg>
        <pc:spChg chg="add mod">
          <ac:chgData name="Lamb, Ben" userId="88a6f5f3-f9e5-47eb-a109-670a0c68440d" providerId="ADAL" clId="{61283625-AFAA-A843-B4D4-BB41EDC646A4}" dt="2021-04-01T15:52:09.416" v="14346" actId="1076"/>
          <ac:spMkLst>
            <pc:docMk/>
            <pc:sldMk cId="3910625407" sldId="1726"/>
            <ac:spMk id="165" creationId="{1C29EA82-5F9C-2D45-9366-AE761B4CF763}"/>
          </ac:spMkLst>
        </pc:spChg>
        <pc:spChg chg="mod">
          <ac:chgData name="Lamb, Ben" userId="88a6f5f3-f9e5-47eb-a109-670a0c68440d" providerId="ADAL" clId="{61283625-AFAA-A843-B4D4-BB41EDC646A4}" dt="2021-04-01T15:47:15.582" v="14243"/>
          <ac:spMkLst>
            <pc:docMk/>
            <pc:sldMk cId="3910625407" sldId="1726"/>
            <ac:spMk id="167" creationId="{BAD8E741-AE28-2149-9D3D-8AFE30573F6E}"/>
          </ac:spMkLst>
        </pc:spChg>
        <pc:spChg chg="mod">
          <ac:chgData name="Lamb, Ben" userId="88a6f5f3-f9e5-47eb-a109-670a0c68440d" providerId="ADAL" clId="{61283625-AFAA-A843-B4D4-BB41EDC646A4}" dt="2021-04-01T15:47:15.582" v="14243"/>
          <ac:spMkLst>
            <pc:docMk/>
            <pc:sldMk cId="3910625407" sldId="1726"/>
            <ac:spMk id="168" creationId="{128419A7-12FB-F54F-9786-CA7B2F51CFD0}"/>
          </ac:spMkLst>
        </pc:spChg>
        <pc:spChg chg="mod">
          <ac:chgData name="Lamb, Ben" userId="88a6f5f3-f9e5-47eb-a109-670a0c68440d" providerId="ADAL" clId="{61283625-AFAA-A843-B4D4-BB41EDC646A4}" dt="2021-04-01T15:52:16.500" v="14356" actId="20577"/>
          <ac:spMkLst>
            <pc:docMk/>
            <pc:sldMk cId="3910625407" sldId="1726"/>
            <ac:spMk id="170" creationId="{F99B2707-F72A-2749-A476-52BBAFCA0A51}"/>
          </ac:spMkLst>
        </pc:spChg>
        <pc:spChg chg="mod">
          <ac:chgData name="Lamb, Ben" userId="88a6f5f3-f9e5-47eb-a109-670a0c68440d" providerId="ADAL" clId="{61283625-AFAA-A843-B4D4-BB41EDC646A4}" dt="2021-04-01T15:52:52.548" v="14511" actId="20577"/>
          <ac:spMkLst>
            <pc:docMk/>
            <pc:sldMk cId="3910625407" sldId="1726"/>
            <ac:spMk id="171" creationId="{42164EB2-165E-3B4E-9B61-3E0BDF664E37}"/>
          </ac:spMkLst>
        </pc:spChg>
        <pc:spChg chg="mod">
          <ac:chgData name="Lamb, Ben" userId="88a6f5f3-f9e5-47eb-a109-670a0c68440d" providerId="ADAL" clId="{61283625-AFAA-A843-B4D4-BB41EDC646A4}" dt="2021-04-01T15:48:24.941" v="14307"/>
          <ac:spMkLst>
            <pc:docMk/>
            <pc:sldMk cId="3910625407" sldId="1726"/>
            <ac:spMk id="173" creationId="{9F2AD954-F393-7342-8E39-65E5D458E6C8}"/>
          </ac:spMkLst>
        </pc:spChg>
        <pc:spChg chg="mod">
          <ac:chgData name="Lamb, Ben" userId="88a6f5f3-f9e5-47eb-a109-670a0c68440d" providerId="ADAL" clId="{61283625-AFAA-A843-B4D4-BB41EDC646A4}" dt="2021-04-01T15:48:24.941" v="14307"/>
          <ac:spMkLst>
            <pc:docMk/>
            <pc:sldMk cId="3910625407" sldId="1726"/>
            <ac:spMk id="174" creationId="{93DE128B-C987-1741-AEF4-B7F2DDC6C6F3}"/>
          </ac:spMkLst>
        </pc:spChg>
        <pc:spChg chg="add del mod">
          <ac:chgData name="Lamb, Ben" userId="88a6f5f3-f9e5-47eb-a109-670a0c68440d" providerId="ADAL" clId="{61283625-AFAA-A843-B4D4-BB41EDC646A4}" dt="2021-04-01T15:51:46.744" v="14344" actId="478"/>
          <ac:spMkLst>
            <pc:docMk/>
            <pc:sldMk cId="3910625407" sldId="1726"/>
            <ac:spMk id="175" creationId="{2BC2D011-CAFE-F143-A687-2039BE4BEE70}"/>
          </ac:spMkLst>
        </pc:spChg>
        <pc:spChg chg="add mod">
          <ac:chgData name="Lamb, Ben" userId="88a6f5f3-f9e5-47eb-a109-670a0c68440d" providerId="ADAL" clId="{61283625-AFAA-A843-B4D4-BB41EDC646A4}" dt="2021-04-01T15:49:38.360" v="14330" actId="1076"/>
          <ac:spMkLst>
            <pc:docMk/>
            <pc:sldMk cId="3910625407" sldId="1726"/>
            <ac:spMk id="176" creationId="{BD13314A-E24B-BB4B-A3B6-7C9C0D4A7567}"/>
          </ac:spMkLst>
        </pc:spChg>
        <pc:spChg chg="add mod">
          <ac:chgData name="Lamb, Ben" userId="88a6f5f3-f9e5-47eb-a109-670a0c68440d" providerId="ADAL" clId="{61283625-AFAA-A843-B4D4-BB41EDC646A4}" dt="2021-04-01T16:15:39.385" v="14944" actId="14100"/>
          <ac:spMkLst>
            <pc:docMk/>
            <pc:sldMk cId="3910625407" sldId="1726"/>
            <ac:spMk id="191" creationId="{D7CA0763-DBB1-4740-B7A1-C7BC584F9081}"/>
          </ac:spMkLst>
        </pc:spChg>
        <pc:spChg chg="add del mod">
          <ac:chgData name="Lamb, Ben" userId="88a6f5f3-f9e5-47eb-a109-670a0c68440d" providerId="ADAL" clId="{61283625-AFAA-A843-B4D4-BB41EDC646A4}" dt="2021-04-01T16:09:37.922" v="14877" actId="478"/>
          <ac:spMkLst>
            <pc:docMk/>
            <pc:sldMk cId="3910625407" sldId="1726"/>
            <ac:spMk id="193" creationId="{C6E7CBD6-5A93-564A-9A3D-AFF97F534BA7}"/>
          </ac:spMkLst>
        </pc:spChg>
        <pc:spChg chg="add mod">
          <ac:chgData name="Lamb, Ben" userId="88a6f5f3-f9e5-47eb-a109-670a0c68440d" providerId="ADAL" clId="{61283625-AFAA-A843-B4D4-BB41EDC646A4}" dt="2021-04-01T16:16:16.421" v="14955" actId="1076"/>
          <ac:spMkLst>
            <pc:docMk/>
            <pc:sldMk cId="3910625407" sldId="1726"/>
            <ac:spMk id="194" creationId="{20083D4D-BB55-0140-9E31-31B105D278F0}"/>
          </ac:spMkLst>
        </pc:spChg>
        <pc:spChg chg="mod">
          <ac:chgData name="Lamb, Ben" userId="88a6f5f3-f9e5-47eb-a109-670a0c68440d" providerId="ADAL" clId="{61283625-AFAA-A843-B4D4-BB41EDC646A4}" dt="2021-04-01T15:58:03.710" v="14669"/>
          <ac:spMkLst>
            <pc:docMk/>
            <pc:sldMk cId="3910625407" sldId="1726"/>
            <ac:spMk id="197" creationId="{54AA0FAC-9034-CA46-9C56-09761BC667AF}"/>
          </ac:spMkLst>
        </pc:spChg>
        <pc:spChg chg="mod">
          <ac:chgData name="Lamb, Ben" userId="88a6f5f3-f9e5-47eb-a109-670a0c68440d" providerId="ADAL" clId="{61283625-AFAA-A843-B4D4-BB41EDC646A4}" dt="2021-04-01T15:58:03.710" v="14669"/>
          <ac:spMkLst>
            <pc:docMk/>
            <pc:sldMk cId="3910625407" sldId="1726"/>
            <ac:spMk id="198" creationId="{6DBFF416-DF3C-A246-9616-AE626EAFA3BA}"/>
          </ac:spMkLst>
        </pc:spChg>
        <pc:spChg chg="mod">
          <ac:chgData name="Lamb, Ben" userId="88a6f5f3-f9e5-47eb-a109-670a0c68440d" providerId="ADAL" clId="{61283625-AFAA-A843-B4D4-BB41EDC646A4}" dt="2021-04-01T15:58:03.710" v="14669"/>
          <ac:spMkLst>
            <pc:docMk/>
            <pc:sldMk cId="3910625407" sldId="1726"/>
            <ac:spMk id="199" creationId="{9EEDE1BC-03A2-C242-A357-AB86EB8282D8}"/>
          </ac:spMkLst>
        </pc:spChg>
        <pc:spChg chg="mod">
          <ac:chgData name="Lamb, Ben" userId="88a6f5f3-f9e5-47eb-a109-670a0c68440d" providerId="ADAL" clId="{61283625-AFAA-A843-B4D4-BB41EDC646A4}" dt="2021-04-01T16:01:47.101" v="14773"/>
          <ac:spMkLst>
            <pc:docMk/>
            <pc:sldMk cId="3910625407" sldId="1726"/>
            <ac:spMk id="208" creationId="{19F1F26B-78EB-FE4F-81BE-6D6E89FC9A00}"/>
          </ac:spMkLst>
        </pc:spChg>
        <pc:spChg chg="mod">
          <ac:chgData name="Lamb, Ben" userId="88a6f5f3-f9e5-47eb-a109-670a0c68440d" providerId="ADAL" clId="{61283625-AFAA-A843-B4D4-BB41EDC646A4}" dt="2021-04-01T16:01:47.101" v="14773"/>
          <ac:spMkLst>
            <pc:docMk/>
            <pc:sldMk cId="3910625407" sldId="1726"/>
            <ac:spMk id="209" creationId="{7D18CD50-C655-994C-98C1-FDF84E997599}"/>
          </ac:spMkLst>
        </pc:spChg>
        <pc:spChg chg="mod">
          <ac:chgData name="Lamb, Ben" userId="88a6f5f3-f9e5-47eb-a109-670a0c68440d" providerId="ADAL" clId="{61283625-AFAA-A843-B4D4-BB41EDC646A4}" dt="2021-04-01T16:01:47.101" v="14773"/>
          <ac:spMkLst>
            <pc:docMk/>
            <pc:sldMk cId="3910625407" sldId="1726"/>
            <ac:spMk id="210" creationId="{7B5AF55D-6757-2147-A7CA-8397E04AE9B9}"/>
          </ac:spMkLst>
        </pc:spChg>
        <pc:spChg chg="add mod">
          <ac:chgData name="Lamb, Ben" userId="88a6f5f3-f9e5-47eb-a109-670a0c68440d" providerId="ADAL" clId="{61283625-AFAA-A843-B4D4-BB41EDC646A4}" dt="2021-04-01T16:15:07.771" v="14937" actId="1076"/>
          <ac:spMkLst>
            <pc:docMk/>
            <pc:sldMk cId="3910625407" sldId="1726"/>
            <ac:spMk id="211" creationId="{C35093F1-08D0-A940-8646-8A82221F05B9}"/>
          </ac:spMkLst>
        </pc:spChg>
        <pc:spChg chg="mod">
          <ac:chgData name="Lamb, Ben" userId="88a6f5f3-f9e5-47eb-a109-670a0c68440d" providerId="ADAL" clId="{61283625-AFAA-A843-B4D4-BB41EDC646A4}" dt="2021-04-01T16:08:09.362" v="14816"/>
          <ac:spMkLst>
            <pc:docMk/>
            <pc:sldMk cId="3910625407" sldId="1726"/>
            <ac:spMk id="218" creationId="{B85EDEDB-5DB2-F842-8A3F-3D7EB98A8D31}"/>
          </ac:spMkLst>
        </pc:spChg>
        <pc:spChg chg="mod">
          <ac:chgData name="Lamb, Ben" userId="88a6f5f3-f9e5-47eb-a109-670a0c68440d" providerId="ADAL" clId="{61283625-AFAA-A843-B4D4-BB41EDC646A4}" dt="2021-04-01T16:08:39.291" v="14871" actId="20577"/>
          <ac:spMkLst>
            <pc:docMk/>
            <pc:sldMk cId="3910625407" sldId="1726"/>
            <ac:spMk id="219" creationId="{3F9E4CEE-060F-4D49-8E94-E9F24AC36403}"/>
          </ac:spMkLst>
        </pc:spChg>
        <pc:spChg chg="mod">
          <ac:chgData name="Lamb, Ben" userId="88a6f5f3-f9e5-47eb-a109-670a0c68440d" providerId="ADAL" clId="{61283625-AFAA-A843-B4D4-BB41EDC646A4}" dt="2021-04-01T16:10:26.828" v="14881"/>
          <ac:spMkLst>
            <pc:docMk/>
            <pc:sldMk cId="3910625407" sldId="1726"/>
            <ac:spMk id="223" creationId="{4948DE65-4FE8-6D47-A8B7-A4820F615F4E}"/>
          </ac:spMkLst>
        </pc:spChg>
        <pc:spChg chg="mod">
          <ac:chgData name="Lamb, Ben" userId="88a6f5f3-f9e5-47eb-a109-670a0c68440d" providerId="ADAL" clId="{61283625-AFAA-A843-B4D4-BB41EDC646A4}" dt="2021-04-01T16:10:26.828" v="14881"/>
          <ac:spMkLst>
            <pc:docMk/>
            <pc:sldMk cId="3910625407" sldId="1726"/>
            <ac:spMk id="224" creationId="{756EE77E-B272-9D4B-B8E9-DD5C883268B2}"/>
          </ac:spMkLst>
        </pc:spChg>
        <pc:spChg chg="mod">
          <ac:chgData name="Lamb, Ben" userId="88a6f5f3-f9e5-47eb-a109-670a0c68440d" providerId="ADAL" clId="{61283625-AFAA-A843-B4D4-BB41EDC646A4}" dt="2021-04-01T16:10:26.828" v="14881"/>
          <ac:spMkLst>
            <pc:docMk/>
            <pc:sldMk cId="3910625407" sldId="1726"/>
            <ac:spMk id="225" creationId="{66E87654-23BB-1847-8F8A-E45726691057}"/>
          </ac:spMkLst>
        </pc:spChg>
        <pc:spChg chg="add mod">
          <ac:chgData name="Lamb, Ben" userId="88a6f5f3-f9e5-47eb-a109-670a0c68440d" providerId="ADAL" clId="{61283625-AFAA-A843-B4D4-BB41EDC646A4}" dt="2021-04-01T16:15:50.725" v="14946" actId="1076"/>
          <ac:spMkLst>
            <pc:docMk/>
            <pc:sldMk cId="3910625407" sldId="1726"/>
            <ac:spMk id="226" creationId="{167CEDE2-D35C-1C43-9EC2-DCF544A336E9}"/>
          </ac:spMkLst>
        </pc:spChg>
        <pc:grpChg chg="add mod">
          <ac:chgData name="Lamb, Ben" userId="88a6f5f3-f9e5-47eb-a109-670a0c68440d" providerId="ADAL" clId="{61283625-AFAA-A843-B4D4-BB41EDC646A4}" dt="2021-04-01T15:38:40.707" v="14072" actId="1076"/>
          <ac:grpSpMkLst>
            <pc:docMk/>
            <pc:sldMk cId="3910625407" sldId="1726"/>
            <ac:grpSpMk id="26" creationId="{73EB0A19-1DA8-3B47-BAA6-7E1DFD11CEE1}"/>
          </ac:grpSpMkLst>
        </pc:grpChg>
        <pc:grpChg chg="add del mod">
          <ac:chgData name="Lamb, Ben" userId="88a6f5f3-f9e5-47eb-a109-670a0c68440d" providerId="ADAL" clId="{61283625-AFAA-A843-B4D4-BB41EDC646A4}" dt="2021-04-01T16:09:37.922" v="14877" actId="478"/>
          <ac:grpSpMkLst>
            <pc:docMk/>
            <pc:sldMk cId="3910625407" sldId="1726"/>
            <ac:grpSpMk id="60" creationId="{BC7A00FF-93D7-E344-AF1B-8A1C36A45B12}"/>
          </ac:grpSpMkLst>
        </pc:grpChg>
        <pc:grpChg chg="add del mod">
          <ac:chgData name="Lamb, Ben" userId="88a6f5f3-f9e5-47eb-a109-670a0c68440d" providerId="ADAL" clId="{61283625-AFAA-A843-B4D4-BB41EDC646A4}" dt="2021-04-01T15:37:41.413" v="14059" actId="478"/>
          <ac:grpSpMkLst>
            <pc:docMk/>
            <pc:sldMk cId="3910625407" sldId="1726"/>
            <ac:grpSpMk id="63" creationId="{6F1B1C35-1F4B-5C48-A07D-BCD7D19460B8}"/>
          </ac:grpSpMkLst>
        </pc:grpChg>
        <pc:grpChg chg="add mod">
          <ac:chgData name="Lamb, Ben" userId="88a6f5f3-f9e5-47eb-a109-670a0c68440d" providerId="ADAL" clId="{61283625-AFAA-A843-B4D4-BB41EDC646A4}" dt="2021-04-01T16:08:19.464" v="14818" actId="1076"/>
          <ac:grpSpMkLst>
            <pc:docMk/>
            <pc:sldMk cId="3910625407" sldId="1726"/>
            <ac:grpSpMk id="67" creationId="{5ED0A49D-42DC-0A48-AA89-0D1DB0269882}"/>
          </ac:grpSpMkLst>
        </pc:grpChg>
        <pc:grpChg chg="add del mod">
          <ac:chgData name="Lamb, Ben" userId="88a6f5f3-f9e5-47eb-a109-670a0c68440d" providerId="ADAL" clId="{61283625-AFAA-A843-B4D4-BB41EDC646A4}" dt="2021-04-01T15:37:47.139" v="14061" actId="478"/>
          <ac:grpSpMkLst>
            <pc:docMk/>
            <pc:sldMk cId="3910625407" sldId="1726"/>
            <ac:grpSpMk id="70" creationId="{2CB4217A-F8CE-7740-8B7A-92FBD44CD561}"/>
          </ac:grpSpMkLst>
        </pc:grpChg>
        <pc:grpChg chg="add del mod">
          <ac:chgData name="Lamb, Ben" userId="88a6f5f3-f9e5-47eb-a109-670a0c68440d" providerId="ADAL" clId="{61283625-AFAA-A843-B4D4-BB41EDC646A4}" dt="2021-04-01T16:09:37.922" v="14877" actId="478"/>
          <ac:grpSpMkLst>
            <pc:docMk/>
            <pc:sldMk cId="3910625407" sldId="1726"/>
            <ac:grpSpMk id="74" creationId="{BEFE627F-7EAF-F348-9257-3FB6B01317B6}"/>
          </ac:grpSpMkLst>
        </pc:grpChg>
        <pc:grpChg chg="add mod">
          <ac:chgData name="Lamb, Ben" userId="88a6f5f3-f9e5-47eb-a109-670a0c68440d" providerId="ADAL" clId="{61283625-AFAA-A843-B4D4-BB41EDC646A4}" dt="2021-04-01T15:37:00.976" v="14042" actId="1076"/>
          <ac:grpSpMkLst>
            <pc:docMk/>
            <pc:sldMk cId="3910625407" sldId="1726"/>
            <ac:grpSpMk id="81" creationId="{DED0CF62-2826-7E49-AB48-F245025ADEB5}"/>
          </ac:grpSpMkLst>
        </pc:grpChg>
        <pc:grpChg chg="mod">
          <ac:chgData name="Lamb, Ben" userId="88a6f5f3-f9e5-47eb-a109-670a0c68440d" providerId="ADAL" clId="{61283625-AFAA-A843-B4D4-BB41EDC646A4}" dt="2021-04-01T15:35:39.661" v="14036"/>
          <ac:grpSpMkLst>
            <pc:docMk/>
            <pc:sldMk cId="3910625407" sldId="1726"/>
            <ac:grpSpMk id="82" creationId="{942C8B6A-9C46-5B43-94D5-E4783E354B53}"/>
          </ac:grpSpMkLst>
        </pc:grpChg>
        <pc:grpChg chg="add mod">
          <ac:chgData name="Lamb, Ben" userId="88a6f5f3-f9e5-47eb-a109-670a0c68440d" providerId="ADAL" clId="{61283625-AFAA-A843-B4D4-BB41EDC646A4}" dt="2021-04-01T15:37:00.976" v="14042" actId="1076"/>
          <ac:grpSpMkLst>
            <pc:docMk/>
            <pc:sldMk cId="3910625407" sldId="1726"/>
            <ac:grpSpMk id="93" creationId="{E7507E48-1EC6-A74E-B5B3-D51BE79E95E3}"/>
          </ac:grpSpMkLst>
        </pc:grpChg>
        <pc:grpChg chg="mod">
          <ac:chgData name="Lamb, Ben" userId="88a6f5f3-f9e5-47eb-a109-670a0c68440d" providerId="ADAL" clId="{61283625-AFAA-A843-B4D4-BB41EDC646A4}" dt="2021-04-01T15:35:39.661" v="14036"/>
          <ac:grpSpMkLst>
            <pc:docMk/>
            <pc:sldMk cId="3910625407" sldId="1726"/>
            <ac:grpSpMk id="94" creationId="{58179C14-CAED-684A-B288-3C1390FE85F4}"/>
          </ac:grpSpMkLst>
        </pc:grpChg>
        <pc:grpChg chg="add mod">
          <ac:chgData name="Lamb, Ben" userId="88a6f5f3-f9e5-47eb-a109-670a0c68440d" providerId="ADAL" clId="{61283625-AFAA-A843-B4D4-BB41EDC646A4}" dt="2021-04-01T15:37:00.976" v="14042" actId="1076"/>
          <ac:grpSpMkLst>
            <pc:docMk/>
            <pc:sldMk cId="3910625407" sldId="1726"/>
            <ac:grpSpMk id="100" creationId="{8B75060A-E87F-3349-86A0-8FB90B41FBC4}"/>
          </ac:grpSpMkLst>
        </pc:grpChg>
        <pc:grpChg chg="mod">
          <ac:chgData name="Lamb, Ben" userId="88a6f5f3-f9e5-47eb-a109-670a0c68440d" providerId="ADAL" clId="{61283625-AFAA-A843-B4D4-BB41EDC646A4}" dt="2021-04-01T15:35:39.661" v="14036"/>
          <ac:grpSpMkLst>
            <pc:docMk/>
            <pc:sldMk cId="3910625407" sldId="1726"/>
            <ac:grpSpMk id="101" creationId="{D03ABFC8-EF42-864D-85D8-323C7DE2A84D}"/>
          </ac:grpSpMkLst>
        </pc:grpChg>
        <pc:grpChg chg="add mod">
          <ac:chgData name="Lamb, Ben" userId="88a6f5f3-f9e5-47eb-a109-670a0c68440d" providerId="ADAL" clId="{61283625-AFAA-A843-B4D4-BB41EDC646A4}" dt="2021-04-01T15:53:53.511" v="14519" actId="1076"/>
          <ac:grpSpMkLst>
            <pc:docMk/>
            <pc:sldMk cId="3910625407" sldId="1726"/>
            <ac:grpSpMk id="105" creationId="{5CF63120-9331-9748-9F53-01393A49E892}"/>
          </ac:grpSpMkLst>
        </pc:grpChg>
        <pc:grpChg chg="add mod">
          <ac:chgData name="Lamb, Ben" userId="88a6f5f3-f9e5-47eb-a109-670a0c68440d" providerId="ADAL" clId="{61283625-AFAA-A843-B4D4-BB41EDC646A4}" dt="2021-04-01T15:41:31.437" v="14095" actId="1076"/>
          <ac:grpSpMkLst>
            <pc:docMk/>
            <pc:sldMk cId="3910625407" sldId="1726"/>
            <ac:grpSpMk id="108" creationId="{DD65EA6E-9A48-8747-AF29-D8865EAE00E9}"/>
          </ac:grpSpMkLst>
        </pc:grpChg>
        <pc:grpChg chg="mod">
          <ac:chgData name="Lamb, Ben" userId="88a6f5f3-f9e5-47eb-a109-670a0c68440d" providerId="ADAL" clId="{61283625-AFAA-A843-B4D4-BB41EDC646A4}" dt="2021-04-01T15:35:39.661" v="14036"/>
          <ac:grpSpMkLst>
            <pc:docMk/>
            <pc:sldMk cId="3910625407" sldId="1726"/>
            <ac:grpSpMk id="109" creationId="{75BD5EFA-723A-224B-AC2F-13DF7C649ACD}"/>
          </ac:grpSpMkLst>
        </pc:grpChg>
        <pc:grpChg chg="add mod">
          <ac:chgData name="Lamb, Ben" userId="88a6f5f3-f9e5-47eb-a109-670a0c68440d" providerId="ADAL" clId="{61283625-AFAA-A843-B4D4-BB41EDC646A4}" dt="2021-04-01T15:44:09.861" v="14106" actId="1076"/>
          <ac:grpSpMkLst>
            <pc:docMk/>
            <pc:sldMk cId="3910625407" sldId="1726"/>
            <ac:grpSpMk id="119" creationId="{4B185742-4F7E-BF4A-A1F9-1AA7B384C75B}"/>
          </ac:grpSpMkLst>
        </pc:grpChg>
        <pc:grpChg chg="mod">
          <ac:chgData name="Lamb, Ben" userId="88a6f5f3-f9e5-47eb-a109-670a0c68440d" providerId="ADAL" clId="{61283625-AFAA-A843-B4D4-BB41EDC646A4}" dt="2021-04-01T15:35:39.661" v="14036"/>
          <ac:grpSpMkLst>
            <pc:docMk/>
            <pc:sldMk cId="3910625407" sldId="1726"/>
            <ac:grpSpMk id="120" creationId="{F4D31672-737A-DE43-BFAD-1989C26E168D}"/>
          </ac:grpSpMkLst>
        </pc:grpChg>
        <pc:grpChg chg="add mod">
          <ac:chgData name="Lamb, Ben" userId="88a6f5f3-f9e5-47eb-a109-670a0c68440d" providerId="ADAL" clId="{61283625-AFAA-A843-B4D4-BB41EDC646A4}" dt="2021-04-01T15:44:09.861" v="14106" actId="1076"/>
          <ac:grpSpMkLst>
            <pc:docMk/>
            <pc:sldMk cId="3910625407" sldId="1726"/>
            <ac:grpSpMk id="124" creationId="{B4BC7B9B-D860-A343-874B-31608FD30EED}"/>
          </ac:grpSpMkLst>
        </pc:grpChg>
        <pc:grpChg chg="add mod">
          <ac:chgData name="Lamb, Ben" userId="88a6f5f3-f9e5-47eb-a109-670a0c68440d" providerId="ADAL" clId="{61283625-AFAA-A843-B4D4-BB41EDC646A4}" dt="2021-04-01T15:45:24.360" v="14180" actId="1076"/>
          <ac:grpSpMkLst>
            <pc:docMk/>
            <pc:sldMk cId="3910625407" sldId="1726"/>
            <ac:grpSpMk id="129" creationId="{A21283D3-2155-234A-A79C-3E23162EDF17}"/>
          </ac:grpSpMkLst>
        </pc:grpChg>
        <pc:grpChg chg="add mod">
          <ac:chgData name="Lamb, Ben" userId="88a6f5f3-f9e5-47eb-a109-670a0c68440d" providerId="ADAL" clId="{61283625-AFAA-A843-B4D4-BB41EDC646A4}" dt="2021-04-01T15:53:43.915" v="14518" actId="1076"/>
          <ac:grpSpMkLst>
            <pc:docMk/>
            <pc:sldMk cId="3910625407" sldId="1726"/>
            <ac:grpSpMk id="133" creationId="{74A29BA1-ED13-D147-8441-36CC459CD731}"/>
          </ac:grpSpMkLst>
        </pc:grpChg>
        <pc:grpChg chg="mod">
          <ac:chgData name="Lamb, Ben" userId="88a6f5f3-f9e5-47eb-a109-670a0c68440d" providerId="ADAL" clId="{61283625-AFAA-A843-B4D4-BB41EDC646A4}" dt="2021-04-01T15:35:39.661" v="14036"/>
          <ac:grpSpMkLst>
            <pc:docMk/>
            <pc:sldMk cId="3910625407" sldId="1726"/>
            <ac:grpSpMk id="134" creationId="{18B9B37C-C340-F449-A7DB-4CDF3CEEB79E}"/>
          </ac:grpSpMkLst>
        </pc:grpChg>
        <pc:grpChg chg="add mod">
          <ac:chgData name="Lamb, Ben" userId="88a6f5f3-f9e5-47eb-a109-670a0c68440d" providerId="ADAL" clId="{61283625-AFAA-A843-B4D4-BB41EDC646A4}" dt="2021-04-01T16:15:47.968" v="14945" actId="1076"/>
          <ac:grpSpMkLst>
            <pc:docMk/>
            <pc:sldMk cId="3910625407" sldId="1726"/>
            <ac:grpSpMk id="144" creationId="{AE441116-8A64-D349-958E-10648E0929EB}"/>
          </ac:grpSpMkLst>
        </pc:grpChg>
        <pc:grpChg chg="mod">
          <ac:chgData name="Lamb, Ben" userId="88a6f5f3-f9e5-47eb-a109-670a0c68440d" providerId="ADAL" clId="{61283625-AFAA-A843-B4D4-BB41EDC646A4}" dt="2021-04-01T15:35:39.661" v="14036"/>
          <ac:grpSpMkLst>
            <pc:docMk/>
            <pc:sldMk cId="3910625407" sldId="1726"/>
            <ac:grpSpMk id="147" creationId="{CB7180AB-531B-3E4F-A888-63BAC1479983}"/>
          </ac:grpSpMkLst>
        </pc:grpChg>
        <pc:grpChg chg="add del mod">
          <ac:chgData name="Lamb, Ben" userId="88a6f5f3-f9e5-47eb-a109-670a0c68440d" providerId="ADAL" clId="{61283625-AFAA-A843-B4D4-BB41EDC646A4}" dt="2021-04-01T16:09:31.985" v="14875" actId="478"/>
          <ac:grpSpMkLst>
            <pc:docMk/>
            <pc:sldMk cId="3910625407" sldId="1726"/>
            <ac:grpSpMk id="158" creationId="{3F82D9EB-A456-5E4C-BE58-4E667DC56EC4}"/>
          </ac:grpSpMkLst>
        </pc:grpChg>
        <pc:grpChg chg="add mod">
          <ac:chgData name="Lamb, Ben" userId="88a6f5f3-f9e5-47eb-a109-670a0c68440d" providerId="ADAL" clId="{61283625-AFAA-A843-B4D4-BB41EDC646A4}" dt="2021-04-01T15:52:09.416" v="14346" actId="1076"/>
          <ac:grpSpMkLst>
            <pc:docMk/>
            <pc:sldMk cId="3910625407" sldId="1726"/>
            <ac:grpSpMk id="162" creationId="{7EC07CFA-8AC7-E548-B14B-CD5A92CBCD41}"/>
          </ac:grpSpMkLst>
        </pc:grpChg>
        <pc:grpChg chg="add mod">
          <ac:chgData name="Lamb, Ben" userId="88a6f5f3-f9e5-47eb-a109-670a0c68440d" providerId="ADAL" clId="{61283625-AFAA-A843-B4D4-BB41EDC646A4}" dt="2021-04-01T15:47:18.097" v="14244" actId="1076"/>
          <ac:grpSpMkLst>
            <pc:docMk/>
            <pc:sldMk cId="3910625407" sldId="1726"/>
            <ac:grpSpMk id="166" creationId="{75BC4FDF-57B9-C34B-B3A5-3B2DA239FD0D}"/>
          </ac:grpSpMkLst>
        </pc:grpChg>
        <pc:grpChg chg="add mod">
          <ac:chgData name="Lamb, Ben" userId="88a6f5f3-f9e5-47eb-a109-670a0c68440d" providerId="ADAL" clId="{61283625-AFAA-A843-B4D4-BB41EDC646A4}" dt="2021-04-01T15:52:12.577" v="14347" actId="1076"/>
          <ac:grpSpMkLst>
            <pc:docMk/>
            <pc:sldMk cId="3910625407" sldId="1726"/>
            <ac:grpSpMk id="169" creationId="{5669BC2D-019B-3347-8D69-0E728BA66970}"/>
          </ac:grpSpMkLst>
        </pc:grpChg>
        <pc:grpChg chg="add del mod">
          <ac:chgData name="Lamb, Ben" userId="88a6f5f3-f9e5-47eb-a109-670a0c68440d" providerId="ADAL" clId="{61283625-AFAA-A843-B4D4-BB41EDC646A4}" dt="2021-04-01T15:51:46.744" v="14344" actId="478"/>
          <ac:grpSpMkLst>
            <pc:docMk/>
            <pc:sldMk cId="3910625407" sldId="1726"/>
            <ac:grpSpMk id="172" creationId="{C54FD780-2D63-3044-B97A-B9CE69C1288B}"/>
          </ac:grpSpMkLst>
        </pc:grpChg>
        <pc:grpChg chg="add mod">
          <ac:chgData name="Lamb, Ben" userId="88a6f5f3-f9e5-47eb-a109-670a0c68440d" providerId="ADAL" clId="{61283625-AFAA-A843-B4D4-BB41EDC646A4}" dt="2021-04-01T16:16:16.421" v="14955" actId="1076"/>
          <ac:grpSpMkLst>
            <pc:docMk/>
            <pc:sldMk cId="3910625407" sldId="1726"/>
            <ac:grpSpMk id="195" creationId="{C43B5FFD-29E5-A848-A6B6-C250136945CF}"/>
          </ac:grpSpMkLst>
        </pc:grpChg>
        <pc:grpChg chg="mod">
          <ac:chgData name="Lamb, Ben" userId="88a6f5f3-f9e5-47eb-a109-670a0c68440d" providerId="ADAL" clId="{61283625-AFAA-A843-B4D4-BB41EDC646A4}" dt="2021-04-01T15:58:03.710" v="14669"/>
          <ac:grpSpMkLst>
            <pc:docMk/>
            <pc:sldMk cId="3910625407" sldId="1726"/>
            <ac:grpSpMk id="196" creationId="{BACECDEB-D483-BC41-BDDC-D04849D55FDE}"/>
          </ac:grpSpMkLst>
        </pc:grpChg>
        <pc:grpChg chg="add mod">
          <ac:chgData name="Lamb, Ben" userId="88a6f5f3-f9e5-47eb-a109-670a0c68440d" providerId="ADAL" clId="{61283625-AFAA-A843-B4D4-BB41EDC646A4}" dt="2021-04-01T16:15:47.968" v="14945" actId="1076"/>
          <ac:grpSpMkLst>
            <pc:docMk/>
            <pc:sldMk cId="3910625407" sldId="1726"/>
            <ac:grpSpMk id="206" creationId="{3162A3F2-A9D3-8846-8F77-4719E7D500D6}"/>
          </ac:grpSpMkLst>
        </pc:grpChg>
        <pc:grpChg chg="mod">
          <ac:chgData name="Lamb, Ben" userId="88a6f5f3-f9e5-47eb-a109-670a0c68440d" providerId="ADAL" clId="{61283625-AFAA-A843-B4D4-BB41EDC646A4}" dt="2021-04-01T16:01:47.101" v="14773"/>
          <ac:grpSpMkLst>
            <pc:docMk/>
            <pc:sldMk cId="3910625407" sldId="1726"/>
            <ac:grpSpMk id="207" creationId="{97B9BB1F-662E-BC45-8D66-687ABB5B1BCB}"/>
          </ac:grpSpMkLst>
        </pc:grpChg>
        <pc:grpChg chg="add mod">
          <ac:chgData name="Lamb, Ben" userId="88a6f5f3-f9e5-47eb-a109-670a0c68440d" providerId="ADAL" clId="{61283625-AFAA-A843-B4D4-BB41EDC646A4}" dt="2021-04-01T16:08:46.563" v="14873" actId="1076"/>
          <ac:grpSpMkLst>
            <pc:docMk/>
            <pc:sldMk cId="3910625407" sldId="1726"/>
            <ac:grpSpMk id="217" creationId="{0BD10D0E-3A96-F647-96AA-29093CAD9B9A}"/>
          </ac:grpSpMkLst>
        </pc:grpChg>
        <pc:grpChg chg="add mod">
          <ac:chgData name="Lamb, Ben" userId="88a6f5f3-f9e5-47eb-a109-670a0c68440d" providerId="ADAL" clId="{61283625-AFAA-A843-B4D4-BB41EDC646A4}" dt="2021-04-01T16:15:47.968" v="14945" actId="1076"/>
          <ac:grpSpMkLst>
            <pc:docMk/>
            <pc:sldMk cId="3910625407" sldId="1726"/>
            <ac:grpSpMk id="221" creationId="{DC9C27C1-05A1-E545-A354-99BD96C6B8EF}"/>
          </ac:grpSpMkLst>
        </pc:grpChg>
        <pc:grpChg chg="mod">
          <ac:chgData name="Lamb, Ben" userId="88a6f5f3-f9e5-47eb-a109-670a0c68440d" providerId="ADAL" clId="{61283625-AFAA-A843-B4D4-BB41EDC646A4}" dt="2021-04-01T16:10:26.828" v="14881"/>
          <ac:grpSpMkLst>
            <pc:docMk/>
            <pc:sldMk cId="3910625407" sldId="1726"/>
            <ac:grpSpMk id="222" creationId="{F0A8A0F0-1198-7243-939E-BAFA14D23901}"/>
          </ac:grpSpMkLst>
        </pc:grpChg>
        <pc:picChg chg="del">
          <ac:chgData name="Lamb, Ben" userId="88a6f5f3-f9e5-47eb-a109-670a0c68440d" providerId="ADAL" clId="{61283625-AFAA-A843-B4D4-BB41EDC646A4}" dt="2021-04-01T15:35:39.171" v="14035" actId="478"/>
          <ac:picMkLst>
            <pc:docMk/>
            <pc:sldMk cId="3910625407" sldId="1726"/>
            <ac:picMk id="28" creationId="{071ACE07-A71A-4B47-8085-C21CC5129766}"/>
          </ac:picMkLst>
        </pc:picChg>
        <pc:cxnChg chg="del mod">
          <ac:chgData name="Lamb, Ben" userId="88a6f5f3-f9e5-47eb-a109-670a0c68440d" providerId="ADAL" clId="{61283625-AFAA-A843-B4D4-BB41EDC646A4}" dt="2021-04-01T15:35:39.171" v="14035" actId="478"/>
          <ac:cxnSpMkLst>
            <pc:docMk/>
            <pc:sldMk cId="3910625407" sldId="1726"/>
            <ac:cxnSpMk id="15" creationId="{B2FB466C-6DB7-AA43-BCCB-F6EC0AF9A2E3}"/>
          </ac:cxnSpMkLst>
        </pc:cxnChg>
        <pc:cxnChg chg="del mod">
          <ac:chgData name="Lamb, Ben" userId="88a6f5f3-f9e5-47eb-a109-670a0c68440d" providerId="ADAL" clId="{61283625-AFAA-A843-B4D4-BB41EDC646A4}" dt="2021-04-01T15:35:39.171" v="14035" actId="478"/>
          <ac:cxnSpMkLst>
            <pc:docMk/>
            <pc:sldMk cId="3910625407" sldId="1726"/>
            <ac:cxnSpMk id="22" creationId="{4A0F444D-64E0-4348-9CBD-109983736642}"/>
          </ac:cxnSpMkLst>
        </pc:cxnChg>
        <pc:cxnChg chg="del mod">
          <ac:chgData name="Lamb, Ben" userId="88a6f5f3-f9e5-47eb-a109-670a0c68440d" providerId="ADAL" clId="{61283625-AFAA-A843-B4D4-BB41EDC646A4}" dt="2021-04-01T15:35:39.171" v="14035" actId="478"/>
          <ac:cxnSpMkLst>
            <pc:docMk/>
            <pc:sldMk cId="3910625407" sldId="1726"/>
            <ac:cxnSpMk id="36" creationId="{2503D715-EC65-7947-8142-DBBF9AE9D5E9}"/>
          </ac:cxnSpMkLst>
        </pc:cxnChg>
        <pc:cxnChg chg="add mod">
          <ac:chgData name="Lamb, Ben" userId="88a6f5f3-f9e5-47eb-a109-670a0c68440d" providerId="ADAL" clId="{61283625-AFAA-A843-B4D4-BB41EDC646A4}" dt="2021-04-01T15:38:27.072" v="14068" actId="14100"/>
          <ac:cxnSpMkLst>
            <pc:docMk/>
            <pc:sldMk cId="3910625407" sldId="1726"/>
            <ac:cxnSpMk id="39" creationId="{F00F5ECB-AAE7-1849-87EF-D0E66D1EF98E}"/>
          </ac:cxnSpMkLst>
        </pc:cxnChg>
        <pc:cxnChg chg="add mod">
          <ac:chgData name="Lamb, Ben" userId="88a6f5f3-f9e5-47eb-a109-670a0c68440d" providerId="ADAL" clId="{61283625-AFAA-A843-B4D4-BB41EDC646A4}" dt="2021-04-01T15:55:18.347" v="14549" actId="14100"/>
          <ac:cxnSpMkLst>
            <pc:docMk/>
            <pc:sldMk cId="3910625407" sldId="1726"/>
            <ac:cxnSpMk id="40" creationId="{EC6536AC-6994-D54A-A083-FDC11AEFBA6C}"/>
          </ac:cxnSpMkLst>
        </pc:cxnChg>
        <pc:cxnChg chg="add mod">
          <ac:chgData name="Lamb, Ben" userId="88a6f5f3-f9e5-47eb-a109-670a0c68440d" providerId="ADAL" clId="{61283625-AFAA-A843-B4D4-BB41EDC646A4}" dt="2021-04-01T15:49:40.895" v="14332" actId="1076"/>
          <ac:cxnSpMkLst>
            <pc:docMk/>
            <pc:sldMk cId="3910625407" sldId="1726"/>
            <ac:cxnSpMk id="41" creationId="{1197DAEB-AB4F-CA40-95E5-439722894C4C}"/>
          </ac:cxnSpMkLst>
        </pc:cxnChg>
        <pc:cxnChg chg="add mod">
          <ac:chgData name="Lamb, Ben" userId="88a6f5f3-f9e5-47eb-a109-670a0c68440d" providerId="ADAL" clId="{61283625-AFAA-A843-B4D4-BB41EDC646A4}" dt="2021-04-01T16:15:47.968" v="14945" actId="1076"/>
          <ac:cxnSpMkLst>
            <pc:docMk/>
            <pc:sldMk cId="3910625407" sldId="1726"/>
            <ac:cxnSpMk id="48" creationId="{F787A801-51A0-CE45-A9E4-8FAE55ED4D29}"/>
          </ac:cxnSpMkLst>
        </pc:cxnChg>
        <pc:cxnChg chg="add mod">
          <ac:chgData name="Lamb, Ben" userId="88a6f5f3-f9e5-47eb-a109-670a0c68440d" providerId="ADAL" clId="{61283625-AFAA-A843-B4D4-BB41EDC646A4}" dt="2021-04-01T15:55:15.188" v="14548" actId="14100"/>
          <ac:cxnSpMkLst>
            <pc:docMk/>
            <pc:sldMk cId="3910625407" sldId="1726"/>
            <ac:cxnSpMk id="49" creationId="{E14F4660-17A3-E742-BB6A-13B7C45FBF98}"/>
          </ac:cxnSpMkLst>
        </pc:cxnChg>
        <pc:cxnChg chg="add mod">
          <ac:chgData name="Lamb, Ben" userId="88a6f5f3-f9e5-47eb-a109-670a0c68440d" providerId="ADAL" clId="{61283625-AFAA-A843-B4D4-BB41EDC646A4}" dt="2021-04-01T15:53:14.925" v="14512" actId="1076"/>
          <ac:cxnSpMkLst>
            <pc:docMk/>
            <pc:sldMk cId="3910625407" sldId="1726"/>
            <ac:cxnSpMk id="51" creationId="{61C8D5C2-7EEA-1648-BD87-E927FBDB4DF7}"/>
          </ac:cxnSpMkLst>
        </pc:cxnChg>
        <pc:cxnChg chg="add del mod">
          <ac:chgData name="Lamb, Ben" userId="88a6f5f3-f9e5-47eb-a109-670a0c68440d" providerId="ADAL" clId="{61283625-AFAA-A843-B4D4-BB41EDC646A4}" dt="2021-04-01T16:09:37.922" v="14877" actId="478"/>
          <ac:cxnSpMkLst>
            <pc:docMk/>
            <pc:sldMk cId="3910625407" sldId="1726"/>
            <ac:cxnSpMk id="52" creationId="{6E733E26-B11F-9647-B9D4-77504E65E251}"/>
          </ac:cxnSpMkLst>
        </pc:cxnChg>
        <pc:cxnChg chg="del mod">
          <ac:chgData name="Lamb, Ben" userId="88a6f5f3-f9e5-47eb-a109-670a0c68440d" providerId="ADAL" clId="{61283625-AFAA-A843-B4D4-BB41EDC646A4}" dt="2021-04-01T15:35:39.171" v="14035" actId="478"/>
          <ac:cxnSpMkLst>
            <pc:docMk/>
            <pc:sldMk cId="3910625407" sldId="1726"/>
            <ac:cxnSpMk id="54" creationId="{C6393E9B-F467-A34D-BE60-70EDF7C12186}"/>
          </ac:cxnSpMkLst>
        </pc:cxnChg>
        <pc:cxnChg chg="add mod">
          <ac:chgData name="Lamb, Ben" userId="88a6f5f3-f9e5-47eb-a109-670a0c68440d" providerId="ADAL" clId="{61283625-AFAA-A843-B4D4-BB41EDC646A4}" dt="2021-04-01T15:53:14.925" v="14512" actId="1076"/>
          <ac:cxnSpMkLst>
            <pc:docMk/>
            <pc:sldMk cId="3910625407" sldId="1726"/>
            <ac:cxnSpMk id="57" creationId="{2DFF12FF-382C-BE42-87BD-A65CE4EA7808}"/>
          </ac:cxnSpMkLst>
        </pc:cxnChg>
        <pc:cxnChg chg="add mod">
          <ac:chgData name="Lamb, Ben" userId="88a6f5f3-f9e5-47eb-a109-670a0c68440d" providerId="ADAL" clId="{61283625-AFAA-A843-B4D4-BB41EDC646A4}" dt="2021-04-01T15:55:02.463" v="14546" actId="1076"/>
          <ac:cxnSpMkLst>
            <pc:docMk/>
            <pc:sldMk cId="3910625407" sldId="1726"/>
            <ac:cxnSpMk id="58" creationId="{BAFCF1B3-B8AB-9742-A7F3-2C821440AD39}"/>
          </ac:cxnSpMkLst>
        </pc:cxnChg>
        <pc:cxnChg chg="add mod">
          <ac:chgData name="Lamb, Ben" userId="88a6f5f3-f9e5-47eb-a109-670a0c68440d" providerId="ADAL" clId="{61283625-AFAA-A843-B4D4-BB41EDC646A4}" dt="2021-04-01T16:15:53.154" v="14947" actId="14100"/>
          <ac:cxnSpMkLst>
            <pc:docMk/>
            <pc:sldMk cId="3910625407" sldId="1726"/>
            <ac:cxnSpMk id="59" creationId="{E362F607-65B1-DF47-B27A-52D730A0FA73}"/>
          </ac:cxnSpMkLst>
        </pc:cxnChg>
        <pc:cxnChg chg="del mod">
          <ac:chgData name="Lamb, Ben" userId="88a6f5f3-f9e5-47eb-a109-670a0c68440d" providerId="ADAL" clId="{61283625-AFAA-A843-B4D4-BB41EDC646A4}" dt="2021-04-01T15:35:39.171" v="14035" actId="478"/>
          <ac:cxnSpMkLst>
            <pc:docMk/>
            <pc:sldMk cId="3910625407" sldId="1726"/>
            <ac:cxnSpMk id="64" creationId="{AFA74A32-E6C2-3B4C-A37F-3E8F7FF99091}"/>
          </ac:cxnSpMkLst>
        </pc:cxnChg>
        <pc:cxnChg chg="del mod">
          <ac:chgData name="Lamb, Ben" userId="88a6f5f3-f9e5-47eb-a109-670a0c68440d" providerId="ADAL" clId="{61283625-AFAA-A843-B4D4-BB41EDC646A4}" dt="2021-04-01T15:35:39.171" v="14035" actId="478"/>
          <ac:cxnSpMkLst>
            <pc:docMk/>
            <pc:sldMk cId="3910625407" sldId="1726"/>
            <ac:cxnSpMk id="85" creationId="{008DDFE9-C686-1141-8BF1-C70D347B935C}"/>
          </ac:cxnSpMkLst>
        </pc:cxnChg>
        <pc:cxnChg chg="del mod">
          <ac:chgData name="Lamb, Ben" userId="88a6f5f3-f9e5-47eb-a109-670a0c68440d" providerId="ADAL" clId="{61283625-AFAA-A843-B4D4-BB41EDC646A4}" dt="2021-04-01T15:35:39.171" v="14035" actId="478"/>
          <ac:cxnSpMkLst>
            <pc:docMk/>
            <pc:sldMk cId="3910625407" sldId="1726"/>
            <ac:cxnSpMk id="97" creationId="{0566378F-203A-8242-B95A-3ADF0AB09F25}"/>
          </ac:cxnSpMkLst>
        </pc:cxnChg>
        <pc:cxnChg chg="del mod">
          <ac:chgData name="Lamb, Ben" userId="88a6f5f3-f9e5-47eb-a109-670a0c68440d" providerId="ADAL" clId="{61283625-AFAA-A843-B4D4-BB41EDC646A4}" dt="2021-04-01T15:35:39.171" v="14035" actId="478"/>
          <ac:cxnSpMkLst>
            <pc:docMk/>
            <pc:sldMk cId="3910625407" sldId="1726"/>
            <ac:cxnSpMk id="114" creationId="{97AFC2A4-6861-9A46-8995-76C1702415AF}"/>
          </ac:cxnSpMkLst>
        </pc:cxnChg>
        <pc:cxnChg chg="del mod">
          <ac:chgData name="Lamb, Ben" userId="88a6f5f3-f9e5-47eb-a109-670a0c68440d" providerId="ADAL" clId="{61283625-AFAA-A843-B4D4-BB41EDC646A4}" dt="2021-04-01T15:35:39.171" v="14035" actId="478"/>
          <ac:cxnSpMkLst>
            <pc:docMk/>
            <pc:sldMk cId="3910625407" sldId="1726"/>
            <ac:cxnSpMk id="150" creationId="{9054AA54-1474-3343-A484-0C6A00A9EF43}"/>
          </ac:cxnSpMkLst>
        </pc:cxnChg>
        <pc:cxnChg chg="add del mod">
          <ac:chgData name="Lamb, Ben" userId="88a6f5f3-f9e5-47eb-a109-670a0c68440d" providerId="ADAL" clId="{61283625-AFAA-A843-B4D4-BB41EDC646A4}" dt="2021-04-01T15:54:41.212" v="14540" actId="478"/>
          <ac:cxnSpMkLst>
            <pc:docMk/>
            <pc:sldMk cId="3910625407" sldId="1726"/>
            <ac:cxnSpMk id="177" creationId="{989011E6-0A01-7D42-852F-FCA11B8B9497}"/>
          </ac:cxnSpMkLst>
        </pc:cxnChg>
        <pc:cxnChg chg="add mod">
          <ac:chgData name="Lamb, Ben" userId="88a6f5f3-f9e5-47eb-a109-670a0c68440d" providerId="ADAL" clId="{61283625-AFAA-A843-B4D4-BB41EDC646A4}" dt="2021-04-01T15:54:54.870" v="14544" actId="1076"/>
          <ac:cxnSpMkLst>
            <pc:docMk/>
            <pc:sldMk cId="3910625407" sldId="1726"/>
            <ac:cxnSpMk id="181" creationId="{B9E914FC-89BF-AA4A-BC26-7D5FC5F86160}"/>
          </ac:cxnSpMkLst>
        </pc:cxnChg>
        <pc:cxnChg chg="add mod">
          <ac:chgData name="Lamb, Ben" userId="88a6f5f3-f9e5-47eb-a109-670a0c68440d" providerId="ADAL" clId="{61283625-AFAA-A843-B4D4-BB41EDC646A4}" dt="2021-04-01T15:54:58.448" v="14545" actId="1076"/>
          <ac:cxnSpMkLst>
            <pc:docMk/>
            <pc:sldMk cId="3910625407" sldId="1726"/>
            <ac:cxnSpMk id="188" creationId="{7E777A89-9EE6-0E4A-8E2B-57D0F12227C5}"/>
          </ac:cxnSpMkLst>
        </pc:cxnChg>
        <pc:cxnChg chg="add del mod">
          <ac:chgData name="Lamb, Ben" userId="88a6f5f3-f9e5-47eb-a109-670a0c68440d" providerId="ADAL" clId="{61283625-AFAA-A843-B4D4-BB41EDC646A4}" dt="2021-04-01T16:16:17.755" v="14956" actId="478"/>
          <ac:cxnSpMkLst>
            <pc:docMk/>
            <pc:sldMk cId="3910625407" sldId="1726"/>
            <ac:cxnSpMk id="215" creationId="{A612CAC8-8EFD-5B4A-B669-F69822329D37}"/>
          </ac:cxnSpMkLst>
        </pc:cxnChg>
        <pc:cxnChg chg="add del mod">
          <ac:chgData name="Lamb, Ben" userId="88a6f5f3-f9e5-47eb-a109-670a0c68440d" providerId="ADAL" clId="{61283625-AFAA-A843-B4D4-BB41EDC646A4}" dt="2021-04-01T16:16:25.057" v="14960" actId="478"/>
          <ac:cxnSpMkLst>
            <pc:docMk/>
            <pc:sldMk cId="3910625407" sldId="1726"/>
            <ac:cxnSpMk id="229" creationId="{5EBD475C-9527-DF43-8AA6-2E8EFDADF47E}"/>
          </ac:cxnSpMkLst>
        </pc:cxnChg>
        <pc:cxnChg chg="add mod">
          <ac:chgData name="Lamb, Ben" userId="88a6f5f3-f9e5-47eb-a109-670a0c68440d" providerId="ADAL" clId="{61283625-AFAA-A843-B4D4-BB41EDC646A4}" dt="2021-04-01T16:16:10.050" v="14954" actId="1036"/>
          <ac:cxnSpMkLst>
            <pc:docMk/>
            <pc:sldMk cId="3910625407" sldId="1726"/>
            <ac:cxnSpMk id="243" creationId="{980390F2-0A3C-894F-B7C6-5C7DA81DAF81}"/>
          </ac:cxnSpMkLst>
        </pc:cxnChg>
        <pc:cxnChg chg="add mod">
          <ac:chgData name="Lamb, Ben" userId="88a6f5f3-f9e5-47eb-a109-670a0c68440d" providerId="ADAL" clId="{61283625-AFAA-A843-B4D4-BB41EDC646A4}" dt="2021-04-01T16:16:23.854" v="14959" actId="14100"/>
          <ac:cxnSpMkLst>
            <pc:docMk/>
            <pc:sldMk cId="3910625407" sldId="1726"/>
            <ac:cxnSpMk id="245" creationId="{8294B859-91F1-1743-8497-ED0BA5FCC5B2}"/>
          </ac:cxnSpMkLst>
        </pc:cxnChg>
      </pc:sldChg>
      <pc:sldChg chg="add">
        <pc:chgData name="Lamb, Ben" userId="88a6f5f3-f9e5-47eb-a109-670a0c68440d" providerId="ADAL" clId="{61283625-AFAA-A843-B4D4-BB41EDC646A4}" dt="2021-04-01T18:02:04.638" v="16600"/>
        <pc:sldMkLst>
          <pc:docMk/>
          <pc:sldMk cId="1362641955" sldId="1727"/>
        </pc:sldMkLst>
      </pc:sldChg>
      <pc:sldChg chg="addSp delSp modSp add del mod">
        <pc:chgData name="Lamb, Ben" userId="88a6f5f3-f9e5-47eb-a109-670a0c68440d" providerId="ADAL" clId="{61283625-AFAA-A843-B4D4-BB41EDC646A4}" dt="2021-04-01T18:01:59.826" v="16599" actId="2696"/>
        <pc:sldMkLst>
          <pc:docMk/>
          <pc:sldMk cId="3715850670" sldId="1727"/>
        </pc:sldMkLst>
        <pc:spChg chg="mod">
          <ac:chgData name="Lamb, Ben" userId="88a6f5f3-f9e5-47eb-a109-670a0c68440d" providerId="ADAL" clId="{61283625-AFAA-A843-B4D4-BB41EDC646A4}" dt="2021-04-01T16:54:27.714" v="15721" actId="20577"/>
          <ac:spMkLst>
            <pc:docMk/>
            <pc:sldMk cId="3715850670" sldId="1727"/>
            <ac:spMk id="2" creationId="{AD644E64-F954-4288-A504-12E14B683D66}"/>
          </ac:spMkLst>
        </pc:spChg>
        <pc:spChg chg="del">
          <ac:chgData name="Lamb, Ben" userId="88a6f5f3-f9e5-47eb-a109-670a0c68440d" providerId="ADAL" clId="{61283625-AFAA-A843-B4D4-BB41EDC646A4}" dt="2021-04-01T16:17:41.782" v="14962" actId="478"/>
          <ac:spMkLst>
            <pc:docMk/>
            <pc:sldMk cId="3715850670" sldId="1727"/>
            <ac:spMk id="3" creationId="{C8870F36-A280-4200-985F-C925A84D9509}"/>
          </ac:spMkLst>
        </pc:spChg>
        <pc:spChg chg="del">
          <ac:chgData name="Lamb, Ben" userId="88a6f5f3-f9e5-47eb-a109-670a0c68440d" providerId="ADAL" clId="{61283625-AFAA-A843-B4D4-BB41EDC646A4}" dt="2021-04-01T16:17:41.782" v="14962" actId="478"/>
          <ac:spMkLst>
            <pc:docMk/>
            <pc:sldMk cId="3715850670" sldId="1727"/>
            <ac:spMk id="4" creationId="{BF431E6A-3F2C-4E6D-97AA-5E4342E036AB}"/>
          </ac:spMkLst>
        </pc:spChg>
        <pc:spChg chg="add del mod">
          <ac:chgData name="Lamb, Ben" userId="88a6f5f3-f9e5-47eb-a109-670a0c68440d" providerId="ADAL" clId="{61283625-AFAA-A843-B4D4-BB41EDC646A4}" dt="2021-04-01T16:17:43.907" v="14963" actId="478"/>
          <ac:spMkLst>
            <pc:docMk/>
            <pc:sldMk cId="3715850670" sldId="1727"/>
            <ac:spMk id="6" creationId="{7E3DDD29-7D2F-C04B-A4A4-32F6CD08286A}"/>
          </ac:spMkLst>
        </pc:spChg>
        <pc:spChg chg="add mod">
          <ac:chgData name="Lamb, Ben" userId="88a6f5f3-f9e5-47eb-a109-670a0c68440d" providerId="ADAL" clId="{61283625-AFAA-A843-B4D4-BB41EDC646A4}" dt="2021-04-01T16:50:52.217" v="15646" actId="1076"/>
          <ac:spMkLst>
            <pc:docMk/>
            <pc:sldMk cId="3715850670" sldId="1727"/>
            <ac:spMk id="7" creationId="{4E9CEC12-395F-094A-BE02-C26A65ACDAE5}"/>
          </ac:spMkLst>
        </pc:spChg>
        <pc:spChg chg="add mod">
          <ac:chgData name="Lamb, Ben" userId="88a6f5f3-f9e5-47eb-a109-670a0c68440d" providerId="ADAL" clId="{61283625-AFAA-A843-B4D4-BB41EDC646A4}" dt="2021-04-01T16:17:48.112" v="14965" actId="1076"/>
          <ac:spMkLst>
            <pc:docMk/>
            <pc:sldMk cId="3715850670" sldId="1727"/>
            <ac:spMk id="8" creationId="{E21D9AD7-3A74-4A47-89A6-E3EDE1DECB5F}"/>
          </ac:spMkLst>
        </pc:spChg>
        <pc:spChg chg="add mod">
          <ac:chgData name="Lamb, Ben" userId="88a6f5f3-f9e5-47eb-a109-670a0c68440d" providerId="ADAL" clId="{61283625-AFAA-A843-B4D4-BB41EDC646A4}" dt="2021-04-01T16:21:55.135" v="15076" actId="1076"/>
          <ac:spMkLst>
            <pc:docMk/>
            <pc:sldMk cId="3715850670" sldId="1727"/>
            <ac:spMk id="12" creationId="{B24D2EA9-B4BA-C44C-BBD9-871E4F776C46}"/>
          </ac:spMkLst>
        </pc:spChg>
        <pc:spChg chg="add mod">
          <ac:chgData name="Lamb, Ben" userId="88a6f5f3-f9e5-47eb-a109-670a0c68440d" providerId="ADAL" clId="{61283625-AFAA-A843-B4D4-BB41EDC646A4}" dt="2021-04-01T16:21:27.844" v="15063" actId="1076"/>
          <ac:spMkLst>
            <pc:docMk/>
            <pc:sldMk cId="3715850670" sldId="1727"/>
            <ac:spMk id="13" creationId="{E0B97D4E-C4BE-1749-B3F7-68D38FFAE9A9}"/>
          </ac:spMkLst>
        </pc:spChg>
        <pc:spChg chg="add mod">
          <ac:chgData name="Lamb, Ben" userId="88a6f5f3-f9e5-47eb-a109-670a0c68440d" providerId="ADAL" clId="{61283625-AFAA-A843-B4D4-BB41EDC646A4}" dt="2021-04-01T16:18:47.360" v="14979" actId="1076"/>
          <ac:spMkLst>
            <pc:docMk/>
            <pc:sldMk cId="3715850670" sldId="1727"/>
            <ac:spMk id="14" creationId="{725AB122-3F17-634A-BAA9-8677BB6423F3}"/>
          </ac:spMkLst>
        </pc:spChg>
        <pc:spChg chg="add mod">
          <ac:chgData name="Lamb, Ben" userId="88a6f5f3-f9e5-47eb-a109-670a0c68440d" providerId="ADAL" clId="{61283625-AFAA-A843-B4D4-BB41EDC646A4}" dt="2021-04-01T16:23:03.761" v="15084" actId="1076"/>
          <ac:spMkLst>
            <pc:docMk/>
            <pc:sldMk cId="3715850670" sldId="1727"/>
            <ac:spMk id="15" creationId="{8042F71D-164A-8146-BBA9-4C06E807FB02}"/>
          </ac:spMkLst>
        </pc:spChg>
        <pc:spChg chg="add mod">
          <ac:chgData name="Lamb, Ben" userId="88a6f5f3-f9e5-47eb-a109-670a0c68440d" providerId="ADAL" clId="{61283625-AFAA-A843-B4D4-BB41EDC646A4}" dt="2021-04-01T16:50:13.538" v="15639" actId="1076"/>
          <ac:spMkLst>
            <pc:docMk/>
            <pc:sldMk cId="3715850670" sldId="1727"/>
            <ac:spMk id="16" creationId="{629387AF-8619-EB42-B4B4-D9DFA3B6FB4D}"/>
          </ac:spMkLst>
        </pc:spChg>
        <pc:spChg chg="add mod">
          <ac:chgData name="Lamb, Ben" userId="88a6f5f3-f9e5-47eb-a109-670a0c68440d" providerId="ADAL" clId="{61283625-AFAA-A843-B4D4-BB41EDC646A4}" dt="2021-04-01T16:26:04.333" v="15126" actId="1076"/>
          <ac:spMkLst>
            <pc:docMk/>
            <pc:sldMk cId="3715850670" sldId="1727"/>
            <ac:spMk id="17" creationId="{9B5BA45B-ABFD-0443-A1A3-389339AF050C}"/>
          </ac:spMkLst>
        </pc:spChg>
        <pc:spChg chg="add mod">
          <ac:chgData name="Lamb, Ben" userId="88a6f5f3-f9e5-47eb-a109-670a0c68440d" providerId="ADAL" clId="{61283625-AFAA-A843-B4D4-BB41EDC646A4}" dt="2021-04-01T16:51:30.244" v="15661" actId="1076"/>
          <ac:spMkLst>
            <pc:docMk/>
            <pc:sldMk cId="3715850670" sldId="1727"/>
            <ac:spMk id="20" creationId="{0F7517DF-4910-1445-96B3-E236A68A46C2}"/>
          </ac:spMkLst>
        </pc:spChg>
        <pc:spChg chg="add del mod">
          <ac:chgData name="Lamb, Ben" userId="88a6f5f3-f9e5-47eb-a109-670a0c68440d" providerId="ADAL" clId="{61283625-AFAA-A843-B4D4-BB41EDC646A4}" dt="2021-04-01T16:19:13.880" v="14985" actId="478"/>
          <ac:spMkLst>
            <pc:docMk/>
            <pc:sldMk cId="3715850670" sldId="1727"/>
            <ac:spMk id="21" creationId="{15C14BCE-08A9-E34C-A37B-7AE70822AB62}"/>
          </ac:spMkLst>
        </pc:spChg>
        <pc:spChg chg="add mod">
          <ac:chgData name="Lamb, Ben" userId="88a6f5f3-f9e5-47eb-a109-670a0c68440d" providerId="ADAL" clId="{61283625-AFAA-A843-B4D4-BB41EDC646A4}" dt="2021-04-01T16:50:52.217" v="15646" actId="1076"/>
          <ac:spMkLst>
            <pc:docMk/>
            <pc:sldMk cId="3715850670" sldId="1727"/>
            <ac:spMk id="22" creationId="{12072074-4C5C-5948-BDA1-9466EE208064}"/>
          </ac:spMkLst>
        </pc:spChg>
        <pc:spChg chg="mod">
          <ac:chgData name="Lamb, Ben" userId="88a6f5f3-f9e5-47eb-a109-670a0c68440d" providerId="ADAL" clId="{61283625-AFAA-A843-B4D4-BB41EDC646A4}" dt="2021-04-01T16:17:44.503" v="14964"/>
          <ac:spMkLst>
            <pc:docMk/>
            <pc:sldMk cId="3715850670" sldId="1727"/>
            <ac:spMk id="26" creationId="{F288F8E1-298F-BC4F-9E97-FB0BB5A5B853}"/>
          </ac:spMkLst>
        </pc:spChg>
        <pc:spChg chg="mod">
          <ac:chgData name="Lamb, Ben" userId="88a6f5f3-f9e5-47eb-a109-670a0c68440d" providerId="ADAL" clId="{61283625-AFAA-A843-B4D4-BB41EDC646A4}" dt="2021-04-01T16:17:44.503" v="14964"/>
          <ac:spMkLst>
            <pc:docMk/>
            <pc:sldMk cId="3715850670" sldId="1727"/>
            <ac:spMk id="27" creationId="{91E5CC26-AD36-0949-A88C-DAE75BFAF20A}"/>
          </ac:spMkLst>
        </pc:spChg>
        <pc:spChg chg="mod">
          <ac:chgData name="Lamb, Ben" userId="88a6f5f3-f9e5-47eb-a109-670a0c68440d" providerId="ADAL" clId="{61283625-AFAA-A843-B4D4-BB41EDC646A4}" dt="2021-04-01T16:17:44.503" v="14964"/>
          <ac:spMkLst>
            <pc:docMk/>
            <pc:sldMk cId="3715850670" sldId="1727"/>
            <ac:spMk id="29" creationId="{4A7FEE34-E0C7-9247-A202-4B082BD869D5}"/>
          </ac:spMkLst>
        </pc:spChg>
        <pc:spChg chg="mod">
          <ac:chgData name="Lamb, Ben" userId="88a6f5f3-f9e5-47eb-a109-670a0c68440d" providerId="ADAL" clId="{61283625-AFAA-A843-B4D4-BB41EDC646A4}" dt="2021-04-01T16:17:44.503" v="14964"/>
          <ac:spMkLst>
            <pc:docMk/>
            <pc:sldMk cId="3715850670" sldId="1727"/>
            <ac:spMk id="30" creationId="{889B2266-99A2-AB44-ADDE-E8BE23CD6FF0}"/>
          </ac:spMkLst>
        </pc:spChg>
        <pc:spChg chg="mod">
          <ac:chgData name="Lamb, Ben" userId="88a6f5f3-f9e5-47eb-a109-670a0c68440d" providerId="ADAL" clId="{61283625-AFAA-A843-B4D4-BB41EDC646A4}" dt="2021-04-01T16:17:44.503" v="14964"/>
          <ac:spMkLst>
            <pc:docMk/>
            <pc:sldMk cId="3715850670" sldId="1727"/>
            <ac:spMk id="33" creationId="{8A8F0D33-172D-684A-9AA3-EA6A2A9BF505}"/>
          </ac:spMkLst>
        </pc:spChg>
        <pc:spChg chg="mod">
          <ac:chgData name="Lamb, Ben" userId="88a6f5f3-f9e5-47eb-a109-670a0c68440d" providerId="ADAL" clId="{61283625-AFAA-A843-B4D4-BB41EDC646A4}" dt="2021-04-01T16:17:44.503" v="14964"/>
          <ac:spMkLst>
            <pc:docMk/>
            <pc:sldMk cId="3715850670" sldId="1727"/>
            <ac:spMk id="34" creationId="{57CECC1F-C01C-FE4D-890B-A99007DA0EF8}"/>
          </ac:spMkLst>
        </pc:spChg>
        <pc:spChg chg="mod">
          <ac:chgData name="Lamb, Ben" userId="88a6f5f3-f9e5-47eb-a109-670a0c68440d" providerId="ADAL" clId="{61283625-AFAA-A843-B4D4-BB41EDC646A4}" dt="2021-04-01T16:17:44.503" v="14964"/>
          <ac:spMkLst>
            <pc:docMk/>
            <pc:sldMk cId="3715850670" sldId="1727"/>
            <ac:spMk id="35" creationId="{DD1545BD-B463-884E-AD33-0A4F12715F56}"/>
          </ac:spMkLst>
        </pc:spChg>
        <pc:spChg chg="mod">
          <ac:chgData name="Lamb, Ben" userId="88a6f5f3-f9e5-47eb-a109-670a0c68440d" providerId="ADAL" clId="{61283625-AFAA-A843-B4D4-BB41EDC646A4}" dt="2021-04-01T16:17:44.503" v="14964"/>
          <ac:spMkLst>
            <pc:docMk/>
            <pc:sldMk cId="3715850670" sldId="1727"/>
            <ac:spMk id="36" creationId="{665DC303-7A7D-194F-8FCA-9C007C7E096A}"/>
          </ac:spMkLst>
        </pc:spChg>
        <pc:spChg chg="mod">
          <ac:chgData name="Lamb, Ben" userId="88a6f5f3-f9e5-47eb-a109-670a0c68440d" providerId="ADAL" clId="{61283625-AFAA-A843-B4D4-BB41EDC646A4}" dt="2021-04-01T16:17:44.503" v="14964"/>
          <ac:spMkLst>
            <pc:docMk/>
            <pc:sldMk cId="3715850670" sldId="1727"/>
            <ac:spMk id="37" creationId="{CB5911B9-75B0-9F43-82A2-59989A76BE81}"/>
          </ac:spMkLst>
        </pc:spChg>
        <pc:spChg chg="mod">
          <ac:chgData name="Lamb, Ben" userId="88a6f5f3-f9e5-47eb-a109-670a0c68440d" providerId="ADAL" clId="{61283625-AFAA-A843-B4D4-BB41EDC646A4}" dt="2021-04-01T16:17:44.503" v="14964"/>
          <ac:spMkLst>
            <pc:docMk/>
            <pc:sldMk cId="3715850670" sldId="1727"/>
            <ac:spMk id="38" creationId="{8BA574E8-FCE3-4345-9E41-DD86BF7BEF4B}"/>
          </ac:spMkLst>
        </pc:spChg>
        <pc:spChg chg="mod">
          <ac:chgData name="Lamb, Ben" userId="88a6f5f3-f9e5-47eb-a109-670a0c68440d" providerId="ADAL" clId="{61283625-AFAA-A843-B4D4-BB41EDC646A4}" dt="2021-04-01T16:17:44.503" v="14964"/>
          <ac:spMkLst>
            <pc:docMk/>
            <pc:sldMk cId="3715850670" sldId="1727"/>
            <ac:spMk id="39" creationId="{E038E8DA-F784-6448-83E3-A8D31FBC35C7}"/>
          </ac:spMkLst>
        </pc:spChg>
        <pc:spChg chg="mod">
          <ac:chgData name="Lamb, Ben" userId="88a6f5f3-f9e5-47eb-a109-670a0c68440d" providerId="ADAL" clId="{61283625-AFAA-A843-B4D4-BB41EDC646A4}" dt="2021-04-01T16:17:44.503" v="14964"/>
          <ac:spMkLst>
            <pc:docMk/>
            <pc:sldMk cId="3715850670" sldId="1727"/>
            <ac:spMk id="40" creationId="{373265B8-B917-2643-9637-820C2EBBCCBB}"/>
          </ac:spMkLst>
        </pc:spChg>
        <pc:spChg chg="mod">
          <ac:chgData name="Lamb, Ben" userId="88a6f5f3-f9e5-47eb-a109-670a0c68440d" providerId="ADAL" clId="{61283625-AFAA-A843-B4D4-BB41EDC646A4}" dt="2021-04-01T16:17:44.503" v="14964"/>
          <ac:spMkLst>
            <pc:docMk/>
            <pc:sldMk cId="3715850670" sldId="1727"/>
            <ac:spMk id="43" creationId="{4A61F628-240D-9D47-B812-5AC0DF684626}"/>
          </ac:spMkLst>
        </pc:spChg>
        <pc:spChg chg="mod">
          <ac:chgData name="Lamb, Ben" userId="88a6f5f3-f9e5-47eb-a109-670a0c68440d" providerId="ADAL" clId="{61283625-AFAA-A843-B4D4-BB41EDC646A4}" dt="2021-04-01T16:17:44.503" v="14964"/>
          <ac:spMkLst>
            <pc:docMk/>
            <pc:sldMk cId="3715850670" sldId="1727"/>
            <ac:spMk id="44" creationId="{7ADD184B-0FA3-6749-8B99-E637C53C28ED}"/>
          </ac:spMkLst>
        </pc:spChg>
        <pc:spChg chg="mod">
          <ac:chgData name="Lamb, Ben" userId="88a6f5f3-f9e5-47eb-a109-670a0c68440d" providerId="ADAL" clId="{61283625-AFAA-A843-B4D4-BB41EDC646A4}" dt="2021-04-01T16:17:44.503" v="14964"/>
          <ac:spMkLst>
            <pc:docMk/>
            <pc:sldMk cId="3715850670" sldId="1727"/>
            <ac:spMk id="45" creationId="{A3B3B239-07EB-E94A-9E4B-3742447A282A}"/>
          </ac:spMkLst>
        </pc:spChg>
        <pc:spChg chg="mod">
          <ac:chgData name="Lamb, Ben" userId="88a6f5f3-f9e5-47eb-a109-670a0c68440d" providerId="ADAL" clId="{61283625-AFAA-A843-B4D4-BB41EDC646A4}" dt="2021-04-01T16:17:44.503" v="14964"/>
          <ac:spMkLst>
            <pc:docMk/>
            <pc:sldMk cId="3715850670" sldId="1727"/>
            <ac:spMk id="48" creationId="{4459C136-1CBF-CA4D-A6E5-A75835E599C3}"/>
          </ac:spMkLst>
        </pc:spChg>
        <pc:spChg chg="mod">
          <ac:chgData name="Lamb, Ben" userId="88a6f5f3-f9e5-47eb-a109-670a0c68440d" providerId="ADAL" clId="{61283625-AFAA-A843-B4D4-BB41EDC646A4}" dt="2021-04-01T16:17:44.503" v="14964"/>
          <ac:spMkLst>
            <pc:docMk/>
            <pc:sldMk cId="3715850670" sldId="1727"/>
            <ac:spMk id="49" creationId="{016C50F7-1D0C-BA44-A9D4-F5AEB620AB8D}"/>
          </ac:spMkLst>
        </pc:spChg>
        <pc:spChg chg="mod">
          <ac:chgData name="Lamb, Ben" userId="88a6f5f3-f9e5-47eb-a109-670a0c68440d" providerId="ADAL" clId="{61283625-AFAA-A843-B4D4-BB41EDC646A4}" dt="2021-04-01T16:17:44.503" v="14964"/>
          <ac:spMkLst>
            <pc:docMk/>
            <pc:sldMk cId="3715850670" sldId="1727"/>
            <ac:spMk id="50" creationId="{A78BB83C-8603-394C-9D8F-F30ADBB548B8}"/>
          </ac:spMkLst>
        </pc:spChg>
        <pc:spChg chg="mod">
          <ac:chgData name="Lamb, Ben" userId="88a6f5f3-f9e5-47eb-a109-670a0c68440d" providerId="ADAL" clId="{61283625-AFAA-A843-B4D4-BB41EDC646A4}" dt="2021-04-01T16:17:44.503" v="14964"/>
          <ac:spMkLst>
            <pc:docMk/>
            <pc:sldMk cId="3715850670" sldId="1727"/>
            <ac:spMk id="52" creationId="{E9A271DF-29B7-5847-91C8-E5F0904D252B}"/>
          </ac:spMkLst>
        </pc:spChg>
        <pc:spChg chg="mod">
          <ac:chgData name="Lamb, Ben" userId="88a6f5f3-f9e5-47eb-a109-670a0c68440d" providerId="ADAL" clId="{61283625-AFAA-A843-B4D4-BB41EDC646A4}" dt="2021-04-01T16:17:44.503" v="14964"/>
          <ac:spMkLst>
            <pc:docMk/>
            <pc:sldMk cId="3715850670" sldId="1727"/>
            <ac:spMk id="53" creationId="{A32B737A-B2F2-EE46-B4BF-AC0C624C99A5}"/>
          </ac:spMkLst>
        </pc:spChg>
        <pc:spChg chg="mod">
          <ac:chgData name="Lamb, Ben" userId="88a6f5f3-f9e5-47eb-a109-670a0c68440d" providerId="ADAL" clId="{61283625-AFAA-A843-B4D4-BB41EDC646A4}" dt="2021-04-01T16:17:44.503" v="14964"/>
          <ac:spMkLst>
            <pc:docMk/>
            <pc:sldMk cId="3715850670" sldId="1727"/>
            <ac:spMk id="56" creationId="{EC09B4C0-476E-8D46-8A3B-F20BCD01F41E}"/>
          </ac:spMkLst>
        </pc:spChg>
        <pc:spChg chg="mod">
          <ac:chgData name="Lamb, Ben" userId="88a6f5f3-f9e5-47eb-a109-670a0c68440d" providerId="ADAL" clId="{61283625-AFAA-A843-B4D4-BB41EDC646A4}" dt="2021-04-01T16:17:44.503" v="14964"/>
          <ac:spMkLst>
            <pc:docMk/>
            <pc:sldMk cId="3715850670" sldId="1727"/>
            <ac:spMk id="57" creationId="{6DEE8708-49E6-D748-9457-10F95E27B754}"/>
          </ac:spMkLst>
        </pc:spChg>
        <pc:spChg chg="mod">
          <ac:chgData name="Lamb, Ben" userId="88a6f5f3-f9e5-47eb-a109-670a0c68440d" providerId="ADAL" clId="{61283625-AFAA-A843-B4D4-BB41EDC646A4}" dt="2021-04-01T16:17:44.503" v="14964"/>
          <ac:spMkLst>
            <pc:docMk/>
            <pc:sldMk cId="3715850670" sldId="1727"/>
            <ac:spMk id="58" creationId="{2D70AEAC-0C82-A348-8848-6FB9FDC27FD0}"/>
          </ac:spMkLst>
        </pc:spChg>
        <pc:spChg chg="mod">
          <ac:chgData name="Lamb, Ben" userId="88a6f5f3-f9e5-47eb-a109-670a0c68440d" providerId="ADAL" clId="{61283625-AFAA-A843-B4D4-BB41EDC646A4}" dt="2021-04-01T16:17:44.503" v="14964"/>
          <ac:spMkLst>
            <pc:docMk/>
            <pc:sldMk cId="3715850670" sldId="1727"/>
            <ac:spMk id="59" creationId="{25271909-C9BC-5945-9CF6-7040563DE8DB}"/>
          </ac:spMkLst>
        </pc:spChg>
        <pc:spChg chg="mod">
          <ac:chgData name="Lamb, Ben" userId="88a6f5f3-f9e5-47eb-a109-670a0c68440d" providerId="ADAL" clId="{61283625-AFAA-A843-B4D4-BB41EDC646A4}" dt="2021-04-01T16:17:44.503" v="14964"/>
          <ac:spMkLst>
            <pc:docMk/>
            <pc:sldMk cId="3715850670" sldId="1727"/>
            <ac:spMk id="60" creationId="{B7ADA3D7-D0DD-BD4E-962A-067E5D846C0C}"/>
          </ac:spMkLst>
        </pc:spChg>
        <pc:spChg chg="mod">
          <ac:chgData name="Lamb, Ben" userId="88a6f5f3-f9e5-47eb-a109-670a0c68440d" providerId="ADAL" clId="{61283625-AFAA-A843-B4D4-BB41EDC646A4}" dt="2021-04-01T16:17:44.503" v="14964"/>
          <ac:spMkLst>
            <pc:docMk/>
            <pc:sldMk cId="3715850670" sldId="1727"/>
            <ac:spMk id="61" creationId="{C03B7C29-C021-8242-8328-534DE7176FF3}"/>
          </ac:spMkLst>
        </pc:spChg>
        <pc:spChg chg="mod">
          <ac:chgData name="Lamb, Ben" userId="88a6f5f3-f9e5-47eb-a109-670a0c68440d" providerId="ADAL" clId="{61283625-AFAA-A843-B4D4-BB41EDC646A4}" dt="2021-04-01T16:17:44.503" v="14964"/>
          <ac:spMkLst>
            <pc:docMk/>
            <pc:sldMk cId="3715850670" sldId="1727"/>
            <ac:spMk id="62" creationId="{9A72A48E-04A1-7042-9CD7-F9C475AAE652}"/>
          </ac:spMkLst>
        </pc:spChg>
        <pc:spChg chg="mod">
          <ac:chgData name="Lamb, Ben" userId="88a6f5f3-f9e5-47eb-a109-670a0c68440d" providerId="ADAL" clId="{61283625-AFAA-A843-B4D4-BB41EDC646A4}" dt="2021-04-01T16:17:44.503" v="14964"/>
          <ac:spMkLst>
            <pc:docMk/>
            <pc:sldMk cId="3715850670" sldId="1727"/>
            <ac:spMk id="65" creationId="{6ABB9938-5F10-5245-92EE-7D3711934BBF}"/>
          </ac:spMkLst>
        </pc:spChg>
        <pc:spChg chg="mod">
          <ac:chgData name="Lamb, Ben" userId="88a6f5f3-f9e5-47eb-a109-670a0c68440d" providerId="ADAL" clId="{61283625-AFAA-A843-B4D4-BB41EDC646A4}" dt="2021-04-01T16:17:44.503" v="14964"/>
          <ac:spMkLst>
            <pc:docMk/>
            <pc:sldMk cId="3715850670" sldId="1727"/>
            <ac:spMk id="66" creationId="{273BCEBC-DF9F-224D-B38D-7C95C7A63516}"/>
          </ac:spMkLst>
        </pc:spChg>
        <pc:spChg chg="mod">
          <ac:chgData name="Lamb, Ben" userId="88a6f5f3-f9e5-47eb-a109-670a0c68440d" providerId="ADAL" clId="{61283625-AFAA-A843-B4D4-BB41EDC646A4}" dt="2021-04-01T16:17:44.503" v="14964"/>
          <ac:spMkLst>
            <pc:docMk/>
            <pc:sldMk cId="3715850670" sldId="1727"/>
            <ac:spMk id="67" creationId="{36BF770B-4EAD-3D43-969C-BA3CCFFAC3D4}"/>
          </ac:spMkLst>
        </pc:spChg>
        <pc:spChg chg="mod">
          <ac:chgData name="Lamb, Ben" userId="88a6f5f3-f9e5-47eb-a109-670a0c68440d" providerId="ADAL" clId="{61283625-AFAA-A843-B4D4-BB41EDC646A4}" dt="2021-04-01T16:17:44.503" v="14964"/>
          <ac:spMkLst>
            <pc:docMk/>
            <pc:sldMk cId="3715850670" sldId="1727"/>
            <ac:spMk id="69" creationId="{37348C3D-161E-CE48-9B7A-26F0FC5EC286}"/>
          </ac:spMkLst>
        </pc:spChg>
        <pc:spChg chg="mod">
          <ac:chgData name="Lamb, Ben" userId="88a6f5f3-f9e5-47eb-a109-670a0c68440d" providerId="ADAL" clId="{61283625-AFAA-A843-B4D4-BB41EDC646A4}" dt="2021-04-01T16:17:44.503" v="14964"/>
          <ac:spMkLst>
            <pc:docMk/>
            <pc:sldMk cId="3715850670" sldId="1727"/>
            <ac:spMk id="70" creationId="{C7CC7CE3-4F8E-804C-9DE8-5241DA64EC9D}"/>
          </ac:spMkLst>
        </pc:spChg>
        <pc:spChg chg="mod">
          <ac:chgData name="Lamb, Ben" userId="88a6f5f3-f9e5-47eb-a109-670a0c68440d" providerId="ADAL" clId="{61283625-AFAA-A843-B4D4-BB41EDC646A4}" dt="2021-04-01T16:17:44.503" v="14964"/>
          <ac:spMkLst>
            <pc:docMk/>
            <pc:sldMk cId="3715850670" sldId="1727"/>
            <ac:spMk id="72" creationId="{CFFE2E12-3FBB-3940-8DF9-944967AC2EA2}"/>
          </ac:spMkLst>
        </pc:spChg>
        <pc:spChg chg="mod">
          <ac:chgData name="Lamb, Ben" userId="88a6f5f3-f9e5-47eb-a109-670a0c68440d" providerId="ADAL" clId="{61283625-AFAA-A843-B4D4-BB41EDC646A4}" dt="2021-04-01T16:17:44.503" v="14964"/>
          <ac:spMkLst>
            <pc:docMk/>
            <pc:sldMk cId="3715850670" sldId="1727"/>
            <ac:spMk id="73" creationId="{03C5AFEB-3CF1-8142-8E3C-F5BF6C926AD9}"/>
          </ac:spMkLst>
        </pc:spChg>
        <pc:spChg chg="mod">
          <ac:chgData name="Lamb, Ben" userId="88a6f5f3-f9e5-47eb-a109-670a0c68440d" providerId="ADAL" clId="{61283625-AFAA-A843-B4D4-BB41EDC646A4}" dt="2021-04-01T16:17:44.503" v="14964"/>
          <ac:spMkLst>
            <pc:docMk/>
            <pc:sldMk cId="3715850670" sldId="1727"/>
            <ac:spMk id="76" creationId="{373B2897-E144-4742-983B-0AB967771C83}"/>
          </ac:spMkLst>
        </pc:spChg>
        <pc:spChg chg="mod">
          <ac:chgData name="Lamb, Ben" userId="88a6f5f3-f9e5-47eb-a109-670a0c68440d" providerId="ADAL" clId="{61283625-AFAA-A843-B4D4-BB41EDC646A4}" dt="2021-04-01T16:17:44.503" v="14964"/>
          <ac:spMkLst>
            <pc:docMk/>
            <pc:sldMk cId="3715850670" sldId="1727"/>
            <ac:spMk id="77" creationId="{A2D734D9-3F73-3740-9068-58C4D46389BD}"/>
          </ac:spMkLst>
        </pc:spChg>
        <pc:spChg chg="mod">
          <ac:chgData name="Lamb, Ben" userId="88a6f5f3-f9e5-47eb-a109-670a0c68440d" providerId="ADAL" clId="{61283625-AFAA-A843-B4D4-BB41EDC646A4}" dt="2021-04-01T16:17:44.503" v="14964"/>
          <ac:spMkLst>
            <pc:docMk/>
            <pc:sldMk cId="3715850670" sldId="1727"/>
            <ac:spMk id="78" creationId="{C80FDC8D-73B2-9E47-823D-420D4E9A079F}"/>
          </ac:spMkLst>
        </pc:spChg>
        <pc:spChg chg="mod">
          <ac:chgData name="Lamb, Ben" userId="88a6f5f3-f9e5-47eb-a109-670a0c68440d" providerId="ADAL" clId="{61283625-AFAA-A843-B4D4-BB41EDC646A4}" dt="2021-04-01T16:17:44.503" v="14964"/>
          <ac:spMkLst>
            <pc:docMk/>
            <pc:sldMk cId="3715850670" sldId="1727"/>
            <ac:spMk id="79" creationId="{7BD87D3E-A3F0-5848-867E-179AD7ED44F6}"/>
          </ac:spMkLst>
        </pc:spChg>
        <pc:spChg chg="mod">
          <ac:chgData name="Lamb, Ben" userId="88a6f5f3-f9e5-47eb-a109-670a0c68440d" providerId="ADAL" clId="{61283625-AFAA-A843-B4D4-BB41EDC646A4}" dt="2021-04-01T16:17:44.503" v="14964"/>
          <ac:spMkLst>
            <pc:docMk/>
            <pc:sldMk cId="3715850670" sldId="1727"/>
            <ac:spMk id="80" creationId="{EFFDBCC5-E20A-F145-AC2C-A0343ACAFC26}"/>
          </ac:spMkLst>
        </pc:spChg>
        <pc:spChg chg="mod">
          <ac:chgData name="Lamb, Ben" userId="88a6f5f3-f9e5-47eb-a109-670a0c68440d" providerId="ADAL" clId="{61283625-AFAA-A843-B4D4-BB41EDC646A4}" dt="2021-04-01T16:17:44.503" v="14964"/>
          <ac:spMkLst>
            <pc:docMk/>
            <pc:sldMk cId="3715850670" sldId="1727"/>
            <ac:spMk id="81" creationId="{380AB8E1-0CCE-D245-A5F0-DB1FF26FB65E}"/>
          </ac:spMkLst>
        </pc:spChg>
        <pc:spChg chg="mod">
          <ac:chgData name="Lamb, Ben" userId="88a6f5f3-f9e5-47eb-a109-670a0c68440d" providerId="ADAL" clId="{61283625-AFAA-A843-B4D4-BB41EDC646A4}" dt="2021-04-01T16:17:44.503" v="14964"/>
          <ac:spMkLst>
            <pc:docMk/>
            <pc:sldMk cId="3715850670" sldId="1727"/>
            <ac:spMk id="82" creationId="{2E5F58F4-6D2C-CB4D-9A40-1FFD2CE0764B}"/>
          </ac:spMkLst>
        </pc:spChg>
        <pc:spChg chg="mod">
          <ac:chgData name="Lamb, Ben" userId="88a6f5f3-f9e5-47eb-a109-670a0c68440d" providerId="ADAL" clId="{61283625-AFAA-A843-B4D4-BB41EDC646A4}" dt="2021-04-01T16:17:44.503" v="14964"/>
          <ac:spMkLst>
            <pc:docMk/>
            <pc:sldMk cId="3715850670" sldId="1727"/>
            <ac:spMk id="83" creationId="{C8B6F859-34E8-D347-A9AE-CEA2ED828765}"/>
          </ac:spMkLst>
        </pc:spChg>
        <pc:spChg chg="mod">
          <ac:chgData name="Lamb, Ben" userId="88a6f5f3-f9e5-47eb-a109-670a0c68440d" providerId="ADAL" clId="{61283625-AFAA-A843-B4D4-BB41EDC646A4}" dt="2021-04-01T16:17:44.503" v="14964"/>
          <ac:spMkLst>
            <pc:docMk/>
            <pc:sldMk cId="3715850670" sldId="1727"/>
            <ac:spMk id="84" creationId="{9A6778C0-EBE8-2548-B6C5-E1F32794E8B5}"/>
          </ac:spMkLst>
        </pc:spChg>
        <pc:spChg chg="mod">
          <ac:chgData name="Lamb, Ben" userId="88a6f5f3-f9e5-47eb-a109-670a0c68440d" providerId="ADAL" clId="{61283625-AFAA-A843-B4D4-BB41EDC646A4}" dt="2021-04-01T16:17:44.503" v="14964"/>
          <ac:spMkLst>
            <pc:docMk/>
            <pc:sldMk cId="3715850670" sldId="1727"/>
            <ac:spMk id="86" creationId="{C0D2A86E-69C7-3C46-B20D-90E2635712C1}"/>
          </ac:spMkLst>
        </pc:spChg>
        <pc:spChg chg="mod">
          <ac:chgData name="Lamb, Ben" userId="88a6f5f3-f9e5-47eb-a109-670a0c68440d" providerId="ADAL" clId="{61283625-AFAA-A843-B4D4-BB41EDC646A4}" dt="2021-04-01T16:17:44.503" v="14964"/>
          <ac:spMkLst>
            <pc:docMk/>
            <pc:sldMk cId="3715850670" sldId="1727"/>
            <ac:spMk id="88" creationId="{C8A51217-3445-4149-82FA-ECFB6AC8AACD}"/>
          </ac:spMkLst>
        </pc:spChg>
        <pc:spChg chg="mod">
          <ac:chgData name="Lamb, Ben" userId="88a6f5f3-f9e5-47eb-a109-670a0c68440d" providerId="ADAL" clId="{61283625-AFAA-A843-B4D4-BB41EDC646A4}" dt="2021-04-01T16:17:44.503" v="14964"/>
          <ac:spMkLst>
            <pc:docMk/>
            <pc:sldMk cId="3715850670" sldId="1727"/>
            <ac:spMk id="89" creationId="{253205FD-E6AE-A449-8AE0-F0A86B58C888}"/>
          </ac:spMkLst>
        </pc:spChg>
        <pc:spChg chg="mod">
          <ac:chgData name="Lamb, Ben" userId="88a6f5f3-f9e5-47eb-a109-670a0c68440d" providerId="ADAL" clId="{61283625-AFAA-A843-B4D4-BB41EDC646A4}" dt="2021-04-01T16:17:44.503" v="14964"/>
          <ac:spMkLst>
            <pc:docMk/>
            <pc:sldMk cId="3715850670" sldId="1727"/>
            <ac:spMk id="90" creationId="{DCC69516-C587-8D45-84A0-1FBADC01EA47}"/>
          </ac:spMkLst>
        </pc:spChg>
        <pc:spChg chg="mod">
          <ac:chgData name="Lamb, Ben" userId="88a6f5f3-f9e5-47eb-a109-670a0c68440d" providerId="ADAL" clId="{61283625-AFAA-A843-B4D4-BB41EDC646A4}" dt="2021-04-01T16:17:44.503" v="14964"/>
          <ac:spMkLst>
            <pc:docMk/>
            <pc:sldMk cId="3715850670" sldId="1727"/>
            <ac:spMk id="91" creationId="{EB0FFD6E-B7D2-EF48-A6E7-E959FA0D139A}"/>
          </ac:spMkLst>
        </pc:spChg>
        <pc:spChg chg="mod">
          <ac:chgData name="Lamb, Ben" userId="88a6f5f3-f9e5-47eb-a109-670a0c68440d" providerId="ADAL" clId="{61283625-AFAA-A843-B4D4-BB41EDC646A4}" dt="2021-04-01T16:17:44.503" v="14964"/>
          <ac:spMkLst>
            <pc:docMk/>
            <pc:sldMk cId="3715850670" sldId="1727"/>
            <ac:spMk id="92" creationId="{7BC6D2C1-922D-4444-8CE2-1C215EA9996F}"/>
          </ac:spMkLst>
        </pc:spChg>
        <pc:spChg chg="add del mod">
          <ac:chgData name="Lamb, Ben" userId="88a6f5f3-f9e5-47eb-a109-670a0c68440d" providerId="ADAL" clId="{61283625-AFAA-A843-B4D4-BB41EDC646A4}" dt="2021-04-01T16:25:59.474" v="15125" actId="478"/>
          <ac:spMkLst>
            <pc:docMk/>
            <pc:sldMk cId="3715850670" sldId="1727"/>
            <ac:spMk id="93" creationId="{265FD218-E1BA-6E4A-86BD-5464611C3E2F}"/>
          </ac:spMkLst>
        </pc:spChg>
        <pc:spChg chg="add del mod">
          <ac:chgData name="Lamb, Ben" userId="88a6f5f3-f9e5-47eb-a109-670a0c68440d" providerId="ADAL" clId="{61283625-AFAA-A843-B4D4-BB41EDC646A4}" dt="2021-04-01T16:19:18.029" v="14988" actId="478"/>
          <ac:spMkLst>
            <pc:docMk/>
            <pc:sldMk cId="3715850670" sldId="1727"/>
            <ac:spMk id="94" creationId="{BAE845C2-ACEA-204C-9E8D-2CED647C751D}"/>
          </ac:spMkLst>
        </pc:spChg>
        <pc:spChg chg="mod">
          <ac:chgData name="Lamb, Ben" userId="88a6f5f3-f9e5-47eb-a109-670a0c68440d" providerId="ADAL" clId="{61283625-AFAA-A843-B4D4-BB41EDC646A4}" dt="2021-04-01T16:17:44.503" v="14964"/>
          <ac:spMkLst>
            <pc:docMk/>
            <pc:sldMk cId="3715850670" sldId="1727"/>
            <ac:spMk id="96" creationId="{A6FF8F90-FDC8-A847-997E-471302DE748C}"/>
          </ac:spMkLst>
        </pc:spChg>
        <pc:spChg chg="mod">
          <ac:chgData name="Lamb, Ben" userId="88a6f5f3-f9e5-47eb-a109-670a0c68440d" providerId="ADAL" clId="{61283625-AFAA-A843-B4D4-BB41EDC646A4}" dt="2021-04-01T16:17:44.503" v="14964"/>
          <ac:spMkLst>
            <pc:docMk/>
            <pc:sldMk cId="3715850670" sldId="1727"/>
            <ac:spMk id="97" creationId="{FC65F4C0-1C04-A943-AA43-0C28DC20FF91}"/>
          </ac:spMkLst>
        </pc:spChg>
        <pc:spChg chg="add mod">
          <ac:chgData name="Lamb, Ben" userId="88a6f5f3-f9e5-47eb-a109-670a0c68440d" providerId="ADAL" clId="{61283625-AFAA-A843-B4D4-BB41EDC646A4}" dt="2021-04-01T16:50:47.156" v="15645" actId="1076"/>
          <ac:spMkLst>
            <pc:docMk/>
            <pc:sldMk cId="3715850670" sldId="1727"/>
            <ac:spMk id="98" creationId="{873ADC92-F9D4-B648-AB09-A78C9AE1E72F}"/>
          </ac:spMkLst>
        </pc:spChg>
        <pc:spChg chg="mod">
          <ac:chgData name="Lamb, Ben" userId="88a6f5f3-f9e5-47eb-a109-670a0c68440d" providerId="ADAL" clId="{61283625-AFAA-A843-B4D4-BB41EDC646A4}" dt="2021-04-01T17:19:36.567" v="15817" actId="20577"/>
          <ac:spMkLst>
            <pc:docMk/>
            <pc:sldMk cId="3715850670" sldId="1727"/>
            <ac:spMk id="100" creationId="{99013607-B2C1-D74F-BF11-09F46AF13684}"/>
          </ac:spMkLst>
        </pc:spChg>
        <pc:spChg chg="mod">
          <ac:chgData name="Lamb, Ben" userId="88a6f5f3-f9e5-47eb-a109-670a0c68440d" providerId="ADAL" clId="{61283625-AFAA-A843-B4D4-BB41EDC646A4}" dt="2021-04-01T16:17:44.503" v="14964"/>
          <ac:spMkLst>
            <pc:docMk/>
            <pc:sldMk cId="3715850670" sldId="1727"/>
            <ac:spMk id="101" creationId="{381BA20A-59EA-E042-BC23-4323FDF43521}"/>
          </ac:spMkLst>
        </pc:spChg>
        <pc:spChg chg="mod">
          <ac:chgData name="Lamb, Ben" userId="88a6f5f3-f9e5-47eb-a109-670a0c68440d" providerId="ADAL" clId="{61283625-AFAA-A843-B4D4-BB41EDC646A4}" dt="2021-04-01T16:17:44.503" v="14964"/>
          <ac:spMkLst>
            <pc:docMk/>
            <pc:sldMk cId="3715850670" sldId="1727"/>
            <ac:spMk id="103" creationId="{4C738201-5480-3441-AA72-3D1DDC886DEF}"/>
          </ac:spMkLst>
        </pc:spChg>
        <pc:spChg chg="mod">
          <ac:chgData name="Lamb, Ben" userId="88a6f5f3-f9e5-47eb-a109-670a0c68440d" providerId="ADAL" clId="{61283625-AFAA-A843-B4D4-BB41EDC646A4}" dt="2021-04-01T16:17:44.503" v="14964"/>
          <ac:spMkLst>
            <pc:docMk/>
            <pc:sldMk cId="3715850670" sldId="1727"/>
            <ac:spMk id="104" creationId="{200B1342-5CA1-4C44-A28C-860DA90E6CA9}"/>
          </ac:spMkLst>
        </pc:spChg>
        <pc:spChg chg="add del mod">
          <ac:chgData name="Lamb, Ben" userId="88a6f5f3-f9e5-47eb-a109-670a0c68440d" providerId="ADAL" clId="{61283625-AFAA-A843-B4D4-BB41EDC646A4}" dt="2021-04-01T16:51:31.481" v="15662" actId="478"/>
          <ac:spMkLst>
            <pc:docMk/>
            <pc:sldMk cId="3715850670" sldId="1727"/>
            <ac:spMk id="105" creationId="{2E767B3C-AED7-BE4F-A31F-36E65DC1933E}"/>
          </ac:spMkLst>
        </pc:spChg>
        <pc:spChg chg="add del mod">
          <ac:chgData name="Lamb, Ben" userId="88a6f5f3-f9e5-47eb-a109-670a0c68440d" providerId="ADAL" clId="{61283625-AFAA-A843-B4D4-BB41EDC646A4}" dt="2021-04-01T16:19:13.880" v="14985" actId="478"/>
          <ac:spMkLst>
            <pc:docMk/>
            <pc:sldMk cId="3715850670" sldId="1727"/>
            <ac:spMk id="108" creationId="{67E06F67-04D6-1847-8540-88E7BB9ED09D}"/>
          </ac:spMkLst>
        </pc:spChg>
        <pc:spChg chg="add del mod">
          <ac:chgData name="Lamb, Ben" userId="88a6f5f3-f9e5-47eb-a109-670a0c68440d" providerId="ADAL" clId="{61283625-AFAA-A843-B4D4-BB41EDC646A4}" dt="2021-04-01T16:19:14.953" v="14986" actId="478"/>
          <ac:spMkLst>
            <pc:docMk/>
            <pc:sldMk cId="3715850670" sldId="1727"/>
            <ac:spMk id="109" creationId="{CFF66220-5A17-A04A-AC32-7F0C441F0877}"/>
          </ac:spMkLst>
        </pc:spChg>
        <pc:spChg chg="mod">
          <ac:chgData name="Lamb, Ben" userId="88a6f5f3-f9e5-47eb-a109-670a0c68440d" providerId="ADAL" clId="{61283625-AFAA-A843-B4D4-BB41EDC646A4}" dt="2021-04-01T16:17:44.503" v="14964"/>
          <ac:spMkLst>
            <pc:docMk/>
            <pc:sldMk cId="3715850670" sldId="1727"/>
            <ac:spMk id="112" creationId="{E8A03AC8-E297-0741-938F-542F0BDB5360}"/>
          </ac:spMkLst>
        </pc:spChg>
        <pc:spChg chg="mod">
          <ac:chgData name="Lamb, Ben" userId="88a6f5f3-f9e5-47eb-a109-670a0c68440d" providerId="ADAL" clId="{61283625-AFAA-A843-B4D4-BB41EDC646A4}" dt="2021-04-01T16:17:44.503" v="14964"/>
          <ac:spMkLst>
            <pc:docMk/>
            <pc:sldMk cId="3715850670" sldId="1727"/>
            <ac:spMk id="113" creationId="{13A1EC39-B9D6-3B40-A885-DBF6B0800DFB}"/>
          </ac:spMkLst>
        </pc:spChg>
        <pc:spChg chg="mod">
          <ac:chgData name="Lamb, Ben" userId="88a6f5f3-f9e5-47eb-a109-670a0c68440d" providerId="ADAL" clId="{61283625-AFAA-A843-B4D4-BB41EDC646A4}" dt="2021-04-01T16:17:44.503" v="14964"/>
          <ac:spMkLst>
            <pc:docMk/>
            <pc:sldMk cId="3715850670" sldId="1727"/>
            <ac:spMk id="114" creationId="{04C2E1B8-E9A3-DE4B-840C-57B6176FBB10}"/>
          </ac:spMkLst>
        </pc:spChg>
        <pc:spChg chg="mod">
          <ac:chgData name="Lamb, Ben" userId="88a6f5f3-f9e5-47eb-a109-670a0c68440d" providerId="ADAL" clId="{61283625-AFAA-A843-B4D4-BB41EDC646A4}" dt="2021-04-01T16:17:44.503" v="14964"/>
          <ac:spMkLst>
            <pc:docMk/>
            <pc:sldMk cId="3715850670" sldId="1727"/>
            <ac:spMk id="117" creationId="{EB2B11D1-FA3B-1644-B0FE-B6BC912B69FC}"/>
          </ac:spMkLst>
        </pc:spChg>
        <pc:spChg chg="mod">
          <ac:chgData name="Lamb, Ben" userId="88a6f5f3-f9e5-47eb-a109-670a0c68440d" providerId="ADAL" clId="{61283625-AFAA-A843-B4D4-BB41EDC646A4}" dt="2021-04-01T16:17:44.503" v="14964"/>
          <ac:spMkLst>
            <pc:docMk/>
            <pc:sldMk cId="3715850670" sldId="1727"/>
            <ac:spMk id="118" creationId="{B75F12C2-2553-C940-862D-844D73D16B52}"/>
          </ac:spMkLst>
        </pc:spChg>
        <pc:spChg chg="mod">
          <ac:chgData name="Lamb, Ben" userId="88a6f5f3-f9e5-47eb-a109-670a0c68440d" providerId="ADAL" clId="{61283625-AFAA-A843-B4D4-BB41EDC646A4}" dt="2021-04-01T16:17:44.503" v="14964"/>
          <ac:spMkLst>
            <pc:docMk/>
            <pc:sldMk cId="3715850670" sldId="1727"/>
            <ac:spMk id="119" creationId="{26E16985-FBC8-5248-86A2-76781CE056F8}"/>
          </ac:spMkLst>
        </pc:spChg>
        <pc:spChg chg="add del mod">
          <ac:chgData name="Lamb, Ben" userId="88a6f5f3-f9e5-47eb-a109-670a0c68440d" providerId="ADAL" clId="{61283625-AFAA-A843-B4D4-BB41EDC646A4}" dt="2021-04-01T16:19:13.880" v="14985" actId="478"/>
          <ac:spMkLst>
            <pc:docMk/>
            <pc:sldMk cId="3715850670" sldId="1727"/>
            <ac:spMk id="120" creationId="{461809BE-B6B8-BB42-9555-5B7F784F0936}"/>
          </ac:spMkLst>
        </pc:spChg>
        <pc:spChg chg="mod">
          <ac:chgData name="Lamb, Ben" userId="88a6f5f3-f9e5-47eb-a109-670a0c68440d" providerId="ADAL" clId="{61283625-AFAA-A843-B4D4-BB41EDC646A4}" dt="2021-04-01T16:17:44.503" v="14964"/>
          <ac:spMkLst>
            <pc:docMk/>
            <pc:sldMk cId="3715850670" sldId="1727"/>
            <ac:spMk id="122" creationId="{6B360AED-23D4-384C-A8F9-79C116959D2B}"/>
          </ac:spMkLst>
        </pc:spChg>
        <pc:spChg chg="mod">
          <ac:chgData name="Lamb, Ben" userId="88a6f5f3-f9e5-47eb-a109-670a0c68440d" providerId="ADAL" clId="{61283625-AFAA-A843-B4D4-BB41EDC646A4}" dt="2021-04-01T16:17:44.503" v="14964"/>
          <ac:spMkLst>
            <pc:docMk/>
            <pc:sldMk cId="3715850670" sldId="1727"/>
            <ac:spMk id="123" creationId="{B229D6A3-2520-A243-BDE7-5273DB60D0F7}"/>
          </ac:spMkLst>
        </pc:spChg>
        <pc:spChg chg="mod">
          <ac:chgData name="Lamb, Ben" userId="88a6f5f3-f9e5-47eb-a109-670a0c68440d" providerId="ADAL" clId="{61283625-AFAA-A843-B4D4-BB41EDC646A4}" dt="2021-04-01T16:17:44.503" v="14964"/>
          <ac:spMkLst>
            <pc:docMk/>
            <pc:sldMk cId="3715850670" sldId="1727"/>
            <ac:spMk id="126" creationId="{81603728-C1B8-7246-800A-C542583033C5}"/>
          </ac:spMkLst>
        </pc:spChg>
        <pc:spChg chg="mod">
          <ac:chgData name="Lamb, Ben" userId="88a6f5f3-f9e5-47eb-a109-670a0c68440d" providerId="ADAL" clId="{61283625-AFAA-A843-B4D4-BB41EDC646A4}" dt="2021-04-01T16:17:44.503" v="14964"/>
          <ac:spMkLst>
            <pc:docMk/>
            <pc:sldMk cId="3715850670" sldId="1727"/>
            <ac:spMk id="127" creationId="{8FBC6D45-4319-264A-A0DE-77D521D77418}"/>
          </ac:spMkLst>
        </pc:spChg>
        <pc:spChg chg="mod">
          <ac:chgData name="Lamb, Ben" userId="88a6f5f3-f9e5-47eb-a109-670a0c68440d" providerId="ADAL" clId="{61283625-AFAA-A843-B4D4-BB41EDC646A4}" dt="2021-04-01T16:17:44.503" v="14964"/>
          <ac:spMkLst>
            <pc:docMk/>
            <pc:sldMk cId="3715850670" sldId="1727"/>
            <ac:spMk id="128" creationId="{43B7E083-80B3-2846-A163-20FFB2B12ED3}"/>
          </ac:spMkLst>
        </pc:spChg>
        <pc:spChg chg="add del mod">
          <ac:chgData name="Lamb, Ben" userId="88a6f5f3-f9e5-47eb-a109-670a0c68440d" providerId="ADAL" clId="{61283625-AFAA-A843-B4D4-BB41EDC646A4}" dt="2021-04-01T16:19:13.880" v="14985" actId="478"/>
          <ac:spMkLst>
            <pc:docMk/>
            <pc:sldMk cId="3715850670" sldId="1727"/>
            <ac:spMk id="129" creationId="{B222385E-5DD7-5F4E-A447-4FBA3A21D4FA}"/>
          </ac:spMkLst>
        </pc:spChg>
        <pc:spChg chg="add mod">
          <ac:chgData name="Lamb, Ben" userId="88a6f5f3-f9e5-47eb-a109-670a0c68440d" providerId="ADAL" clId="{61283625-AFAA-A843-B4D4-BB41EDC646A4}" dt="2021-04-01T17:15:43.435" v="15797" actId="20577"/>
          <ac:spMkLst>
            <pc:docMk/>
            <pc:sldMk cId="3715850670" sldId="1727"/>
            <ac:spMk id="133" creationId="{7252FD64-39C3-9847-B96D-0ED10346D230}"/>
          </ac:spMkLst>
        </pc:spChg>
        <pc:spChg chg="mod">
          <ac:chgData name="Lamb, Ben" userId="88a6f5f3-f9e5-47eb-a109-670a0c68440d" providerId="ADAL" clId="{61283625-AFAA-A843-B4D4-BB41EDC646A4}" dt="2021-04-01T16:19:26.926" v="14990"/>
          <ac:spMkLst>
            <pc:docMk/>
            <pc:sldMk cId="3715850670" sldId="1727"/>
            <ac:spMk id="135" creationId="{E78EEA07-3E85-5A43-BBEF-3B866D80C824}"/>
          </ac:spMkLst>
        </pc:spChg>
        <pc:spChg chg="mod">
          <ac:chgData name="Lamb, Ben" userId="88a6f5f3-f9e5-47eb-a109-670a0c68440d" providerId="ADAL" clId="{61283625-AFAA-A843-B4D4-BB41EDC646A4}" dt="2021-04-01T16:19:26.926" v="14990"/>
          <ac:spMkLst>
            <pc:docMk/>
            <pc:sldMk cId="3715850670" sldId="1727"/>
            <ac:spMk id="136" creationId="{5DC25953-5F10-FE4F-84DE-9729447776D6}"/>
          </ac:spMkLst>
        </pc:spChg>
        <pc:spChg chg="add del mod">
          <ac:chgData name="Lamb, Ben" userId="88a6f5f3-f9e5-47eb-a109-670a0c68440d" providerId="ADAL" clId="{61283625-AFAA-A843-B4D4-BB41EDC646A4}" dt="2021-04-01T16:21:09.315" v="15051"/>
          <ac:spMkLst>
            <pc:docMk/>
            <pc:sldMk cId="3715850670" sldId="1727"/>
            <ac:spMk id="137" creationId="{2B86661A-4724-B04B-A37D-180AF384D0EE}"/>
          </ac:spMkLst>
        </pc:spChg>
        <pc:spChg chg="mod">
          <ac:chgData name="Lamb, Ben" userId="88a6f5f3-f9e5-47eb-a109-670a0c68440d" providerId="ADAL" clId="{61283625-AFAA-A843-B4D4-BB41EDC646A4}" dt="2021-04-01T16:20:06.114" v="15042"/>
          <ac:spMkLst>
            <pc:docMk/>
            <pc:sldMk cId="3715850670" sldId="1727"/>
            <ac:spMk id="140" creationId="{312B9509-99AF-4745-9F06-DDDA418ABF99}"/>
          </ac:spMkLst>
        </pc:spChg>
        <pc:spChg chg="mod">
          <ac:chgData name="Lamb, Ben" userId="88a6f5f3-f9e5-47eb-a109-670a0c68440d" providerId="ADAL" clId="{61283625-AFAA-A843-B4D4-BB41EDC646A4}" dt="2021-04-01T16:20:06.114" v="15042"/>
          <ac:spMkLst>
            <pc:docMk/>
            <pc:sldMk cId="3715850670" sldId="1727"/>
            <ac:spMk id="141" creationId="{17ED0DD2-D698-A846-A416-A0332CABA230}"/>
          </ac:spMkLst>
        </pc:spChg>
        <pc:spChg chg="mod">
          <ac:chgData name="Lamb, Ben" userId="88a6f5f3-f9e5-47eb-a109-670a0c68440d" providerId="ADAL" clId="{61283625-AFAA-A843-B4D4-BB41EDC646A4}" dt="2021-04-01T16:20:06.114" v="15042"/>
          <ac:spMkLst>
            <pc:docMk/>
            <pc:sldMk cId="3715850670" sldId="1727"/>
            <ac:spMk id="142" creationId="{14630182-7995-094C-A28F-FC70D3500E87}"/>
          </ac:spMkLst>
        </pc:spChg>
        <pc:spChg chg="add mod">
          <ac:chgData name="Lamb, Ben" userId="88a6f5f3-f9e5-47eb-a109-670a0c68440d" providerId="ADAL" clId="{61283625-AFAA-A843-B4D4-BB41EDC646A4}" dt="2021-04-01T16:21:50.962" v="15075" actId="1076"/>
          <ac:spMkLst>
            <pc:docMk/>
            <pc:sldMk cId="3715850670" sldId="1727"/>
            <ac:spMk id="144" creationId="{ABF20AC8-D4DC-3849-A277-8A2AA891298F}"/>
          </ac:spMkLst>
        </pc:spChg>
        <pc:spChg chg="mod">
          <ac:chgData name="Lamb, Ben" userId="88a6f5f3-f9e5-47eb-a109-670a0c68440d" providerId="ADAL" clId="{61283625-AFAA-A843-B4D4-BB41EDC646A4}" dt="2021-04-01T16:21:20.312" v="15061"/>
          <ac:spMkLst>
            <pc:docMk/>
            <pc:sldMk cId="3715850670" sldId="1727"/>
            <ac:spMk id="147" creationId="{B2DDD099-BAF0-1B45-BA8E-9634A33AA6CC}"/>
          </ac:spMkLst>
        </pc:spChg>
        <pc:spChg chg="mod">
          <ac:chgData name="Lamb, Ben" userId="88a6f5f3-f9e5-47eb-a109-670a0c68440d" providerId="ADAL" clId="{61283625-AFAA-A843-B4D4-BB41EDC646A4}" dt="2021-04-01T16:21:20.312" v="15061"/>
          <ac:spMkLst>
            <pc:docMk/>
            <pc:sldMk cId="3715850670" sldId="1727"/>
            <ac:spMk id="148" creationId="{ECFEBA60-B57F-9D4D-8CC8-C9AFB3E5E597}"/>
          </ac:spMkLst>
        </pc:spChg>
        <pc:spChg chg="mod">
          <ac:chgData name="Lamb, Ben" userId="88a6f5f3-f9e5-47eb-a109-670a0c68440d" providerId="ADAL" clId="{61283625-AFAA-A843-B4D4-BB41EDC646A4}" dt="2021-04-01T16:21:20.312" v="15061"/>
          <ac:spMkLst>
            <pc:docMk/>
            <pc:sldMk cId="3715850670" sldId="1727"/>
            <ac:spMk id="149" creationId="{8FCE8ECC-4C0D-E547-86CC-15881F7E62C0}"/>
          </ac:spMkLst>
        </pc:spChg>
        <pc:spChg chg="add mod">
          <ac:chgData name="Lamb, Ben" userId="88a6f5f3-f9e5-47eb-a109-670a0c68440d" providerId="ADAL" clId="{61283625-AFAA-A843-B4D4-BB41EDC646A4}" dt="2021-04-01T16:23:43.935" v="15109" actId="1076"/>
          <ac:spMkLst>
            <pc:docMk/>
            <pc:sldMk cId="3715850670" sldId="1727"/>
            <ac:spMk id="155" creationId="{D8A74B83-7FCB-5A48-8AA7-F40D0DB473B3}"/>
          </ac:spMkLst>
        </pc:spChg>
        <pc:spChg chg="add mod">
          <ac:chgData name="Lamb, Ben" userId="88a6f5f3-f9e5-47eb-a109-670a0c68440d" providerId="ADAL" clId="{61283625-AFAA-A843-B4D4-BB41EDC646A4}" dt="2021-04-01T16:23:46.568" v="15110" actId="1076"/>
          <ac:spMkLst>
            <pc:docMk/>
            <pc:sldMk cId="3715850670" sldId="1727"/>
            <ac:spMk id="156" creationId="{54CCE351-4D8D-EC4B-8FB7-6A8C2674E8B9}"/>
          </ac:spMkLst>
        </pc:spChg>
        <pc:spChg chg="mod">
          <ac:chgData name="Lamb, Ben" userId="88a6f5f3-f9e5-47eb-a109-670a0c68440d" providerId="ADAL" clId="{61283625-AFAA-A843-B4D4-BB41EDC646A4}" dt="2021-04-01T16:31:51.092" v="15150"/>
          <ac:spMkLst>
            <pc:docMk/>
            <pc:sldMk cId="3715850670" sldId="1727"/>
            <ac:spMk id="165" creationId="{D4FD97EE-13E4-754D-8284-257D5CFD0878}"/>
          </ac:spMkLst>
        </pc:spChg>
        <pc:spChg chg="mod">
          <ac:chgData name="Lamb, Ben" userId="88a6f5f3-f9e5-47eb-a109-670a0c68440d" providerId="ADAL" clId="{61283625-AFAA-A843-B4D4-BB41EDC646A4}" dt="2021-04-01T16:31:51.092" v="15150"/>
          <ac:spMkLst>
            <pc:docMk/>
            <pc:sldMk cId="3715850670" sldId="1727"/>
            <ac:spMk id="166" creationId="{CDF06230-9274-8B48-914A-BFFAEBDA208C}"/>
          </ac:spMkLst>
        </pc:spChg>
        <pc:spChg chg="add mod">
          <ac:chgData name="Lamb, Ben" userId="88a6f5f3-f9e5-47eb-a109-670a0c68440d" providerId="ADAL" clId="{61283625-AFAA-A843-B4D4-BB41EDC646A4}" dt="2021-04-01T16:50:47.156" v="15645" actId="1076"/>
          <ac:spMkLst>
            <pc:docMk/>
            <pc:sldMk cId="3715850670" sldId="1727"/>
            <ac:spMk id="167" creationId="{9D8E5A9B-3504-CE44-B894-E88BFCCAA0AD}"/>
          </ac:spMkLst>
        </pc:spChg>
        <pc:spChg chg="add mod">
          <ac:chgData name="Lamb, Ben" userId="88a6f5f3-f9e5-47eb-a109-670a0c68440d" providerId="ADAL" clId="{61283625-AFAA-A843-B4D4-BB41EDC646A4}" dt="2021-04-01T16:50:02.491" v="15638" actId="1076"/>
          <ac:spMkLst>
            <pc:docMk/>
            <pc:sldMk cId="3715850670" sldId="1727"/>
            <ac:spMk id="168" creationId="{CA6E67A4-CC77-FE4A-842C-400747348D47}"/>
          </ac:spMkLst>
        </pc:spChg>
        <pc:spChg chg="mod">
          <ac:chgData name="Lamb, Ben" userId="88a6f5f3-f9e5-47eb-a109-670a0c68440d" providerId="ADAL" clId="{61283625-AFAA-A843-B4D4-BB41EDC646A4}" dt="2021-04-01T16:32:09.537" v="15162"/>
          <ac:spMkLst>
            <pc:docMk/>
            <pc:sldMk cId="3715850670" sldId="1727"/>
            <ac:spMk id="171" creationId="{18D2E41C-E102-0242-9B66-BAE9AA943B2D}"/>
          </ac:spMkLst>
        </pc:spChg>
        <pc:spChg chg="mod">
          <ac:chgData name="Lamb, Ben" userId="88a6f5f3-f9e5-47eb-a109-670a0c68440d" providerId="ADAL" clId="{61283625-AFAA-A843-B4D4-BB41EDC646A4}" dt="2021-04-01T16:32:09.537" v="15162"/>
          <ac:spMkLst>
            <pc:docMk/>
            <pc:sldMk cId="3715850670" sldId="1727"/>
            <ac:spMk id="172" creationId="{FEF134D9-ABBE-144F-AC69-001657DF9E52}"/>
          </ac:spMkLst>
        </pc:spChg>
        <pc:spChg chg="mod">
          <ac:chgData name="Lamb, Ben" userId="88a6f5f3-f9e5-47eb-a109-670a0c68440d" providerId="ADAL" clId="{61283625-AFAA-A843-B4D4-BB41EDC646A4}" dt="2021-04-01T16:32:09.537" v="15162"/>
          <ac:spMkLst>
            <pc:docMk/>
            <pc:sldMk cId="3715850670" sldId="1727"/>
            <ac:spMk id="173" creationId="{D9DC2DC4-1235-CC44-A322-EB011E88E8D7}"/>
          </ac:spMkLst>
        </pc:spChg>
        <pc:spChg chg="mod">
          <ac:chgData name="Lamb, Ben" userId="88a6f5f3-f9e5-47eb-a109-670a0c68440d" providerId="ADAL" clId="{61283625-AFAA-A843-B4D4-BB41EDC646A4}" dt="2021-04-01T16:32:09.537" v="15162"/>
          <ac:spMkLst>
            <pc:docMk/>
            <pc:sldMk cId="3715850670" sldId="1727"/>
            <ac:spMk id="174" creationId="{D6527C1B-47C1-1543-8F38-59C238E2B722}"/>
          </ac:spMkLst>
        </pc:spChg>
        <pc:spChg chg="mod">
          <ac:chgData name="Lamb, Ben" userId="88a6f5f3-f9e5-47eb-a109-670a0c68440d" providerId="ADAL" clId="{61283625-AFAA-A843-B4D4-BB41EDC646A4}" dt="2021-04-01T16:32:09.537" v="15162"/>
          <ac:spMkLst>
            <pc:docMk/>
            <pc:sldMk cId="3715850670" sldId="1727"/>
            <ac:spMk id="175" creationId="{06DBA35A-6225-AB49-9070-7477D3D1D612}"/>
          </ac:spMkLst>
        </pc:spChg>
        <pc:spChg chg="mod">
          <ac:chgData name="Lamb, Ben" userId="88a6f5f3-f9e5-47eb-a109-670a0c68440d" providerId="ADAL" clId="{61283625-AFAA-A843-B4D4-BB41EDC646A4}" dt="2021-04-01T16:32:09.537" v="15162"/>
          <ac:spMkLst>
            <pc:docMk/>
            <pc:sldMk cId="3715850670" sldId="1727"/>
            <ac:spMk id="176" creationId="{59E9C194-5589-0E41-A54C-EF60107DD48C}"/>
          </ac:spMkLst>
        </pc:spChg>
        <pc:spChg chg="mod">
          <ac:chgData name="Lamb, Ben" userId="88a6f5f3-f9e5-47eb-a109-670a0c68440d" providerId="ADAL" clId="{61283625-AFAA-A843-B4D4-BB41EDC646A4}" dt="2021-04-01T16:32:09.537" v="15162"/>
          <ac:spMkLst>
            <pc:docMk/>
            <pc:sldMk cId="3715850670" sldId="1727"/>
            <ac:spMk id="177" creationId="{8B767127-FBD3-E04C-B8C1-A444B7CEA80D}"/>
          </ac:spMkLst>
        </pc:spChg>
        <pc:spChg chg="add del mod">
          <ac:chgData name="Lamb, Ben" userId="88a6f5f3-f9e5-47eb-a109-670a0c68440d" providerId="ADAL" clId="{61283625-AFAA-A843-B4D4-BB41EDC646A4}" dt="2021-04-01T16:54:07.848" v="15705"/>
          <ac:spMkLst>
            <pc:docMk/>
            <pc:sldMk cId="3715850670" sldId="1727"/>
            <ac:spMk id="219" creationId="{0CB7FB05-0D1E-674E-A182-D3E735BAB559}"/>
          </ac:spMkLst>
        </pc:spChg>
        <pc:grpChg chg="add mod">
          <ac:chgData name="Lamb, Ben" userId="88a6f5f3-f9e5-47eb-a109-670a0c68440d" providerId="ADAL" clId="{61283625-AFAA-A843-B4D4-BB41EDC646A4}" dt="2021-04-01T16:52:06.623" v="15673" actId="1076"/>
          <ac:grpSpMkLst>
            <pc:docMk/>
            <pc:sldMk cId="3715850670" sldId="1727"/>
            <ac:grpSpMk id="25" creationId="{8B3D33C4-669D-DF43-BF58-9FD9AC4D7923}"/>
          </ac:grpSpMkLst>
        </pc:grpChg>
        <pc:grpChg chg="add mod">
          <ac:chgData name="Lamb, Ben" userId="88a6f5f3-f9e5-47eb-a109-670a0c68440d" providerId="ADAL" clId="{61283625-AFAA-A843-B4D4-BB41EDC646A4}" dt="2021-04-01T16:17:48.112" v="14965" actId="1076"/>
          <ac:grpSpMkLst>
            <pc:docMk/>
            <pc:sldMk cId="3715850670" sldId="1727"/>
            <ac:grpSpMk id="28" creationId="{89A7FDF5-1A99-8947-92C8-400563E0F8A8}"/>
          </ac:grpSpMkLst>
        </pc:grpChg>
        <pc:grpChg chg="add mod">
          <ac:chgData name="Lamb, Ben" userId="88a6f5f3-f9e5-47eb-a109-670a0c68440d" providerId="ADAL" clId="{61283625-AFAA-A843-B4D4-BB41EDC646A4}" dt="2021-04-01T16:18:45.247" v="14978" actId="1076"/>
          <ac:grpSpMkLst>
            <pc:docMk/>
            <pc:sldMk cId="3715850670" sldId="1727"/>
            <ac:grpSpMk id="31" creationId="{2F3D906C-AFBB-7348-8A54-99EF0C992060}"/>
          </ac:grpSpMkLst>
        </pc:grpChg>
        <pc:grpChg chg="mod">
          <ac:chgData name="Lamb, Ben" userId="88a6f5f3-f9e5-47eb-a109-670a0c68440d" providerId="ADAL" clId="{61283625-AFAA-A843-B4D4-BB41EDC646A4}" dt="2021-04-01T16:17:44.503" v="14964"/>
          <ac:grpSpMkLst>
            <pc:docMk/>
            <pc:sldMk cId="3715850670" sldId="1727"/>
            <ac:grpSpMk id="32" creationId="{4F9E8741-7DDA-AA4D-8C93-1D3864611A3A}"/>
          </ac:grpSpMkLst>
        </pc:grpChg>
        <pc:grpChg chg="add mod">
          <ac:chgData name="Lamb, Ben" userId="88a6f5f3-f9e5-47eb-a109-670a0c68440d" providerId="ADAL" clId="{61283625-AFAA-A843-B4D4-BB41EDC646A4}" dt="2021-04-01T16:21:27.844" v="15063" actId="1076"/>
          <ac:grpSpMkLst>
            <pc:docMk/>
            <pc:sldMk cId="3715850670" sldId="1727"/>
            <ac:grpSpMk id="41" creationId="{49B363FA-D8EB-C642-BC19-991114E26C3C}"/>
          </ac:grpSpMkLst>
        </pc:grpChg>
        <pc:grpChg chg="mod">
          <ac:chgData name="Lamb, Ben" userId="88a6f5f3-f9e5-47eb-a109-670a0c68440d" providerId="ADAL" clId="{61283625-AFAA-A843-B4D4-BB41EDC646A4}" dt="2021-04-01T16:17:44.503" v="14964"/>
          <ac:grpSpMkLst>
            <pc:docMk/>
            <pc:sldMk cId="3715850670" sldId="1727"/>
            <ac:grpSpMk id="42" creationId="{70B74918-FDE4-D24D-A39F-61A7C1423054}"/>
          </ac:grpSpMkLst>
        </pc:grpChg>
        <pc:grpChg chg="add mod">
          <ac:chgData name="Lamb, Ben" userId="88a6f5f3-f9e5-47eb-a109-670a0c68440d" providerId="ADAL" clId="{61283625-AFAA-A843-B4D4-BB41EDC646A4}" dt="2021-04-01T16:21:55.135" v="15076" actId="1076"/>
          <ac:grpSpMkLst>
            <pc:docMk/>
            <pc:sldMk cId="3715850670" sldId="1727"/>
            <ac:grpSpMk id="46" creationId="{D86A6EB1-1919-824E-8613-31E89820AF4B}"/>
          </ac:grpSpMkLst>
        </pc:grpChg>
        <pc:grpChg chg="mod">
          <ac:chgData name="Lamb, Ben" userId="88a6f5f3-f9e5-47eb-a109-670a0c68440d" providerId="ADAL" clId="{61283625-AFAA-A843-B4D4-BB41EDC646A4}" dt="2021-04-01T16:17:44.503" v="14964"/>
          <ac:grpSpMkLst>
            <pc:docMk/>
            <pc:sldMk cId="3715850670" sldId="1727"/>
            <ac:grpSpMk id="47" creationId="{E4F29A51-4984-7440-A944-A8FE603C9AE1}"/>
          </ac:grpSpMkLst>
        </pc:grpChg>
        <pc:grpChg chg="add mod">
          <ac:chgData name="Lamb, Ben" userId="88a6f5f3-f9e5-47eb-a109-670a0c68440d" providerId="ADAL" clId="{61283625-AFAA-A843-B4D4-BB41EDC646A4}" dt="2021-04-01T16:50:13.538" v="15639" actId="1076"/>
          <ac:grpSpMkLst>
            <pc:docMk/>
            <pc:sldMk cId="3715850670" sldId="1727"/>
            <ac:grpSpMk id="51" creationId="{942FDD38-C834-C747-8385-35F0FB9E5331}"/>
          </ac:grpSpMkLst>
        </pc:grpChg>
        <pc:grpChg chg="add mod">
          <ac:chgData name="Lamb, Ben" userId="88a6f5f3-f9e5-47eb-a109-670a0c68440d" providerId="ADAL" clId="{61283625-AFAA-A843-B4D4-BB41EDC646A4}" dt="2021-04-01T16:23:03.761" v="15084" actId="1076"/>
          <ac:grpSpMkLst>
            <pc:docMk/>
            <pc:sldMk cId="3715850670" sldId="1727"/>
            <ac:grpSpMk id="54" creationId="{E19A119E-14B9-B746-A1D1-2C3547F5EC45}"/>
          </ac:grpSpMkLst>
        </pc:grpChg>
        <pc:grpChg chg="mod">
          <ac:chgData name="Lamb, Ben" userId="88a6f5f3-f9e5-47eb-a109-670a0c68440d" providerId="ADAL" clId="{61283625-AFAA-A843-B4D4-BB41EDC646A4}" dt="2021-04-01T16:17:44.503" v="14964"/>
          <ac:grpSpMkLst>
            <pc:docMk/>
            <pc:sldMk cId="3715850670" sldId="1727"/>
            <ac:grpSpMk id="55" creationId="{B1104BAB-30A9-DA43-908D-9CC71806516F}"/>
          </ac:grpSpMkLst>
        </pc:grpChg>
        <pc:grpChg chg="add mod">
          <ac:chgData name="Lamb, Ben" userId="88a6f5f3-f9e5-47eb-a109-670a0c68440d" providerId="ADAL" clId="{61283625-AFAA-A843-B4D4-BB41EDC646A4}" dt="2021-04-01T16:50:52.217" v="15646" actId="1076"/>
          <ac:grpSpMkLst>
            <pc:docMk/>
            <pc:sldMk cId="3715850670" sldId="1727"/>
            <ac:grpSpMk id="63" creationId="{9405FDA0-C152-8C43-A140-B25071C28F87}"/>
          </ac:grpSpMkLst>
        </pc:grpChg>
        <pc:grpChg chg="mod">
          <ac:chgData name="Lamb, Ben" userId="88a6f5f3-f9e5-47eb-a109-670a0c68440d" providerId="ADAL" clId="{61283625-AFAA-A843-B4D4-BB41EDC646A4}" dt="2021-04-01T16:17:44.503" v="14964"/>
          <ac:grpSpMkLst>
            <pc:docMk/>
            <pc:sldMk cId="3715850670" sldId="1727"/>
            <ac:grpSpMk id="64" creationId="{F701861A-01D1-D246-BF02-14F41096DB6A}"/>
          </ac:grpSpMkLst>
        </pc:grpChg>
        <pc:grpChg chg="add mod">
          <ac:chgData name="Lamb, Ben" userId="88a6f5f3-f9e5-47eb-a109-670a0c68440d" providerId="ADAL" clId="{61283625-AFAA-A843-B4D4-BB41EDC646A4}" dt="2021-04-01T16:50:52.217" v="15646" actId="1076"/>
          <ac:grpSpMkLst>
            <pc:docMk/>
            <pc:sldMk cId="3715850670" sldId="1727"/>
            <ac:grpSpMk id="68" creationId="{6701FAF1-FB39-6746-99CC-561463AFC5CF}"/>
          </ac:grpSpMkLst>
        </pc:grpChg>
        <pc:grpChg chg="add mod">
          <ac:chgData name="Lamb, Ben" userId="88a6f5f3-f9e5-47eb-a109-670a0c68440d" providerId="ADAL" clId="{61283625-AFAA-A843-B4D4-BB41EDC646A4}" dt="2021-04-01T16:26:04.333" v="15126" actId="1076"/>
          <ac:grpSpMkLst>
            <pc:docMk/>
            <pc:sldMk cId="3715850670" sldId="1727"/>
            <ac:grpSpMk id="71" creationId="{CF7E58C3-6545-DA41-91B5-31C196DBD799}"/>
          </ac:grpSpMkLst>
        </pc:grpChg>
        <pc:grpChg chg="add mod">
          <ac:chgData name="Lamb, Ben" userId="88a6f5f3-f9e5-47eb-a109-670a0c68440d" providerId="ADAL" clId="{61283625-AFAA-A843-B4D4-BB41EDC646A4}" dt="2021-04-01T16:51:30.244" v="15661" actId="1076"/>
          <ac:grpSpMkLst>
            <pc:docMk/>
            <pc:sldMk cId="3715850670" sldId="1727"/>
            <ac:grpSpMk id="74" creationId="{553796CC-D4F5-144D-950B-9993DCCBF232}"/>
          </ac:grpSpMkLst>
        </pc:grpChg>
        <pc:grpChg chg="mod">
          <ac:chgData name="Lamb, Ben" userId="88a6f5f3-f9e5-47eb-a109-670a0c68440d" providerId="ADAL" clId="{61283625-AFAA-A843-B4D4-BB41EDC646A4}" dt="2021-04-01T16:17:44.503" v="14964"/>
          <ac:grpSpMkLst>
            <pc:docMk/>
            <pc:sldMk cId="3715850670" sldId="1727"/>
            <ac:grpSpMk id="75" creationId="{9D5E85AB-C7A2-6F4E-A6C8-D3E1EC7721E5}"/>
          </ac:grpSpMkLst>
        </pc:grpChg>
        <pc:grpChg chg="add del mod">
          <ac:chgData name="Lamb, Ben" userId="88a6f5f3-f9e5-47eb-a109-670a0c68440d" providerId="ADAL" clId="{61283625-AFAA-A843-B4D4-BB41EDC646A4}" dt="2021-04-01T16:19:13.880" v="14985" actId="478"/>
          <ac:grpSpMkLst>
            <pc:docMk/>
            <pc:sldMk cId="3715850670" sldId="1727"/>
            <ac:grpSpMk id="85" creationId="{5C30D0CD-8B4C-D549-B64B-25250A784A3C}"/>
          </ac:grpSpMkLst>
        </pc:grpChg>
        <pc:grpChg chg="mod">
          <ac:chgData name="Lamb, Ben" userId="88a6f5f3-f9e5-47eb-a109-670a0c68440d" providerId="ADAL" clId="{61283625-AFAA-A843-B4D4-BB41EDC646A4}" dt="2021-04-01T16:17:44.503" v="14964"/>
          <ac:grpSpMkLst>
            <pc:docMk/>
            <pc:sldMk cId="3715850670" sldId="1727"/>
            <ac:grpSpMk id="87" creationId="{F423C8A0-4943-5949-9AC2-FF0CDA2B006F}"/>
          </ac:grpSpMkLst>
        </pc:grpChg>
        <pc:grpChg chg="add mod">
          <ac:chgData name="Lamb, Ben" userId="88a6f5f3-f9e5-47eb-a109-670a0c68440d" providerId="ADAL" clId="{61283625-AFAA-A843-B4D4-BB41EDC646A4}" dt="2021-04-01T16:50:47.156" v="15645" actId="1076"/>
          <ac:grpSpMkLst>
            <pc:docMk/>
            <pc:sldMk cId="3715850670" sldId="1727"/>
            <ac:grpSpMk id="95" creationId="{D17EBC14-703D-F749-835D-51ED6E31BEAA}"/>
          </ac:grpSpMkLst>
        </pc:grpChg>
        <pc:grpChg chg="add mod">
          <ac:chgData name="Lamb, Ben" userId="88a6f5f3-f9e5-47eb-a109-670a0c68440d" providerId="ADAL" clId="{61283625-AFAA-A843-B4D4-BB41EDC646A4}" dt="2021-04-01T17:19:39.923" v="15818" actId="1076"/>
          <ac:grpSpMkLst>
            <pc:docMk/>
            <pc:sldMk cId="3715850670" sldId="1727"/>
            <ac:grpSpMk id="99" creationId="{E9544D59-A002-AF4E-8283-E79A8701BA2D}"/>
          </ac:grpSpMkLst>
        </pc:grpChg>
        <pc:grpChg chg="add del mod">
          <ac:chgData name="Lamb, Ben" userId="88a6f5f3-f9e5-47eb-a109-670a0c68440d" providerId="ADAL" clId="{61283625-AFAA-A843-B4D4-BB41EDC646A4}" dt="2021-04-01T16:54:23.525" v="15707" actId="1076"/>
          <ac:grpSpMkLst>
            <pc:docMk/>
            <pc:sldMk cId="3715850670" sldId="1727"/>
            <ac:grpSpMk id="102" creationId="{0805790E-C16E-DE41-B474-BBAA378D6076}"/>
          </ac:grpSpMkLst>
        </pc:grpChg>
        <pc:grpChg chg="add del mod">
          <ac:chgData name="Lamb, Ben" userId="88a6f5f3-f9e5-47eb-a109-670a0c68440d" providerId="ADAL" clId="{61283625-AFAA-A843-B4D4-BB41EDC646A4}" dt="2021-04-01T16:19:14.953" v="14986" actId="478"/>
          <ac:grpSpMkLst>
            <pc:docMk/>
            <pc:sldMk cId="3715850670" sldId="1727"/>
            <ac:grpSpMk id="110" creationId="{150CDFC1-B417-FF44-B506-7AAC6BFA1F40}"/>
          </ac:grpSpMkLst>
        </pc:grpChg>
        <pc:grpChg chg="mod">
          <ac:chgData name="Lamb, Ben" userId="88a6f5f3-f9e5-47eb-a109-670a0c68440d" providerId="ADAL" clId="{61283625-AFAA-A843-B4D4-BB41EDC646A4}" dt="2021-04-01T16:17:44.503" v="14964"/>
          <ac:grpSpMkLst>
            <pc:docMk/>
            <pc:sldMk cId="3715850670" sldId="1727"/>
            <ac:grpSpMk id="111" creationId="{699E432A-B49E-C94A-850F-8864ED015529}"/>
          </ac:grpSpMkLst>
        </pc:grpChg>
        <pc:grpChg chg="add del mod">
          <ac:chgData name="Lamb, Ben" userId="88a6f5f3-f9e5-47eb-a109-670a0c68440d" providerId="ADAL" clId="{61283625-AFAA-A843-B4D4-BB41EDC646A4}" dt="2021-04-01T16:19:13.880" v="14985" actId="478"/>
          <ac:grpSpMkLst>
            <pc:docMk/>
            <pc:sldMk cId="3715850670" sldId="1727"/>
            <ac:grpSpMk id="115" creationId="{5A919855-8089-F042-8840-08619F70A3D2}"/>
          </ac:grpSpMkLst>
        </pc:grpChg>
        <pc:grpChg chg="mod">
          <ac:chgData name="Lamb, Ben" userId="88a6f5f3-f9e5-47eb-a109-670a0c68440d" providerId="ADAL" clId="{61283625-AFAA-A843-B4D4-BB41EDC646A4}" dt="2021-04-01T16:17:44.503" v="14964"/>
          <ac:grpSpMkLst>
            <pc:docMk/>
            <pc:sldMk cId="3715850670" sldId="1727"/>
            <ac:grpSpMk id="116" creationId="{BAABBBCD-7927-B842-ABC9-842BBD9D5ECD}"/>
          </ac:grpSpMkLst>
        </pc:grpChg>
        <pc:grpChg chg="add mod">
          <ac:chgData name="Lamb, Ben" userId="88a6f5f3-f9e5-47eb-a109-670a0c68440d" providerId="ADAL" clId="{61283625-AFAA-A843-B4D4-BB41EDC646A4}" dt="2021-04-01T16:52:08.929" v="15674" actId="1076"/>
          <ac:grpSpMkLst>
            <pc:docMk/>
            <pc:sldMk cId="3715850670" sldId="1727"/>
            <ac:grpSpMk id="121" creationId="{1F0B7903-2D17-5947-8AED-6851D259F2B5}"/>
          </ac:grpSpMkLst>
        </pc:grpChg>
        <pc:grpChg chg="add del mod">
          <ac:chgData name="Lamb, Ben" userId="88a6f5f3-f9e5-47eb-a109-670a0c68440d" providerId="ADAL" clId="{61283625-AFAA-A843-B4D4-BB41EDC646A4}" dt="2021-04-01T16:19:13.880" v="14985" actId="478"/>
          <ac:grpSpMkLst>
            <pc:docMk/>
            <pc:sldMk cId="3715850670" sldId="1727"/>
            <ac:grpSpMk id="124" creationId="{E2A3311A-DEB0-E549-86E0-A8F7D4404E33}"/>
          </ac:grpSpMkLst>
        </pc:grpChg>
        <pc:grpChg chg="mod">
          <ac:chgData name="Lamb, Ben" userId="88a6f5f3-f9e5-47eb-a109-670a0c68440d" providerId="ADAL" clId="{61283625-AFAA-A843-B4D4-BB41EDC646A4}" dt="2021-04-01T16:17:44.503" v="14964"/>
          <ac:grpSpMkLst>
            <pc:docMk/>
            <pc:sldMk cId="3715850670" sldId="1727"/>
            <ac:grpSpMk id="125" creationId="{64B6CB3C-6D2B-E749-95FF-4C16E666622E}"/>
          </ac:grpSpMkLst>
        </pc:grpChg>
        <pc:grpChg chg="add mod">
          <ac:chgData name="Lamb, Ben" userId="88a6f5f3-f9e5-47eb-a109-670a0c68440d" providerId="ADAL" clId="{61283625-AFAA-A843-B4D4-BB41EDC646A4}" dt="2021-04-01T16:24:02.890" v="15114" actId="1076"/>
          <ac:grpSpMkLst>
            <pc:docMk/>
            <pc:sldMk cId="3715850670" sldId="1727"/>
            <ac:grpSpMk id="134" creationId="{AD4D2857-EAED-364B-9D80-27CA2EDC7838}"/>
          </ac:grpSpMkLst>
        </pc:grpChg>
        <pc:grpChg chg="add del mod">
          <ac:chgData name="Lamb, Ben" userId="88a6f5f3-f9e5-47eb-a109-670a0c68440d" providerId="ADAL" clId="{61283625-AFAA-A843-B4D4-BB41EDC646A4}" dt="2021-04-01T16:21:09.315" v="15051"/>
          <ac:grpSpMkLst>
            <pc:docMk/>
            <pc:sldMk cId="3715850670" sldId="1727"/>
            <ac:grpSpMk id="138" creationId="{358372DC-F27A-8A4F-987B-2E2C5056AF04}"/>
          </ac:grpSpMkLst>
        </pc:grpChg>
        <pc:grpChg chg="mod">
          <ac:chgData name="Lamb, Ben" userId="88a6f5f3-f9e5-47eb-a109-670a0c68440d" providerId="ADAL" clId="{61283625-AFAA-A843-B4D4-BB41EDC646A4}" dt="2021-04-01T16:20:06.114" v="15042"/>
          <ac:grpSpMkLst>
            <pc:docMk/>
            <pc:sldMk cId="3715850670" sldId="1727"/>
            <ac:grpSpMk id="139" creationId="{15842BEF-21E7-AF45-A14F-E8F3A80B63F7}"/>
          </ac:grpSpMkLst>
        </pc:grpChg>
        <pc:grpChg chg="add mod">
          <ac:chgData name="Lamb, Ben" userId="88a6f5f3-f9e5-47eb-a109-670a0c68440d" providerId="ADAL" clId="{61283625-AFAA-A843-B4D4-BB41EDC646A4}" dt="2021-04-01T16:21:50.962" v="15075" actId="1076"/>
          <ac:grpSpMkLst>
            <pc:docMk/>
            <pc:sldMk cId="3715850670" sldId="1727"/>
            <ac:grpSpMk id="145" creationId="{4529B496-F6E4-5A48-9016-804ED07AC3A2}"/>
          </ac:grpSpMkLst>
        </pc:grpChg>
        <pc:grpChg chg="mod">
          <ac:chgData name="Lamb, Ben" userId="88a6f5f3-f9e5-47eb-a109-670a0c68440d" providerId="ADAL" clId="{61283625-AFAA-A843-B4D4-BB41EDC646A4}" dt="2021-04-01T16:21:20.312" v="15061"/>
          <ac:grpSpMkLst>
            <pc:docMk/>
            <pc:sldMk cId="3715850670" sldId="1727"/>
            <ac:grpSpMk id="146" creationId="{098DE2E9-0874-9049-A149-886D76A4A650}"/>
          </ac:grpSpMkLst>
        </pc:grpChg>
        <pc:grpChg chg="add mod">
          <ac:chgData name="Lamb, Ben" userId="88a6f5f3-f9e5-47eb-a109-670a0c68440d" providerId="ADAL" clId="{61283625-AFAA-A843-B4D4-BB41EDC646A4}" dt="2021-04-01T16:50:47.156" v="15645" actId="1076"/>
          <ac:grpSpMkLst>
            <pc:docMk/>
            <pc:sldMk cId="3715850670" sldId="1727"/>
            <ac:grpSpMk id="164" creationId="{EBD0048B-8C56-A04A-A0DD-3B569BBFEEAD}"/>
          </ac:grpSpMkLst>
        </pc:grpChg>
        <pc:grpChg chg="add mod">
          <ac:chgData name="Lamb, Ben" userId="88a6f5f3-f9e5-47eb-a109-670a0c68440d" providerId="ADAL" clId="{61283625-AFAA-A843-B4D4-BB41EDC646A4}" dt="2021-04-01T16:50:02.491" v="15638" actId="1076"/>
          <ac:grpSpMkLst>
            <pc:docMk/>
            <pc:sldMk cId="3715850670" sldId="1727"/>
            <ac:grpSpMk id="169" creationId="{F35F79A1-9FCC-114B-95E5-B5B175BEECB7}"/>
          </ac:grpSpMkLst>
        </pc:grpChg>
        <pc:grpChg chg="mod">
          <ac:chgData name="Lamb, Ben" userId="88a6f5f3-f9e5-47eb-a109-670a0c68440d" providerId="ADAL" clId="{61283625-AFAA-A843-B4D4-BB41EDC646A4}" dt="2021-04-01T16:32:09.537" v="15162"/>
          <ac:grpSpMkLst>
            <pc:docMk/>
            <pc:sldMk cId="3715850670" sldId="1727"/>
            <ac:grpSpMk id="170" creationId="{873C36BE-3E20-4943-A618-5D097A9E90E7}"/>
          </ac:grpSpMkLst>
        </pc:grpChg>
        <pc:cxnChg chg="add mod">
          <ac:chgData name="Lamb, Ben" userId="88a6f5f3-f9e5-47eb-a109-670a0c68440d" providerId="ADAL" clId="{61283625-AFAA-A843-B4D4-BB41EDC646A4}" dt="2021-04-01T16:22:23.419" v="15082" actId="1076"/>
          <ac:cxnSpMkLst>
            <pc:docMk/>
            <pc:sldMk cId="3715850670" sldId="1727"/>
            <ac:cxnSpMk id="9" creationId="{2FFBA4E3-AE8C-5342-B216-F42005224839}"/>
          </ac:cxnSpMkLst>
        </pc:cxnChg>
        <pc:cxnChg chg="add mod">
          <ac:chgData name="Lamb, Ben" userId="88a6f5f3-f9e5-47eb-a109-670a0c68440d" providerId="ADAL" clId="{61283625-AFAA-A843-B4D4-BB41EDC646A4}" dt="2021-04-01T16:22:18.534" v="15081" actId="14100"/>
          <ac:cxnSpMkLst>
            <pc:docMk/>
            <pc:sldMk cId="3715850670" sldId="1727"/>
            <ac:cxnSpMk id="10" creationId="{2CD82536-A722-E842-85D8-9256B9AD823B}"/>
          </ac:cxnSpMkLst>
        </pc:cxnChg>
        <pc:cxnChg chg="add mod">
          <ac:chgData name="Lamb, Ben" userId="88a6f5f3-f9e5-47eb-a109-670a0c68440d" providerId="ADAL" clId="{61283625-AFAA-A843-B4D4-BB41EDC646A4}" dt="2021-04-01T16:24:38.656" v="15121" actId="1076"/>
          <ac:cxnSpMkLst>
            <pc:docMk/>
            <pc:sldMk cId="3715850670" sldId="1727"/>
            <ac:cxnSpMk id="11" creationId="{30C23F67-7F47-024F-82AB-421BAF02AF28}"/>
          </ac:cxnSpMkLst>
        </pc:cxnChg>
        <pc:cxnChg chg="add del mod">
          <ac:chgData name="Lamb, Ben" userId="88a6f5f3-f9e5-47eb-a109-670a0c68440d" providerId="ADAL" clId="{61283625-AFAA-A843-B4D4-BB41EDC646A4}" dt="2021-04-01T16:19:13.880" v="14985" actId="478"/>
          <ac:cxnSpMkLst>
            <pc:docMk/>
            <pc:sldMk cId="3715850670" sldId="1727"/>
            <ac:cxnSpMk id="18" creationId="{278C4DDB-738B-9942-A5F0-0F32515CFCE4}"/>
          </ac:cxnSpMkLst>
        </pc:cxnChg>
        <pc:cxnChg chg="add mod">
          <ac:chgData name="Lamb, Ben" userId="88a6f5f3-f9e5-47eb-a109-670a0c68440d" providerId="ADAL" clId="{61283625-AFAA-A843-B4D4-BB41EDC646A4}" dt="2021-04-01T16:24:06.007" v="15115" actId="14100"/>
          <ac:cxnSpMkLst>
            <pc:docMk/>
            <pc:sldMk cId="3715850670" sldId="1727"/>
            <ac:cxnSpMk id="19" creationId="{8A4FCCDE-CB6D-E94F-A9EB-69B5CAE7AD90}"/>
          </ac:cxnSpMkLst>
        </pc:cxnChg>
        <pc:cxnChg chg="add mod">
          <ac:chgData name="Lamb, Ben" userId="88a6f5f3-f9e5-47eb-a109-670a0c68440d" providerId="ADAL" clId="{61283625-AFAA-A843-B4D4-BB41EDC646A4}" dt="2021-04-01T16:50:47.156" v="15645" actId="1076"/>
          <ac:cxnSpMkLst>
            <pc:docMk/>
            <pc:sldMk cId="3715850670" sldId="1727"/>
            <ac:cxnSpMk id="23" creationId="{53147BF0-5701-B845-9BEC-3E8C7D6B2F98}"/>
          </ac:cxnSpMkLst>
        </pc:cxnChg>
        <pc:cxnChg chg="add mod">
          <ac:chgData name="Lamb, Ben" userId="88a6f5f3-f9e5-47eb-a109-670a0c68440d" providerId="ADAL" clId="{61283625-AFAA-A843-B4D4-BB41EDC646A4}" dt="2021-04-01T16:54:13.351" v="15706" actId="692"/>
          <ac:cxnSpMkLst>
            <pc:docMk/>
            <pc:sldMk cId="3715850670" sldId="1727"/>
            <ac:cxnSpMk id="24" creationId="{C0D59FA1-16AE-D44D-B282-C8ACDA10D262}"/>
          </ac:cxnSpMkLst>
        </pc:cxnChg>
        <pc:cxnChg chg="add mod">
          <ac:chgData name="Lamb, Ben" userId="88a6f5f3-f9e5-47eb-a109-670a0c68440d" providerId="ADAL" clId="{61283625-AFAA-A843-B4D4-BB41EDC646A4}" dt="2021-04-01T16:50:17.642" v="15640" actId="14100"/>
          <ac:cxnSpMkLst>
            <pc:docMk/>
            <pc:sldMk cId="3715850670" sldId="1727"/>
            <ac:cxnSpMk id="106" creationId="{2265E656-94C8-BC48-91D4-28EAFF9F9C0B}"/>
          </ac:cxnSpMkLst>
        </pc:cxnChg>
        <pc:cxnChg chg="add mod">
          <ac:chgData name="Lamb, Ben" userId="88a6f5f3-f9e5-47eb-a109-670a0c68440d" providerId="ADAL" clId="{61283625-AFAA-A843-B4D4-BB41EDC646A4}" dt="2021-04-01T16:49:56.032" v="15637" actId="14100"/>
          <ac:cxnSpMkLst>
            <pc:docMk/>
            <pc:sldMk cId="3715850670" sldId="1727"/>
            <ac:cxnSpMk id="107" creationId="{4C5EF52B-D316-6C42-861C-15493AD5144D}"/>
          </ac:cxnSpMkLst>
        </pc:cxnChg>
        <pc:cxnChg chg="add del mod">
          <ac:chgData name="Lamb, Ben" userId="88a6f5f3-f9e5-47eb-a109-670a0c68440d" providerId="ADAL" clId="{61283625-AFAA-A843-B4D4-BB41EDC646A4}" dt="2021-04-01T16:19:13.880" v="14985" actId="478"/>
          <ac:cxnSpMkLst>
            <pc:docMk/>
            <pc:sldMk cId="3715850670" sldId="1727"/>
            <ac:cxnSpMk id="130" creationId="{5A727309-9A5A-F748-A50D-532D31FB2534}"/>
          </ac:cxnSpMkLst>
        </pc:cxnChg>
        <pc:cxnChg chg="add del mod">
          <ac:chgData name="Lamb, Ben" userId="88a6f5f3-f9e5-47eb-a109-670a0c68440d" providerId="ADAL" clId="{61283625-AFAA-A843-B4D4-BB41EDC646A4}" dt="2021-04-01T16:19:15.848" v="14987" actId="478"/>
          <ac:cxnSpMkLst>
            <pc:docMk/>
            <pc:sldMk cId="3715850670" sldId="1727"/>
            <ac:cxnSpMk id="131" creationId="{659F1A98-A5C3-1B44-99E5-0F7FF8E6AC9F}"/>
          </ac:cxnSpMkLst>
        </pc:cxnChg>
        <pc:cxnChg chg="add mod">
          <ac:chgData name="Lamb, Ben" userId="88a6f5f3-f9e5-47eb-a109-670a0c68440d" providerId="ADAL" clId="{61283625-AFAA-A843-B4D4-BB41EDC646A4}" dt="2021-04-01T16:24:41.559" v="15122" actId="14100"/>
          <ac:cxnSpMkLst>
            <pc:docMk/>
            <pc:sldMk cId="3715850670" sldId="1727"/>
            <ac:cxnSpMk id="157" creationId="{0029DF17-CE61-5048-A433-02C68BD693BD}"/>
          </ac:cxnSpMkLst>
        </pc:cxnChg>
        <pc:cxnChg chg="add mod">
          <ac:chgData name="Lamb, Ben" userId="88a6f5f3-f9e5-47eb-a109-670a0c68440d" providerId="ADAL" clId="{61283625-AFAA-A843-B4D4-BB41EDC646A4}" dt="2021-04-01T16:51:13.615" v="15660" actId="1076"/>
          <ac:cxnSpMkLst>
            <pc:docMk/>
            <pc:sldMk cId="3715850670" sldId="1727"/>
            <ac:cxnSpMk id="184" creationId="{2C141C04-7886-D645-AC39-B1FA9B0E4A4E}"/>
          </ac:cxnSpMkLst>
        </pc:cxnChg>
        <pc:cxnChg chg="add mod">
          <ac:chgData name="Lamb, Ben" userId="88a6f5f3-f9e5-47eb-a109-670a0c68440d" providerId="ADAL" clId="{61283625-AFAA-A843-B4D4-BB41EDC646A4}" dt="2021-04-01T16:50:47.156" v="15645" actId="1076"/>
          <ac:cxnSpMkLst>
            <pc:docMk/>
            <pc:sldMk cId="3715850670" sldId="1727"/>
            <ac:cxnSpMk id="192" creationId="{507CE9AF-0AA3-A448-BB1B-3BD0A88F41BE}"/>
          </ac:cxnSpMkLst>
        </pc:cxnChg>
        <pc:cxnChg chg="add del mod">
          <ac:chgData name="Lamb, Ben" userId="88a6f5f3-f9e5-47eb-a109-670a0c68440d" providerId="ADAL" clId="{61283625-AFAA-A843-B4D4-BB41EDC646A4}" dt="2021-04-01T16:51:33.177" v="15663" actId="478"/>
          <ac:cxnSpMkLst>
            <pc:docMk/>
            <pc:sldMk cId="3715850670" sldId="1727"/>
            <ac:cxnSpMk id="194" creationId="{05B63DE3-D0C8-434B-8D69-A9FBFF66B530}"/>
          </ac:cxnSpMkLst>
        </pc:cxnChg>
        <pc:cxnChg chg="add mod">
          <ac:chgData name="Lamb, Ben" userId="88a6f5f3-f9e5-47eb-a109-670a0c68440d" providerId="ADAL" clId="{61283625-AFAA-A843-B4D4-BB41EDC646A4}" dt="2021-04-01T16:50:32.878" v="15644" actId="14100"/>
          <ac:cxnSpMkLst>
            <pc:docMk/>
            <pc:sldMk cId="3715850670" sldId="1727"/>
            <ac:cxnSpMk id="200" creationId="{F7AF3958-0BDF-E54D-80DE-861FD73B7711}"/>
          </ac:cxnSpMkLst>
        </pc:cxnChg>
        <pc:cxnChg chg="add mod">
          <ac:chgData name="Lamb, Ben" userId="88a6f5f3-f9e5-47eb-a109-670a0c68440d" providerId="ADAL" clId="{61283625-AFAA-A843-B4D4-BB41EDC646A4}" dt="2021-04-01T16:53:03.210" v="15681" actId="14100"/>
          <ac:cxnSpMkLst>
            <pc:docMk/>
            <pc:sldMk cId="3715850670" sldId="1727"/>
            <ac:cxnSpMk id="204" creationId="{3B928737-DDD7-D441-947C-83B4202A10D6}"/>
          </ac:cxnSpMkLst>
        </pc:cxnChg>
      </pc:sldChg>
      <pc:sldChg chg="modSp new add del mod ord">
        <pc:chgData name="Lamb, Ben" userId="88a6f5f3-f9e5-47eb-a109-670a0c68440d" providerId="ADAL" clId="{61283625-AFAA-A843-B4D4-BB41EDC646A4}" dt="2021-04-01T18:03:38.464" v="16606" actId="20578"/>
        <pc:sldMkLst>
          <pc:docMk/>
          <pc:sldMk cId="3165417170" sldId="1728"/>
        </pc:sldMkLst>
        <pc:spChg chg="mod">
          <ac:chgData name="Lamb, Ben" userId="88a6f5f3-f9e5-47eb-a109-670a0c68440d" providerId="ADAL" clId="{61283625-AFAA-A843-B4D4-BB41EDC646A4}" dt="2021-04-01T16:44:29.759" v="15348" actId="403"/>
          <ac:spMkLst>
            <pc:docMk/>
            <pc:sldMk cId="3165417170" sldId="1728"/>
            <ac:spMk id="2" creationId="{427DCC71-F4A2-7A49-9F30-200C5AF1AD74}"/>
          </ac:spMkLst>
        </pc:spChg>
        <pc:spChg chg="mod">
          <ac:chgData name="Lamb, Ben" userId="88a6f5f3-f9e5-47eb-a109-670a0c68440d" providerId="ADAL" clId="{61283625-AFAA-A843-B4D4-BB41EDC646A4}" dt="2021-04-01T16:45:51.806" v="15633" actId="20577"/>
          <ac:spMkLst>
            <pc:docMk/>
            <pc:sldMk cId="3165417170" sldId="1728"/>
            <ac:spMk id="4" creationId="{ED8B39AF-3B71-9A4C-9DD4-62E7633E2FF9}"/>
          </ac:spMkLst>
        </pc:spChg>
        <pc:spChg chg="mod">
          <ac:chgData name="Lamb, Ben" userId="88a6f5f3-f9e5-47eb-a109-670a0c68440d" providerId="ADAL" clId="{61283625-AFAA-A843-B4D4-BB41EDC646A4}" dt="2021-04-01T16:43:54.512" v="15279" actId="20577"/>
          <ac:spMkLst>
            <pc:docMk/>
            <pc:sldMk cId="3165417170" sldId="1728"/>
            <ac:spMk id="5" creationId="{60E909D5-DB05-7440-B837-525D89588DAE}"/>
          </ac:spMkLst>
        </pc:spChg>
      </pc:sldChg>
      <pc:sldChg chg="modSp new mod">
        <pc:chgData name="Lamb, Ben" userId="88a6f5f3-f9e5-47eb-a109-670a0c68440d" providerId="ADAL" clId="{61283625-AFAA-A843-B4D4-BB41EDC646A4}" dt="2021-04-01T17:59:03.358" v="16597" actId="20577"/>
        <pc:sldMkLst>
          <pc:docMk/>
          <pc:sldMk cId="3709941382" sldId="1729"/>
        </pc:sldMkLst>
        <pc:spChg chg="mod">
          <ac:chgData name="Lamb, Ben" userId="88a6f5f3-f9e5-47eb-a109-670a0c68440d" providerId="ADAL" clId="{61283625-AFAA-A843-B4D4-BB41EDC646A4}" dt="2021-04-01T17:34:37.943" v="15843" actId="20577"/>
          <ac:spMkLst>
            <pc:docMk/>
            <pc:sldMk cId="3709941382" sldId="1729"/>
            <ac:spMk id="2" creationId="{DF96E7A1-3135-074E-8D42-E3516799BA83}"/>
          </ac:spMkLst>
        </pc:spChg>
        <pc:spChg chg="mod">
          <ac:chgData name="Lamb, Ben" userId="88a6f5f3-f9e5-47eb-a109-670a0c68440d" providerId="ADAL" clId="{61283625-AFAA-A843-B4D4-BB41EDC646A4}" dt="2021-04-01T17:59:03.358" v="16597" actId="20577"/>
          <ac:spMkLst>
            <pc:docMk/>
            <pc:sldMk cId="3709941382" sldId="1729"/>
            <ac:spMk id="3" creationId="{3F1BAA32-0BA2-5E4B-ACA1-4B56F6F61121}"/>
          </ac:spMkLst>
        </pc:spChg>
      </pc:sldChg>
      <pc:sldMasterChg chg="delSldLayout">
        <pc:chgData name="Lamb, Ben" userId="88a6f5f3-f9e5-47eb-a109-670a0c68440d" providerId="ADAL" clId="{61283625-AFAA-A843-B4D4-BB41EDC646A4}" dt="2021-03-25T18:16:06.380" v="145" actId="2696"/>
        <pc:sldMasterMkLst>
          <pc:docMk/>
          <pc:sldMasterMk cId="2758991059" sldId="2147483672"/>
        </pc:sldMasterMkLst>
        <pc:sldLayoutChg chg="del">
          <pc:chgData name="Lamb, Ben" userId="88a6f5f3-f9e5-47eb-a109-670a0c68440d" providerId="ADAL" clId="{61283625-AFAA-A843-B4D4-BB41EDC646A4}" dt="2021-03-25T18:16:06.380" v="145" actId="2696"/>
          <pc:sldLayoutMkLst>
            <pc:docMk/>
            <pc:sldMasterMk cId="2758991059" sldId="2147483672"/>
            <pc:sldLayoutMk cId="1039503306" sldId="2147483716"/>
          </pc:sldLayoutMkLst>
        </pc:sldLayoutChg>
      </pc:sldMasterChg>
      <pc:sldMasterChg chg="modSldLayout">
        <pc:chgData name="Lamb, Ben" userId="88a6f5f3-f9e5-47eb-a109-670a0c68440d" providerId="ADAL" clId="{61283625-AFAA-A843-B4D4-BB41EDC646A4}" dt="2021-03-30T16:39:39.795" v="4895"/>
        <pc:sldMasterMkLst>
          <pc:docMk/>
          <pc:sldMasterMk cId="926841448" sldId="2147483733"/>
        </pc:sldMasterMkLst>
        <pc:sldLayoutChg chg="delSp">
          <pc:chgData name="Lamb, Ben" userId="88a6f5f3-f9e5-47eb-a109-670a0c68440d" providerId="ADAL" clId="{61283625-AFAA-A843-B4D4-BB41EDC646A4}" dt="2021-03-30T16:39:39.795" v="4895"/>
          <pc:sldLayoutMkLst>
            <pc:docMk/>
            <pc:sldMasterMk cId="926841448" sldId="2147483733"/>
            <pc:sldLayoutMk cId="927426143" sldId="2147483751"/>
          </pc:sldLayoutMkLst>
          <pc:grpChg chg="del">
            <ac:chgData name="Lamb, Ben" userId="88a6f5f3-f9e5-47eb-a109-670a0c68440d" providerId="ADAL" clId="{61283625-AFAA-A843-B4D4-BB41EDC646A4}" dt="2021-03-30T16:39:39.795" v="4895"/>
            <ac:grpSpMkLst>
              <pc:docMk/>
              <pc:sldMasterMk cId="926841448" sldId="2147483733"/>
              <pc:sldLayoutMk cId="927426143" sldId="2147483751"/>
              <ac:grpSpMk id="22" creationId="{00000000-0000-0000-0000-000000000000}"/>
            </ac:grpSpMkLst>
          </pc:grpChg>
        </pc:sldLayoutChg>
      </pc:sldMasterChg>
    </pc:docChg>
  </pc:docChgLst>
  <pc:docChgLst>
    <pc:chgData name="Lamb, Ben" userId="88a6f5f3-f9e5-47eb-a109-670a0c68440d" providerId="ADAL" clId="{306D01AF-A76E-3E4F-A971-A1200024FF94}"/>
    <pc:docChg chg="undo custSel addSld delSld modSld sldOrd modMainMaster">
      <pc:chgData name="Lamb, Ben" userId="88a6f5f3-f9e5-47eb-a109-670a0c68440d" providerId="ADAL" clId="{306D01AF-A76E-3E4F-A971-A1200024FF94}" dt="2021-04-26T20:16:44.142" v="11708" actId="20577"/>
      <pc:docMkLst>
        <pc:docMk/>
      </pc:docMkLst>
      <pc:sldChg chg="ord">
        <pc:chgData name="Lamb, Ben" userId="88a6f5f3-f9e5-47eb-a109-670a0c68440d" providerId="ADAL" clId="{306D01AF-A76E-3E4F-A971-A1200024FF94}" dt="2021-04-01T22:12:19.652" v="3246" actId="20578"/>
        <pc:sldMkLst>
          <pc:docMk/>
          <pc:sldMk cId="2364546764" sldId="257"/>
        </pc:sldMkLst>
      </pc:sldChg>
      <pc:sldChg chg="modSp mod modClrScheme chgLayout">
        <pc:chgData name="Lamb, Ben" userId="88a6f5f3-f9e5-47eb-a109-670a0c68440d" providerId="ADAL" clId="{306D01AF-A76E-3E4F-A971-A1200024FF94}" dt="2021-04-07T01:37:27.772" v="9532" actId="20577"/>
        <pc:sldMkLst>
          <pc:docMk/>
          <pc:sldMk cId="3111907793" sldId="258"/>
        </pc:sldMkLst>
        <pc:spChg chg="mod ord">
          <ac:chgData name="Lamb, Ben" userId="88a6f5f3-f9e5-47eb-a109-670a0c68440d" providerId="ADAL" clId="{306D01AF-A76E-3E4F-A971-A1200024FF94}" dt="2021-04-01T20:06:03.671" v="5" actId="700"/>
          <ac:spMkLst>
            <pc:docMk/>
            <pc:sldMk cId="3111907793" sldId="258"/>
            <ac:spMk id="2" creationId="{E685D0D5-836E-4DDC-922A-828D0DD31F74}"/>
          </ac:spMkLst>
        </pc:spChg>
        <pc:spChg chg="mod ord">
          <ac:chgData name="Lamb, Ben" userId="88a6f5f3-f9e5-47eb-a109-670a0c68440d" providerId="ADAL" clId="{306D01AF-A76E-3E4F-A971-A1200024FF94}" dt="2021-04-07T01:37:27.772" v="9532" actId="20577"/>
          <ac:spMkLst>
            <pc:docMk/>
            <pc:sldMk cId="3111907793" sldId="258"/>
            <ac:spMk id="3" creationId="{E764C15A-980C-4504-9BDC-4996EA1FED46}"/>
          </ac:spMkLst>
        </pc:spChg>
      </pc:sldChg>
      <pc:sldChg chg="modSp mod ord">
        <pc:chgData name="Lamb, Ben" userId="88a6f5f3-f9e5-47eb-a109-670a0c68440d" providerId="ADAL" clId="{306D01AF-A76E-3E4F-A971-A1200024FF94}" dt="2021-04-01T21:56:28.321" v="1563" actId="20578"/>
        <pc:sldMkLst>
          <pc:docMk/>
          <pc:sldMk cId="1715448322" sldId="259"/>
        </pc:sldMkLst>
        <pc:spChg chg="mod">
          <ac:chgData name="Lamb, Ben" userId="88a6f5f3-f9e5-47eb-a109-670a0c68440d" providerId="ADAL" clId="{306D01AF-A76E-3E4F-A971-A1200024FF94}" dt="2021-04-01T21:56:13.560" v="1562" actId="403"/>
          <ac:spMkLst>
            <pc:docMk/>
            <pc:sldMk cId="1715448322" sldId="259"/>
            <ac:spMk id="2" creationId="{325EEF4A-04AE-4407-9E95-999A01506E45}"/>
          </ac:spMkLst>
        </pc:spChg>
      </pc:sldChg>
      <pc:sldChg chg="modSp mod">
        <pc:chgData name="Lamb, Ben" userId="88a6f5f3-f9e5-47eb-a109-670a0c68440d" providerId="ADAL" clId="{306D01AF-A76E-3E4F-A971-A1200024FF94}" dt="2021-04-01T20:07:25.996" v="26" actId="404"/>
        <pc:sldMkLst>
          <pc:docMk/>
          <pc:sldMk cId="2824742617" sldId="260"/>
        </pc:sldMkLst>
        <pc:spChg chg="mod">
          <ac:chgData name="Lamb, Ben" userId="88a6f5f3-f9e5-47eb-a109-670a0c68440d" providerId="ADAL" clId="{306D01AF-A76E-3E4F-A971-A1200024FF94}" dt="2021-04-01T20:07:25.996" v="26" actId="404"/>
          <ac:spMkLst>
            <pc:docMk/>
            <pc:sldMk cId="2824742617" sldId="260"/>
            <ac:spMk id="2" creationId="{866854D0-FCB5-4D80-A1E4-D715E3B082A4}"/>
          </ac:spMkLst>
        </pc:spChg>
      </pc:sldChg>
      <pc:sldChg chg="modSp mod">
        <pc:chgData name="Lamb, Ben" userId="88a6f5f3-f9e5-47eb-a109-670a0c68440d" providerId="ADAL" clId="{306D01AF-A76E-3E4F-A971-A1200024FF94}" dt="2021-04-01T20:07:17.705" v="22" actId="403"/>
        <pc:sldMkLst>
          <pc:docMk/>
          <pc:sldMk cId="1599225802" sldId="261"/>
        </pc:sldMkLst>
        <pc:spChg chg="mod">
          <ac:chgData name="Lamb, Ben" userId="88a6f5f3-f9e5-47eb-a109-670a0c68440d" providerId="ADAL" clId="{306D01AF-A76E-3E4F-A971-A1200024FF94}" dt="2021-04-01T20:07:17.705" v="22" actId="403"/>
          <ac:spMkLst>
            <pc:docMk/>
            <pc:sldMk cId="1599225802" sldId="261"/>
            <ac:spMk id="2" creationId="{AD644E64-F954-4288-A504-12E14B683D66}"/>
          </ac:spMkLst>
        </pc:spChg>
      </pc:sldChg>
      <pc:sldChg chg="ord">
        <pc:chgData name="Lamb, Ben" userId="88a6f5f3-f9e5-47eb-a109-670a0c68440d" providerId="ADAL" clId="{306D01AF-A76E-3E4F-A971-A1200024FF94}" dt="2021-04-01T22:20:38.014" v="3371" actId="20578"/>
        <pc:sldMkLst>
          <pc:docMk/>
          <pc:sldMk cId="3197646421" sldId="262"/>
        </pc:sldMkLst>
      </pc:sldChg>
      <pc:sldChg chg="modSp del mod">
        <pc:chgData name="Lamb, Ben" userId="88a6f5f3-f9e5-47eb-a109-670a0c68440d" providerId="ADAL" clId="{306D01AF-A76E-3E4F-A971-A1200024FF94}" dt="2021-04-07T01:31:06.710" v="9074" actId="2696"/>
        <pc:sldMkLst>
          <pc:docMk/>
          <pc:sldMk cId="1532927078" sldId="264"/>
        </pc:sldMkLst>
        <pc:spChg chg="mod">
          <ac:chgData name="Lamb, Ben" userId="88a6f5f3-f9e5-47eb-a109-670a0c68440d" providerId="ADAL" clId="{306D01AF-A76E-3E4F-A971-A1200024FF94}" dt="2021-04-01T22:20:11.243" v="3355" actId="20577"/>
          <ac:spMkLst>
            <pc:docMk/>
            <pc:sldMk cId="1532927078" sldId="264"/>
            <ac:spMk id="3" creationId="{485C14EB-502E-EF48-A233-BEEE5A2D17A4}"/>
          </ac:spMkLst>
        </pc:spChg>
      </pc:sldChg>
      <pc:sldChg chg="add">
        <pc:chgData name="Lamb, Ben" userId="88a6f5f3-f9e5-47eb-a109-670a0c68440d" providerId="ADAL" clId="{306D01AF-A76E-3E4F-A971-A1200024FF94}" dt="2021-04-01T20:08:45.119" v="31"/>
        <pc:sldMkLst>
          <pc:docMk/>
          <pc:sldMk cId="1229879568" sldId="316"/>
        </pc:sldMkLst>
      </pc:sldChg>
      <pc:sldChg chg="add del">
        <pc:chgData name="Lamb, Ben" userId="88a6f5f3-f9e5-47eb-a109-670a0c68440d" providerId="ADAL" clId="{306D01AF-A76E-3E4F-A971-A1200024FF94}" dt="2021-04-01T20:08:43.070" v="30" actId="2696"/>
        <pc:sldMkLst>
          <pc:docMk/>
          <pc:sldMk cId="2119805483" sldId="316"/>
        </pc:sldMkLst>
      </pc:sldChg>
      <pc:sldChg chg="addSp delSp modSp mod modNotesTx">
        <pc:chgData name="Lamb, Ben" userId="88a6f5f3-f9e5-47eb-a109-670a0c68440d" providerId="ADAL" clId="{306D01AF-A76E-3E4F-A971-A1200024FF94}" dt="2021-04-08T17:57:49.734" v="9918" actId="20577"/>
        <pc:sldMkLst>
          <pc:docMk/>
          <pc:sldMk cId="640202472" sldId="346"/>
        </pc:sldMkLst>
        <pc:spChg chg="mod">
          <ac:chgData name="Lamb, Ben" userId="88a6f5f3-f9e5-47eb-a109-670a0c68440d" providerId="ADAL" clId="{306D01AF-A76E-3E4F-A971-A1200024FF94}" dt="2021-04-07T00:38:58.434" v="7028" actId="20577"/>
          <ac:spMkLst>
            <pc:docMk/>
            <pc:sldMk cId="640202472" sldId="346"/>
            <ac:spMk id="2" creationId="{35B02637-A3A2-4469-890E-F300AC4A9A60}"/>
          </ac:spMkLst>
        </pc:spChg>
        <pc:spChg chg="add mod">
          <ac:chgData name="Lamb, Ben" userId="88a6f5f3-f9e5-47eb-a109-670a0c68440d" providerId="ADAL" clId="{306D01AF-A76E-3E4F-A971-A1200024FF94}" dt="2021-04-07T01:41:44.589" v="9756" actId="20577"/>
          <ac:spMkLst>
            <pc:docMk/>
            <pc:sldMk cId="640202472" sldId="346"/>
            <ac:spMk id="7" creationId="{4A48F0BB-459A-564A-AC3F-E89E04C1623F}"/>
          </ac:spMkLst>
        </pc:spChg>
        <pc:spChg chg="add mod">
          <ac:chgData name="Lamb, Ben" userId="88a6f5f3-f9e5-47eb-a109-670a0c68440d" providerId="ADAL" clId="{306D01AF-A76E-3E4F-A971-A1200024FF94}" dt="2021-04-08T17:57:49.734" v="9918" actId="20577"/>
          <ac:spMkLst>
            <pc:docMk/>
            <pc:sldMk cId="640202472" sldId="346"/>
            <ac:spMk id="8" creationId="{439BF600-C7A3-F04A-9292-8300804FA5B3}"/>
          </ac:spMkLst>
        </pc:spChg>
        <pc:spChg chg="del mod">
          <ac:chgData name="Lamb, Ben" userId="88a6f5f3-f9e5-47eb-a109-670a0c68440d" providerId="ADAL" clId="{306D01AF-A76E-3E4F-A971-A1200024FF94}" dt="2021-04-07T01:41:35.566" v="9745" actId="478"/>
          <ac:spMkLst>
            <pc:docMk/>
            <pc:sldMk cId="640202472" sldId="346"/>
            <ac:spMk id="28" creationId="{C630A753-842C-420F-9013-683F3828BD2F}"/>
          </ac:spMkLst>
        </pc:spChg>
        <pc:spChg chg="add del mod">
          <ac:chgData name="Lamb, Ben" userId="88a6f5f3-f9e5-47eb-a109-670a0c68440d" providerId="ADAL" clId="{306D01AF-A76E-3E4F-A971-A1200024FF94}" dt="2021-04-07T01:41:41.968" v="9747" actId="478"/>
          <ac:spMkLst>
            <pc:docMk/>
            <pc:sldMk cId="640202472" sldId="346"/>
            <ac:spMk id="50" creationId="{051EF653-15F8-1343-818E-BF87A46FAD2B}"/>
          </ac:spMkLst>
        </pc:spChg>
        <pc:spChg chg="mod">
          <ac:chgData name="Lamb, Ben" userId="88a6f5f3-f9e5-47eb-a109-670a0c68440d" providerId="ADAL" clId="{306D01AF-A76E-3E4F-A971-A1200024FF94}" dt="2021-04-02T16:08:35.496" v="3585" actId="14100"/>
          <ac:spMkLst>
            <pc:docMk/>
            <pc:sldMk cId="640202472" sldId="346"/>
            <ac:spMk id="97" creationId="{90DCB576-41DB-47A6-B0F2-EC9FA10BC958}"/>
          </ac:spMkLst>
        </pc:spChg>
      </pc:sldChg>
      <pc:sldChg chg="del">
        <pc:chgData name="Lamb, Ben" userId="88a6f5f3-f9e5-47eb-a109-670a0c68440d" providerId="ADAL" clId="{306D01AF-A76E-3E4F-A971-A1200024FF94}" dt="2021-04-06T15:29:21.023" v="3962" actId="2696"/>
        <pc:sldMkLst>
          <pc:docMk/>
          <pc:sldMk cId="1086272394" sldId="438"/>
        </pc:sldMkLst>
      </pc:sldChg>
      <pc:sldChg chg="add">
        <pc:chgData name="Lamb, Ben" userId="88a6f5f3-f9e5-47eb-a109-670a0c68440d" providerId="ADAL" clId="{306D01AF-A76E-3E4F-A971-A1200024FF94}" dt="2021-04-06T20:00:07.675" v="4676"/>
        <pc:sldMkLst>
          <pc:docMk/>
          <pc:sldMk cId="2566978861" sldId="438"/>
        </pc:sldMkLst>
      </pc:sldChg>
      <pc:sldChg chg="modSp add del mod">
        <pc:chgData name="Lamb, Ben" userId="88a6f5f3-f9e5-47eb-a109-670a0c68440d" providerId="ADAL" clId="{306D01AF-A76E-3E4F-A971-A1200024FF94}" dt="2021-04-06T20:00:05.695" v="4675" actId="2696"/>
        <pc:sldMkLst>
          <pc:docMk/>
          <pc:sldMk cId="4157317421" sldId="438"/>
        </pc:sldMkLst>
        <pc:graphicFrameChg chg="mod">
          <ac:chgData name="Lamb, Ben" userId="88a6f5f3-f9e5-47eb-a109-670a0c68440d" providerId="ADAL" clId="{306D01AF-A76E-3E4F-A971-A1200024FF94}" dt="2021-04-06T16:57:40.306" v="3981" actId="1076"/>
          <ac:graphicFrameMkLst>
            <pc:docMk/>
            <pc:sldMk cId="4157317421" sldId="438"/>
            <ac:graphicFrameMk id="80" creationId="{0DAD8358-9FEF-4C27-A658-8C85C20ED264}"/>
          </ac:graphicFrameMkLst>
        </pc:graphicFrameChg>
        <pc:picChg chg="mod">
          <ac:chgData name="Lamb, Ben" userId="88a6f5f3-f9e5-47eb-a109-670a0c68440d" providerId="ADAL" clId="{306D01AF-A76E-3E4F-A971-A1200024FF94}" dt="2021-04-06T16:57:36.020" v="3980" actId="1076"/>
          <ac:picMkLst>
            <pc:docMk/>
            <pc:sldMk cId="4157317421" sldId="438"/>
            <ac:picMk id="10" creationId="{F41CEA09-30ED-431E-BCD5-BB1767734D54}"/>
          </ac:picMkLst>
        </pc:picChg>
      </pc:sldChg>
      <pc:sldChg chg="addSp delSp modSp add mod ord modNotesTx">
        <pc:chgData name="Lamb, Ben" userId="88a6f5f3-f9e5-47eb-a109-670a0c68440d" providerId="ADAL" clId="{306D01AF-A76E-3E4F-A971-A1200024FF94}" dt="2021-04-26T18:18:17.727" v="9959"/>
        <pc:sldMkLst>
          <pc:docMk/>
          <pc:sldMk cId="1846012602" sldId="455"/>
        </pc:sldMkLst>
        <pc:spChg chg="add del mod">
          <ac:chgData name="Lamb, Ben" userId="88a6f5f3-f9e5-47eb-a109-670a0c68440d" providerId="ADAL" clId="{306D01AF-A76E-3E4F-A971-A1200024FF94}" dt="2021-04-07T01:07:30.698" v="7846" actId="478"/>
          <ac:spMkLst>
            <pc:docMk/>
            <pc:sldMk cId="1846012602" sldId="455"/>
            <ac:spMk id="3" creationId="{86BAAF81-D3A9-9049-85E0-40718DFE2122}"/>
          </ac:spMkLst>
        </pc:spChg>
        <pc:spChg chg="del mod">
          <ac:chgData name="Lamb, Ben" userId="88a6f5f3-f9e5-47eb-a109-670a0c68440d" providerId="ADAL" clId="{306D01AF-A76E-3E4F-A971-A1200024FF94}" dt="2021-04-07T01:25:39.858" v="8591" actId="478"/>
          <ac:spMkLst>
            <pc:docMk/>
            <pc:sldMk cId="1846012602" sldId="455"/>
            <ac:spMk id="6" creationId="{42721F45-EEDC-4EFB-9510-BF95B59AF8F0}"/>
          </ac:spMkLst>
        </pc:spChg>
        <pc:spChg chg="mod">
          <ac:chgData name="Lamb, Ben" userId="88a6f5f3-f9e5-47eb-a109-670a0c68440d" providerId="ADAL" clId="{306D01AF-A76E-3E4F-A971-A1200024FF94}" dt="2021-04-07T01:21:05.992" v="8432" actId="1076"/>
          <ac:spMkLst>
            <pc:docMk/>
            <pc:sldMk cId="1846012602" sldId="455"/>
            <ac:spMk id="9" creationId="{91D8956D-0B39-42DE-B5F3-C77338A5F669}"/>
          </ac:spMkLst>
        </pc:spChg>
        <pc:spChg chg="mod">
          <ac:chgData name="Lamb, Ben" userId="88a6f5f3-f9e5-47eb-a109-670a0c68440d" providerId="ADAL" clId="{306D01AF-A76E-3E4F-A971-A1200024FF94}" dt="2021-04-07T01:24:11.580" v="8532" actId="14100"/>
          <ac:spMkLst>
            <pc:docMk/>
            <pc:sldMk cId="1846012602" sldId="455"/>
            <ac:spMk id="10" creationId="{8924E209-AC41-460D-B4CA-784C95BE3A78}"/>
          </ac:spMkLst>
        </pc:spChg>
        <pc:spChg chg="mod">
          <ac:chgData name="Lamb, Ben" userId="88a6f5f3-f9e5-47eb-a109-670a0c68440d" providerId="ADAL" clId="{306D01AF-A76E-3E4F-A971-A1200024FF94}" dt="2021-04-07T01:25:36.240" v="8590" actId="1036"/>
          <ac:spMkLst>
            <pc:docMk/>
            <pc:sldMk cId="1846012602" sldId="455"/>
            <ac:spMk id="11" creationId="{902D44D3-2585-4201-8906-0C1CAE13AEE3}"/>
          </ac:spMkLst>
        </pc:spChg>
        <pc:spChg chg="mod">
          <ac:chgData name="Lamb, Ben" userId="88a6f5f3-f9e5-47eb-a109-670a0c68440d" providerId="ADAL" clId="{306D01AF-A76E-3E4F-A971-A1200024FF94}" dt="2021-04-07T01:23:38.063" v="8530" actId="1076"/>
          <ac:spMkLst>
            <pc:docMk/>
            <pc:sldMk cId="1846012602" sldId="455"/>
            <ac:spMk id="12" creationId="{72757328-8E00-4133-9415-4B1D3AC997CF}"/>
          </ac:spMkLst>
        </pc:spChg>
        <pc:spChg chg="del mod">
          <ac:chgData name="Lamb, Ben" userId="88a6f5f3-f9e5-47eb-a109-670a0c68440d" providerId="ADAL" clId="{306D01AF-A76E-3E4F-A971-A1200024FF94}" dt="2021-04-07T01:25:44.935" v="8594" actId="478"/>
          <ac:spMkLst>
            <pc:docMk/>
            <pc:sldMk cId="1846012602" sldId="455"/>
            <ac:spMk id="14" creationId="{701887B9-D1DD-4C52-8AEB-490B8586ADB7}"/>
          </ac:spMkLst>
        </pc:spChg>
        <pc:spChg chg="del">
          <ac:chgData name="Lamb, Ben" userId="88a6f5f3-f9e5-47eb-a109-670a0c68440d" providerId="ADAL" clId="{306D01AF-A76E-3E4F-A971-A1200024FF94}" dt="2021-04-07T01:25:26.301" v="8585" actId="478"/>
          <ac:spMkLst>
            <pc:docMk/>
            <pc:sldMk cId="1846012602" sldId="455"/>
            <ac:spMk id="15" creationId="{02815BDD-960C-4E3E-917E-5DEBB4262546}"/>
          </ac:spMkLst>
        </pc:spChg>
        <pc:spChg chg="mod">
          <ac:chgData name="Lamb, Ben" userId="88a6f5f3-f9e5-47eb-a109-670a0c68440d" providerId="ADAL" clId="{306D01AF-A76E-3E4F-A971-A1200024FF94}" dt="2021-04-07T01:19:57.791" v="8343" actId="1076"/>
          <ac:spMkLst>
            <pc:docMk/>
            <pc:sldMk cId="1846012602" sldId="455"/>
            <ac:spMk id="16" creationId="{85066069-CB08-4FFF-8D79-D9AF40AF1538}"/>
          </ac:spMkLst>
        </pc:spChg>
        <pc:spChg chg="mod">
          <ac:chgData name="Lamb, Ben" userId="88a6f5f3-f9e5-47eb-a109-670a0c68440d" providerId="ADAL" clId="{306D01AF-A76E-3E4F-A971-A1200024FF94}" dt="2021-04-07T01:22:16.993" v="8485" actId="1076"/>
          <ac:spMkLst>
            <pc:docMk/>
            <pc:sldMk cId="1846012602" sldId="455"/>
            <ac:spMk id="17" creationId="{52BFB7D7-78E3-479E-9AB6-AA9FA3DB3A62}"/>
          </ac:spMkLst>
        </pc:spChg>
        <pc:spChg chg="add mod">
          <ac:chgData name="Lamb, Ben" userId="88a6f5f3-f9e5-47eb-a109-670a0c68440d" providerId="ADAL" clId="{306D01AF-A76E-3E4F-A971-A1200024FF94}" dt="2021-04-07T01:24:58.707" v="8581" actId="14100"/>
          <ac:spMkLst>
            <pc:docMk/>
            <pc:sldMk cId="1846012602" sldId="455"/>
            <ac:spMk id="33" creationId="{158E9EF6-DBFB-CD4D-B161-1C9BC6F79FC6}"/>
          </ac:spMkLst>
        </pc:spChg>
        <pc:spChg chg="mod">
          <ac:chgData name="Lamb, Ben" userId="88a6f5f3-f9e5-47eb-a109-670a0c68440d" providerId="ADAL" clId="{306D01AF-A76E-3E4F-A971-A1200024FF94}" dt="2021-04-07T01:24:17.881" v="8533"/>
          <ac:spMkLst>
            <pc:docMk/>
            <pc:sldMk cId="1846012602" sldId="455"/>
            <ac:spMk id="35" creationId="{487C8F31-5961-9247-9E4C-92610BA4A97B}"/>
          </ac:spMkLst>
        </pc:spChg>
        <pc:spChg chg="del mod">
          <ac:chgData name="Lamb, Ben" userId="88a6f5f3-f9e5-47eb-a109-670a0c68440d" providerId="ADAL" clId="{306D01AF-A76E-3E4F-A971-A1200024FF94}" dt="2021-04-07T01:07:27.424" v="7845" actId="478"/>
          <ac:spMkLst>
            <pc:docMk/>
            <pc:sldMk cId="1846012602" sldId="455"/>
            <ac:spMk id="36" creationId="{4EEA072F-BF92-4C7D-AAB1-0853AFBC7760}"/>
          </ac:spMkLst>
        </pc:spChg>
        <pc:spChg chg="mod">
          <ac:chgData name="Lamb, Ben" userId="88a6f5f3-f9e5-47eb-a109-670a0c68440d" providerId="ADAL" clId="{306D01AF-A76E-3E4F-A971-A1200024FF94}" dt="2021-04-07T01:40:55.636" v="9706" actId="20577"/>
          <ac:spMkLst>
            <pc:docMk/>
            <pc:sldMk cId="1846012602" sldId="455"/>
            <ac:spMk id="37" creationId="{CC6A0290-0FB1-41E3-BC5C-5CDF0FF0F131}"/>
          </ac:spMkLst>
        </pc:spChg>
        <pc:spChg chg="mod">
          <ac:chgData name="Lamb, Ben" userId="88a6f5f3-f9e5-47eb-a109-670a0c68440d" providerId="ADAL" clId="{306D01AF-A76E-3E4F-A971-A1200024FF94}" dt="2021-04-07T01:24:17.881" v="8533"/>
          <ac:spMkLst>
            <pc:docMk/>
            <pc:sldMk cId="1846012602" sldId="455"/>
            <ac:spMk id="38" creationId="{97BC8302-1CC6-0E42-94BC-263AC3886CC6}"/>
          </ac:spMkLst>
        </pc:spChg>
        <pc:spChg chg="mod">
          <ac:chgData name="Lamb, Ben" userId="88a6f5f3-f9e5-47eb-a109-670a0c68440d" providerId="ADAL" clId="{306D01AF-A76E-3E4F-A971-A1200024FF94}" dt="2021-04-07T01:07:21.523" v="7843" actId="1076"/>
          <ac:spMkLst>
            <pc:docMk/>
            <pc:sldMk cId="1846012602" sldId="455"/>
            <ac:spMk id="40" creationId="{9FD32147-12C6-44B3-8F55-BBE82FA48722}"/>
          </ac:spMkLst>
        </pc:spChg>
        <pc:grpChg chg="del mod">
          <ac:chgData name="Lamb, Ben" userId="88a6f5f3-f9e5-47eb-a109-670a0c68440d" providerId="ADAL" clId="{306D01AF-A76E-3E4F-A971-A1200024FF94}" dt="2021-04-07T01:25:41.152" v="8592" actId="478"/>
          <ac:grpSpMkLst>
            <pc:docMk/>
            <pc:sldMk cId="1846012602" sldId="455"/>
            <ac:grpSpMk id="7" creationId="{75CBF61A-0337-4A0C-9D16-1F05FD306EB7}"/>
          </ac:grpSpMkLst>
        </pc:grpChg>
        <pc:grpChg chg="mod">
          <ac:chgData name="Lamb, Ben" userId="88a6f5f3-f9e5-47eb-a109-670a0c68440d" providerId="ADAL" clId="{306D01AF-A76E-3E4F-A971-A1200024FF94}" dt="2021-04-07T01:23:18.128" v="8513" actId="1076"/>
          <ac:grpSpMkLst>
            <pc:docMk/>
            <pc:sldMk cId="1846012602" sldId="455"/>
            <ac:grpSpMk id="13" creationId="{5D7BC244-EAFD-450B-B6F1-108AEC586ABF}"/>
          </ac:grpSpMkLst>
        </pc:grpChg>
        <pc:grpChg chg="del">
          <ac:chgData name="Lamb, Ben" userId="88a6f5f3-f9e5-47eb-a109-670a0c68440d" providerId="ADAL" clId="{306D01AF-A76E-3E4F-A971-A1200024FF94}" dt="2021-04-07T01:25:28.104" v="8586" actId="478"/>
          <ac:grpSpMkLst>
            <pc:docMk/>
            <pc:sldMk cId="1846012602" sldId="455"/>
            <ac:grpSpMk id="18" creationId="{83429288-761B-4CA9-9B26-D78AE5EBE46E}"/>
          </ac:grpSpMkLst>
        </pc:grpChg>
        <pc:grpChg chg="del mod">
          <ac:chgData name="Lamb, Ben" userId="88a6f5f3-f9e5-47eb-a109-670a0c68440d" providerId="ADAL" clId="{306D01AF-A76E-3E4F-A971-A1200024FF94}" dt="2021-04-07T01:25:42.809" v="8593" actId="478"/>
          <ac:grpSpMkLst>
            <pc:docMk/>
            <pc:sldMk cId="1846012602" sldId="455"/>
            <ac:grpSpMk id="19" creationId="{EDD33430-56F6-49E8-871B-DEC4FF224432}"/>
          </ac:grpSpMkLst>
        </pc:grpChg>
        <pc:grpChg chg="add mod">
          <ac:chgData name="Lamb, Ben" userId="88a6f5f3-f9e5-47eb-a109-670a0c68440d" providerId="ADAL" clId="{306D01AF-A76E-3E4F-A971-A1200024FF94}" dt="2021-04-07T01:51:02.331" v="9871" actId="1035"/>
          <ac:grpSpMkLst>
            <pc:docMk/>
            <pc:sldMk cId="1846012602" sldId="455"/>
            <ac:grpSpMk id="34" creationId="{4CF8D55F-CB4D-9541-A735-78B32E8DB54B}"/>
          </ac:grpSpMkLst>
        </pc:grpChg>
        <pc:graphicFrameChg chg="mod modGraphic">
          <ac:chgData name="Lamb, Ben" userId="88a6f5f3-f9e5-47eb-a109-670a0c68440d" providerId="ADAL" clId="{306D01AF-A76E-3E4F-A971-A1200024FF94}" dt="2021-04-26T18:18:17.727" v="9959"/>
          <ac:graphicFrameMkLst>
            <pc:docMk/>
            <pc:sldMk cId="1846012602" sldId="455"/>
            <ac:graphicFrameMk id="8" creationId="{6D1DDC3A-3C5B-4B8D-8EAF-65EB206AF316}"/>
          </ac:graphicFrameMkLst>
        </pc:graphicFrameChg>
      </pc:sldChg>
      <pc:sldChg chg="modSp mod">
        <pc:chgData name="Lamb, Ben" userId="88a6f5f3-f9e5-47eb-a109-670a0c68440d" providerId="ADAL" clId="{306D01AF-A76E-3E4F-A971-A1200024FF94}" dt="2021-04-01T22:22:50.617" v="3372" actId="403"/>
        <pc:sldMkLst>
          <pc:docMk/>
          <pc:sldMk cId="911343285" sldId="1714"/>
        </pc:sldMkLst>
        <pc:spChg chg="mod">
          <ac:chgData name="Lamb, Ben" userId="88a6f5f3-f9e5-47eb-a109-670a0c68440d" providerId="ADAL" clId="{306D01AF-A76E-3E4F-A971-A1200024FF94}" dt="2021-04-01T22:22:50.617" v="3372" actId="403"/>
          <ac:spMkLst>
            <pc:docMk/>
            <pc:sldMk cId="911343285" sldId="1714"/>
            <ac:spMk id="5" creationId="{00000000-0000-0000-0000-000000000000}"/>
          </ac:spMkLst>
        </pc:spChg>
      </pc:sldChg>
      <pc:sldChg chg="modCm">
        <pc:chgData name="Lamb, Ben" userId="88a6f5f3-f9e5-47eb-a109-670a0c68440d" providerId="ADAL" clId="{306D01AF-A76E-3E4F-A971-A1200024FF94}" dt="2021-04-01T22:12:03.704" v="3245" actId="5900"/>
        <pc:sldMkLst>
          <pc:docMk/>
          <pc:sldMk cId="1553481733" sldId="1715"/>
        </pc:sldMkLst>
      </pc:sldChg>
      <pc:sldChg chg="delSp modSp mod">
        <pc:chgData name="Lamb, Ben" userId="88a6f5f3-f9e5-47eb-a109-670a0c68440d" providerId="ADAL" clId="{306D01AF-A76E-3E4F-A971-A1200024FF94}" dt="2021-04-01T21:55:17.431" v="1556" actId="1076"/>
        <pc:sldMkLst>
          <pc:docMk/>
          <pc:sldMk cId="69680020" sldId="1716"/>
        </pc:sldMkLst>
        <pc:spChg chg="mod">
          <ac:chgData name="Lamb, Ben" userId="88a6f5f3-f9e5-47eb-a109-670a0c68440d" providerId="ADAL" clId="{306D01AF-A76E-3E4F-A971-A1200024FF94}" dt="2021-04-01T21:51:04.375" v="1538" actId="20577"/>
          <ac:spMkLst>
            <pc:docMk/>
            <pc:sldMk cId="69680020" sldId="1716"/>
            <ac:spMk id="5" creationId="{7496F3D1-9F54-414E-9E4A-CF185921593A}"/>
          </ac:spMkLst>
        </pc:spChg>
        <pc:spChg chg="mod">
          <ac:chgData name="Lamb, Ben" userId="88a6f5f3-f9e5-47eb-a109-670a0c68440d" providerId="ADAL" clId="{306D01AF-A76E-3E4F-A971-A1200024FF94}" dt="2021-04-01T21:52:58.488" v="1546" actId="207"/>
          <ac:spMkLst>
            <pc:docMk/>
            <pc:sldMk cId="69680020" sldId="1716"/>
            <ac:spMk id="21" creationId="{F1958830-145C-984D-9030-71E69425D5D2}"/>
          </ac:spMkLst>
        </pc:spChg>
        <pc:spChg chg="mod">
          <ac:chgData name="Lamb, Ben" userId="88a6f5f3-f9e5-47eb-a109-670a0c68440d" providerId="ADAL" clId="{306D01AF-A76E-3E4F-A971-A1200024FF94}" dt="2021-04-01T21:55:17.431" v="1556" actId="1076"/>
          <ac:spMkLst>
            <pc:docMk/>
            <pc:sldMk cId="69680020" sldId="1716"/>
            <ac:spMk id="24" creationId="{05753340-1ED1-0B45-9528-C8FB88C5B924}"/>
          </ac:spMkLst>
        </pc:spChg>
        <pc:spChg chg="mod">
          <ac:chgData name="Lamb, Ben" userId="88a6f5f3-f9e5-47eb-a109-670a0c68440d" providerId="ADAL" clId="{306D01AF-A76E-3E4F-A971-A1200024FF94}" dt="2021-04-01T21:55:17.431" v="1556" actId="1076"/>
          <ac:spMkLst>
            <pc:docMk/>
            <pc:sldMk cId="69680020" sldId="1716"/>
            <ac:spMk id="30" creationId="{D422DB41-3AB0-2648-B589-864A6BEEF597}"/>
          </ac:spMkLst>
        </pc:spChg>
        <pc:spChg chg="mod">
          <ac:chgData name="Lamb, Ben" userId="88a6f5f3-f9e5-47eb-a109-670a0c68440d" providerId="ADAL" clId="{306D01AF-A76E-3E4F-A971-A1200024FF94}" dt="2021-04-01T21:52:04.915" v="1541" actId="208"/>
          <ac:spMkLst>
            <pc:docMk/>
            <pc:sldMk cId="69680020" sldId="1716"/>
            <ac:spMk id="53" creationId="{E3DC0D3C-7BDA-9349-A187-4CFBCA7DFEE5}"/>
          </ac:spMkLst>
        </pc:spChg>
        <pc:spChg chg="mod">
          <ac:chgData name="Lamb, Ben" userId="88a6f5f3-f9e5-47eb-a109-670a0c68440d" providerId="ADAL" clId="{306D01AF-A76E-3E4F-A971-A1200024FF94}" dt="2021-04-01T21:55:17.431" v="1556" actId="1076"/>
          <ac:spMkLst>
            <pc:docMk/>
            <pc:sldMk cId="69680020" sldId="1716"/>
            <ac:spMk id="76" creationId="{80FA2994-89D5-F046-A9FE-C07099E0D98A}"/>
          </ac:spMkLst>
        </pc:spChg>
        <pc:spChg chg="mod">
          <ac:chgData name="Lamb, Ben" userId="88a6f5f3-f9e5-47eb-a109-670a0c68440d" providerId="ADAL" clId="{306D01AF-A76E-3E4F-A971-A1200024FF94}" dt="2021-04-01T21:55:17.431" v="1556" actId="1076"/>
          <ac:spMkLst>
            <pc:docMk/>
            <pc:sldMk cId="69680020" sldId="1716"/>
            <ac:spMk id="77" creationId="{EEF5EC48-FE02-8C4C-9084-C90BFDF0B99C}"/>
          </ac:spMkLst>
        </pc:spChg>
        <pc:spChg chg="mod">
          <ac:chgData name="Lamb, Ben" userId="88a6f5f3-f9e5-47eb-a109-670a0c68440d" providerId="ADAL" clId="{306D01AF-A76E-3E4F-A971-A1200024FF94}" dt="2021-04-01T21:55:11.570" v="1555" actId="1076"/>
          <ac:spMkLst>
            <pc:docMk/>
            <pc:sldMk cId="69680020" sldId="1716"/>
            <ac:spMk id="95" creationId="{A5C3B437-3E43-B94D-A46E-8B5EAE878DE2}"/>
          </ac:spMkLst>
        </pc:spChg>
        <pc:spChg chg="del">
          <ac:chgData name="Lamb, Ben" userId="88a6f5f3-f9e5-47eb-a109-670a0c68440d" providerId="ADAL" clId="{306D01AF-A76E-3E4F-A971-A1200024FF94}" dt="2021-04-01T21:54:48.177" v="1549" actId="478"/>
          <ac:spMkLst>
            <pc:docMk/>
            <pc:sldMk cId="69680020" sldId="1716"/>
            <ac:spMk id="113" creationId="{6A3B61CE-AAB9-204B-B10C-9DB438CB0EE7}"/>
          </ac:spMkLst>
        </pc:spChg>
        <pc:spChg chg="mod">
          <ac:chgData name="Lamb, Ben" userId="88a6f5f3-f9e5-47eb-a109-670a0c68440d" providerId="ADAL" clId="{306D01AF-A76E-3E4F-A971-A1200024FF94}" dt="2021-04-01T21:55:17.431" v="1556" actId="1076"/>
          <ac:spMkLst>
            <pc:docMk/>
            <pc:sldMk cId="69680020" sldId="1716"/>
            <ac:spMk id="145" creationId="{3E8AFB6B-DC07-2242-8704-09BC7C4933D2}"/>
          </ac:spMkLst>
        </pc:spChg>
        <pc:cxnChg chg="del mod">
          <ac:chgData name="Lamb, Ben" userId="88a6f5f3-f9e5-47eb-a109-670a0c68440d" providerId="ADAL" clId="{306D01AF-A76E-3E4F-A971-A1200024FF94}" dt="2021-04-01T21:54:50.595" v="1550" actId="478"/>
          <ac:cxnSpMkLst>
            <pc:docMk/>
            <pc:sldMk cId="69680020" sldId="1716"/>
            <ac:cxnSpMk id="85" creationId="{008DDFE9-C686-1141-8BF1-C70D347B935C}"/>
          </ac:cxnSpMkLst>
        </pc:cxnChg>
        <pc:cxnChg chg="mod">
          <ac:chgData name="Lamb, Ben" userId="88a6f5f3-f9e5-47eb-a109-670a0c68440d" providerId="ADAL" clId="{306D01AF-A76E-3E4F-A971-A1200024FF94}" dt="2021-04-01T21:55:17.431" v="1556" actId="1076"/>
          <ac:cxnSpMkLst>
            <pc:docMk/>
            <pc:sldMk cId="69680020" sldId="1716"/>
            <ac:cxnSpMk id="97" creationId="{0566378F-203A-8242-B95A-3ADF0AB09F25}"/>
          </ac:cxnSpMkLst>
        </pc:cxnChg>
        <pc:cxnChg chg="mod">
          <ac:chgData name="Lamb, Ben" userId="88a6f5f3-f9e5-47eb-a109-670a0c68440d" providerId="ADAL" clId="{306D01AF-A76E-3E4F-A971-A1200024FF94}" dt="2021-04-01T21:55:17.431" v="1556" actId="1076"/>
          <ac:cxnSpMkLst>
            <pc:docMk/>
            <pc:sldMk cId="69680020" sldId="1716"/>
            <ac:cxnSpMk id="114" creationId="{97AFC2A4-6861-9A46-8995-76C1702415AF}"/>
          </ac:cxnSpMkLst>
        </pc:cxnChg>
        <pc:cxnChg chg="mod">
          <ac:chgData name="Lamb, Ben" userId="88a6f5f3-f9e5-47eb-a109-670a0c68440d" providerId="ADAL" clId="{306D01AF-A76E-3E4F-A971-A1200024FF94}" dt="2021-04-01T21:55:17.431" v="1556" actId="1076"/>
          <ac:cxnSpMkLst>
            <pc:docMk/>
            <pc:sldMk cId="69680020" sldId="1716"/>
            <ac:cxnSpMk id="150" creationId="{9054AA54-1474-3343-A484-0C6A00A9EF43}"/>
          </ac:cxnSpMkLst>
        </pc:cxnChg>
      </pc:sldChg>
      <pc:sldChg chg="modSp mod">
        <pc:chgData name="Lamb, Ben" userId="88a6f5f3-f9e5-47eb-a109-670a0c68440d" providerId="ADAL" clId="{306D01AF-A76E-3E4F-A971-A1200024FF94}" dt="2021-04-01T22:20:25.617" v="3370" actId="20577"/>
        <pc:sldMkLst>
          <pc:docMk/>
          <pc:sldMk cId="2011940807" sldId="1718"/>
        </pc:sldMkLst>
        <pc:spChg chg="mod">
          <ac:chgData name="Lamb, Ben" userId="88a6f5f3-f9e5-47eb-a109-670a0c68440d" providerId="ADAL" clId="{306D01AF-A76E-3E4F-A971-A1200024FF94}" dt="2021-04-01T22:20:25.617" v="3370" actId="20577"/>
          <ac:spMkLst>
            <pc:docMk/>
            <pc:sldMk cId="2011940807" sldId="1718"/>
            <ac:spMk id="5" creationId="{9974396F-ED80-CA4A-A3AD-F11881A00977}"/>
          </ac:spMkLst>
        </pc:spChg>
      </pc:sldChg>
      <pc:sldChg chg="addSp delSp modSp mod modClrScheme chgLayout">
        <pc:chgData name="Lamb, Ben" userId="88a6f5f3-f9e5-47eb-a109-670a0c68440d" providerId="ADAL" clId="{306D01AF-A76E-3E4F-A971-A1200024FF94}" dt="2021-04-01T22:08:07.827" v="3005" actId="20577"/>
        <pc:sldMkLst>
          <pc:docMk/>
          <pc:sldMk cId="1852403570" sldId="1719"/>
        </pc:sldMkLst>
        <pc:spChg chg="mod ord">
          <ac:chgData name="Lamb, Ben" userId="88a6f5f3-f9e5-47eb-a109-670a0c68440d" providerId="ADAL" clId="{306D01AF-A76E-3E4F-A971-A1200024FF94}" dt="2021-04-01T22:00:21.598" v="1911" actId="700"/>
          <ac:spMkLst>
            <pc:docMk/>
            <pc:sldMk cId="1852403570" sldId="1719"/>
            <ac:spMk id="2" creationId="{E4576F96-D6BB-DD40-AD3C-8C50B0DFF80B}"/>
          </ac:spMkLst>
        </pc:spChg>
        <pc:spChg chg="add del mod">
          <ac:chgData name="Lamb, Ben" userId="88a6f5f3-f9e5-47eb-a109-670a0c68440d" providerId="ADAL" clId="{306D01AF-A76E-3E4F-A971-A1200024FF94}" dt="2021-04-01T20:29:06.601" v="524" actId="478"/>
          <ac:spMkLst>
            <pc:docMk/>
            <pc:sldMk cId="1852403570" sldId="1719"/>
            <ac:spMk id="31" creationId="{0AD3484B-26FC-D348-B590-714F0C151C4E}"/>
          </ac:spMkLst>
        </pc:spChg>
        <pc:spChg chg="add mod">
          <ac:chgData name="Lamb, Ben" userId="88a6f5f3-f9e5-47eb-a109-670a0c68440d" providerId="ADAL" clId="{306D01AF-A76E-3E4F-A971-A1200024FF94}" dt="2021-04-01T22:06:49.664" v="2843" actId="1076"/>
          <ac:spMkLst>
            <pc:docMk/>
            <pc:sldMk cId="1852403570" sldId="1719"/>
            <ac:spMk id="39" creationId="{8786307C-F0BC-F046-B1AC-E7D5F44EFF55}"/>
          </ac:spMkLst>
        </pc:spChg>
        <pc:spChg chg="add mod">
          <ac:chgData name="Lamb, Ben" userId="88a6f5f3-f9e5-47eb-a109-670a0c68440d" providerId="ADAL" clId="{306D01AF-A76E-3E4F-A971-A1200024FF94}" dt="2021-04-01T22:06:49.664" v="2843" actId="1076"/>
          <ac:spMkLst>
            <pc:docMk/>
            <pc:sldMk cId="1852403570" sldId="1719"/>
            <ac:spMk id="40" creationId="{B270C92A-C072-7F4C-BBFB-E93B5962F0C3}"/>
          </ac:spMkLst>
        </pc:spChg>
        <pc:spChg chg="mod">
          <ac:chgData name="Lamb, Ben" userId="88a6f5f3-f9e5-47eb-a109-670a0c68440d" providerId="ADAL" clId="{306D01AF-A76E-3E4F-A971-A1200024FF94}" dt="2021-04-01T20:15:44.606" v="152"/>
          <ac:spMkLst>
            <pc:docMk/>
            <pc:sldMk cId="1852403570" sldId="1719"/>
            <ac:spMk id="43" creationId="{18A9AF0B-4896-8D44-9B9C-C4D35498727A}"/>
          </ac:spMkLst>
        </pc:spChg>
        <pc:spChg chg="mod">
          <ac:chgData name="Lamb, Ben" userId="88a6f5f3-f9e5-47eb-a109-670a0c68440d" providerId="ADAL" clId="{306D01AF-A76E-3E4F-A971-A1200024FF94}" dt="2021-04-01T20:15:44.606" v="152"/>
          <ac:spMkLst>
            <pc:docMk/>
            <pc:sldMk cId="1852403570" sldId="1719"/>
            <ac:spMk id="44" creationId="{E23B3725-30ED-F342-90C0-AC89A45B8F69}"/>
          </ac:spMkLst>
        </pc:spChg>
        <pc:spChg chg="mod">
          <ac:chgData name="Lamb, Ben" userId="88a6f5f3-f9e5-47eb-a109-670a0c68440d" providerId="ADAL" clId="{306D01AF-A76E-3E4F-A971-A1200024FF94}" dt="2021-04-01T20:15:44.606" v="152"/>
          <ac:spMkLst>
            <pc:docMk/>
            <pc:sldMk cId="1852403570" sldId="1719"/>
            <ac:spMk id="45" creationId="{F977A25C-CE49-4B43-B14D-2BC5B88F23D1}"/>
          </ac:spMkLst>
        </pc:spChg>
        <pc:spChg chg="mod">
          <ac:chgData name="Lamb, Ben" userId="88a6f5f3-f9e5-47eb-a109-670a0c68440d" providerId="ADAL" clId="{306D01AF-A76E-3E4F-A971-A1200024FF94}" dt="2021-04-01T20:15:44.606" v="152"/>
          <ac:spMkLst>
            <pc:docMk/>
            <pc:sldMk cId="1852403570" sldId="1719"/>
            <ac:spMk id="48" creationId="{9FCFAE00-52C9-B64D-9677-A676A16E65C1}"/>
          </ac:spMkLst>
        </pc:spChg>
        <pc:spChg chg="mod">
          <ac:chgData name="Lamb, Ben" userId="88a6f5f3-f9e5-47eb-a109-670a0c68440d" providerId="ADAL" clId="{306D01AF-A76E-3E4F-A971-A1200024FF94}" dt="2021-04-01T20:15:44.606" v="152"/>
          <ac:spMkLst>
            <pc:docMk/>
            <pc:sldMk cId="1852403570" sldId="1719"/>
            <ac:spMk id="49" creationId="{8A0E1105-7BF9-C94D-A943-50DA5ED65C44}"/>
          </ac:spMkLst>
        </pc:spChg>
        <pc:spChg chg="del">
          <ac:chgData name="Lamb, Ben" userId="88a6f5f3-f9e5-47eb-a109-670a0c68440d" providerId="ADAL" clId="{306D01AF-A76E-3E4F-A971-A1200024FF94}" dt="2021-04-01T20:13:37.420" v="49" actId="478"/>
          <ac:spMkLst>
            <pc:docMk/>
            <pc:sldMk cId="1852403570" sldId="1719"/>
            <ac:spMk id="50" creationId="{12CB3105-F53F-1345-ACDA-7067BE72F885}"/>
          </ac:spMkLst>
        </pc:spChg>
        <pc:spChg chg="mod">
          <ac:chgData name="Lamb, Ben" userId="88a6f5f3-f9e5-47eb-a109-670a0c68440d" providerId="ADAL" clId="{306D01AF-A76E-3E4F-A971-A1200024FF94}" dt="2021-04-01T20:15:44.606" v="152"/>
          <ac:spMkLst>
            <pc:docMk/>
            <pc:sldMk cId="1852403570" sldId="1719"/>
            <ac:spMk id="51" creationId="{7ED14F0A-150F-1143-A291-25B0573077BC}"/>
          </ac:spMkLst>
        </pc:spChg>
        <pc:spChg chg="del">
          <ac:chgData name="Lamb, Ben" userId="88a6f5f3-f9e5-47eb-a109-670a0c68440d" providerId="ADAL" clId="{306D01AF-A76E-3E4F-A971-A1200024FF94}" dt="2021-04-01T20:13:37.420" v="49" actId="478"/>
          <ac:spMkLst>
            <pc:docMk/>
            <pc:sldMk cId="1852403570" sldId="1719"/>
            <ac:spMk id="52" creationId="{E3292D97-B7C3-B74A-BF07-CFBC3BCE4F86}"/>
          </ac:spMkLst>
        </pc:spChg>
        <pc:spChg chg="add mod ord">
          <ac:chgData name="Lamb, Ben" userId="88a6f5f3-f9e5-47eb-a109-670a0c68440d" providerId="ADAL" clId="{306D01AF-A76E-3E4F-A971-A1200024FF94}" dt="2021-04-01T22:08:07.827" v="3005" actId="20577"/>
          <ac:spMkLst>
            <pc:docMk/>
            <pc:sldMk cId="1852403570" sldId="1719"/>
            <ac:spMk id="63" creationId="{1E6C20AB-4004-E04A-BEC0-BF377FC002F7}"/>
          </ac:spMkLst>
        </pc:spChg>
        <pc:spChg chg="add mod ord">
          <ac:chgData name="Lamb, Ben" userId="88a6f5f3-f9e5-47eb-a109-670a0c68440d" providerId="ADAL" clId="{306D01AF-A76E-3E4F-A971-A1200024FF94}" dt="2021-04-01T22:00:24.515" v="1920" actId="20577"/>
          <ac:spMkLst>
            <pc:docMk/>
            <pc:sldMk cId="1852403570" sldId="1719"/>
            <ac:spMk id="64" creationId="{9F074E5A-BD11-E548-9389-411483F4D031}"/>
          </ac:spMkLst>
        </pc:spChg>
        <pc:spChg chg="mod">
          <ac:chgData name="Lamb, Ben" userId="88a6f5f3-f9e5-47eb-a109-670a0c68440d" providerId="ADAL" clId="{306D01AF-A76E-3E4F-A971-A1200024FF94}" dt="2021-04-01T22:06:49.664" v="2843" actId="1076"/>
          <ac:spMkLst>
            <pc:docMk/>
            <pc:sldMk cId="1852403570" sldId="1719"/>
            <ac:spMk id="66" creationId="{459AC22F-F663-3A4D-B1C5-BD6D77477AF3}"/>
          </ac:spMkLst>
        </pc:spChg>
        <pc:spChg chg="add mod">
          <ac:chgData name="Lamb, Ben" userId="88a6f5f3-f9e5-47eb-a109-670a0c68440d" providerId="ADAL" clId="{306D01AF-A76E-3E4F-A971-A1200024FF94}" dt="2021-04-01T22:06:49.664" v="2843" actId="1076"/>
          <ac:spMkLst>
            <pc:docMk/>
            <pc:sldMk cId="1852403570" sldId="1719"/>
            <ac:spMk id="67" creationId="{179BF1EB-4D07-5E42-B826-F4A5778C1DC9}"/>
          </ac:spMkLst>
        </pc:spChg>
        <pc:spChg chg="mod">
          <ac:chgData name="Lamb, Ben" userId="88a6f5f3-f9e5-47eb-a109-670a0c68440d" providerId="ADAL" clId="{306D01AF-A76E-3E4F-A971-A1200024FF94}" dt="2021-04-01T20:17:45.200" v="182"/>
          <ac:spMkLst>
            <pc:docMk/>
            <pc:sldMk cId="1852403570" sldId="1719"/>
            <ac:spMk id="70" creationId="{65AE8BD8-5DBC-974E-A268-679F1E0415A3}"/>
          </ac:spMkLst>
        </pc:spChg>
        <pc:spChg chg="mod">
          <ac:chgData name="Lamb, Ben" userId="88a6f5f3-f9e5-47eb-a109-670a0c68440d" providerId="ADAL" clId="{306D01AF-A76E-3E4F-A971-A1200024FF94}" dt="2021-04-01T20:17:45.200" v="182"/>
          <ac:spMkLst>
            <pc:docMk/>
            <pc:sldMk cId="1852403570" sldId="1719"/>
            <ac:spMk id="72" creationId="{4CEDAF9C-A719-574C-8A70-050B1C7C3D33}"/>
          </ac:spMkLst>
        </pc:spChg>
        <pc:spChg chg="mod">
          <ac:chgData name="Lamb, Ben" userId="88a6f5f3-f9e5-47eb-a109-670a0c68440d" providerId="ADAL" clId="{306D01AF-A76E-3E4F-A971-A1200024FF94}" dt="2021-04-01T20:17:45.200" v="182"/>
          <ac:spMkLst>
            <pc:docMk/>
            <pc:sldMk cId="1852403570" sldId="1719"/>
            <ac:spMk id="73" creationId="{4F201E29-CDF8-B045-9C99-C98CDB740230}"/>
          </ac:spMkLst>
        </pc:spChg>
        <pc:spChg chg="mod">
          <ac:chgData name="Lamb, Ben" userId="88a6f5f3-f9e5-47eb-a109-670a0c68440d" providerId="ADAL" clId="{306D01AF-A76E-3E4F-A971-A1200024FF94}" dt="2021-04-01T20:17:45.200" v="182"/>
          <ac:spMkLst>
            <pc:docMk/>
            <pc:sldMk cId="1852403570" sldId="1719"/>
            <ac:spMk id="74" creationId="{2D13C896-E85C-8A49-96F2-F98FE4AC61C6}"/>
          </ac:spMkLst>
        </pc:spChg>
        <pc:spChg chg="mod">
          <ac:chgData name="Lamb, Ben" userId="88a6f5f3-f9e5-47eb-a109-670a0c68440d" providerId="ADAL" clId="{306D01AF-A76E-3E4F-A971-A1200024FF94}" dt="2021-04-01T20:17:45.200" v="182"/>
          <ac:spMkLst>
            <pc:docMk/>
            <pc:sldMk cId="1852403570" sldId="1719"/>
            <ac:spMk id="75" creationId="{4F134375-B3EC-9742-BACA-A1949EDEADEF}"/>
          </ac:spMkLst>
        </pc:spChg>
        <pc:spChg chg="mod">
          <ac:chgData name="Lamb, Ben" userId="88a6f5f3-f9e5-47eb-a109-670a0c68440d" providerId="ADAL" clId="{306D01AF-A76E-3E4F-A971-A1200024FF94}" dt="2021-04-01T20:17:45.200" v="182"/>
          <ac:spMkLst>
            <pc:docMk/>
            <pc:sldMk cId="1852403570" sldId="1719"/>
            <ac:spMk id="76" creationId="{EB41D0BA-C328-2142-9512-9A3CA86917B6}"/>
          </ac:spMkLst>
        </pc:spChg>
        <pc:spChg chg="mod">
          <ac:chgData name="Lamb, Ben" userId="88a6f5f3-f9e5-47eb-a109-670a0c68440d" providerId="ADAL" clId="{306D01AF-A76E-3E4F-A971-A1200024FF94}" dt="2021-04-01T22:06:49.664" v="2843" actId="1076"/>
          <ac:spMkLst>
            <pc:docMk/>
            <pc:sldMk cId="1852403570" sldId="1719"/>
            <ac:spMk id="78" creationId="{1D1E8930-8861-0540-9F3C-60C75B90ED9A}"/>
          </ac:spMkLst>
        </pc:spChg>
        <pc:spChg chg="mod">
          <ac:chgData name="Lamb, Ben" userId="88a6f5f3-f9e5-47eb-a109-670a0c68440d" providerId="ADAL" clId="{306D01AF-A76E-3E4F-A971-A1200024FF94}" dt="2021-04-01T20:18:19.848" v="188"/>
          <ac:spMkLst>
            <pc:docMk/>
            <pc:sldMk cId="1852403570" sldId="1719"/>
            <ac:spMk id="79" creationId="{5C94C9EC-65A6-A141-BEE7-B8B0070E8D98}"/>
          </ac:spMkLst>
        </pc:spChg>
        <pc:spChg chg="mod">
          <ac:chgData name="Lamb, Ben" userId="88a6f5f3-f9e5-47eb-a109-670a0c68440d" providerId="ADAL" clId="{306D01AF-A76E-3E4F-A971-A1200024FF94}" dt="2021-04-01T20:18:19.848" v="188"/>
          <ac:spMkLst>
            <pc:docMk/>
            <pc:sldMk cId="1852403570" sldId="1719"/>
            <ac:spMk id="80" creationId="{0B0D82BA-F4E4-524D-83B0-CE6B015A02DA}"/>
          </ac:spMkLst>
        </pc:spChg>
        <pc:spChg chg="add mod">
          <ac:chgData name="Lamb, Ben" userId="88a6f5f3-f9e5-47eb-a109-670a0c68440d" providerId="ADAL" clId="{306D01AF-A76E-3E4F-A971-A1200024FF94}" dt="2021-04-01T22:06:49.664" v="2843" actId="1076"/>
          <ac:spMkLst>
            <pc:docMk/>
            <pc:sldMk cId="1852403570" sldId="1719"/>
            <ac:spMk id="85" creationId="{4ADFC058-9BA3-7A4B-8C88-4329D3A760EC}"/>
          </ac:spMkLst>
        </pc:spChg>
        <pc:spChg chg="mod">
          <ac:chgData name="Lamb, Ben" userId="88a6f5f3-f9e5-47eb-a109-670a0c68440d" providerId="ADAL" clId="{306D01AF-A76E-3E4F-A971-A1200024FF94}" dt="2021-04-01T20:23:07.727" v="257"/>
          <ac:spMkLst>
            <pc:docMk/>
            <pc:sldMk cId="1852403570" sldId="1719"/>
            <ac:spMk id="87" creationId="{57824BFE-9BDA-CB42-8C58-1530EFD0BFC6}"/>
          </ac:spMkLst>
        </pc:spChg>
        <pc:spChg chg="mod">
          <ac:chgData name="Lamb, Ben" userId="88a6f5f3-f9e5-47eb-a109-670a0c68440d" providerId="ADAL" clId="{306D01AF-A76E-3E4F-A971-A1200024FF94}" dt="2021-04-01T20:23:20.725" v="259" actId="20577"/>
          <ac:spMkLst>
            <pc:docMk/>
            <pc:sldMk cId="1852403570" sldId="1719"/>
            <ac:spMk id="88" creationId="{2334E7FB-CAFF-A848-9A53-88605F697163}"/>
          </ac:spMkLst>
        </pc:spChg>
        <pc:spChg chg="del mod">
          <ac:chgData name="Lamb, Ben" userId="88a6f5f3-f9e5-47eb-a109-670a0c68440d" providerId="ADAL" clId="{306D01AF-A76E-3E4F-A971-A1200024FF94}" dt="2021-04-01T20:15:52.108" v="154" actId="478"/>
          <ac:spMkLst>
            <pc:docMk/>
            <pc:sldMk cId="1852403570" sldId="1719"/>
            <ac:spMk id="89" creationId="{24650D94-6052-F340-A39C-42FAD72C91D7}"/>
          </ac:spMkLst>
        </pc:spChg>
        <pc:spChg chg="mod">
          <ac:chgData name="Lamb, Ben" userId="88a6f5f3-f9e5-47eb-a109-670a0c68440d" providerId="ADAL" clId="{306D01AF-A76E-3E4F-A971-A1200024FF94}" dt="2021-04-01T20:24:19.564" v="367" actId="20577"/>
          <ac:spMkLst>
            <pc:docMk/>
            <pc:sldMk cId="1852403570" sldId="1719"/>
            <ac:spMk id="92" creationId="{F3E72F20-0E86-9442-B753-CEAC99AA3B6E}"/>
          </ac:spMkLst>
        </pc:spChg>
        <pc:spChg chg="del">
          <ac:chgData name="Lamb, Ben" userId="88a6f5f3-f9e5-47eb-a109-670a0c68440d" providerId="ADAL" clId="{306D01AF-A76E-3E4F-A971-A1200024FF94}" dt="2021-04-01T20:13:37.420" v="49" actId="478"/>
          <ac:spMkLst>
            <pc:docMk/>
            <pc:sldMk cId="1852403570" sldId="1719"/>
            <ac:spMk id="93" creationId="{AB9D4F6D-C36F-E64A-B8A1-DCA88082AA53}"/>
          </ac:spMkLst>
        </pc:spChg>
        <pc:spChg chg="mod">
          <ac:chgData name="Lamb, Ben" userId="88a6f5f3-f9e5-47eb-a109-670a0c68440d" providerId="ADAL" clId="{306D01AF-A76E-3E4F-A971-A1200024FF94}" dt="2021-04-01T20:30:34.256" v="578" actId="207"/>
          <ac:spMkLst>
            <pc:docMk/>
            <pc:sldMk cId="1852403570" sldId="1719"/>
            <ac:spMk id="94" creationId="{25FE308E-04A3-A84F-A867-B675469DB521}"/>
          </ac:spMkLst>
        </pc:spChg>
        <pc:spChg chg="mod">
          <ac:chgData name="Lamb, Ben" userId="88a6f5f3-f9e5-47eb-a109-670a0c68440d" providerId="ADAL" clId="{306D01AF-A76E-3E4F-A971-A1200024FF94}" dt="2021-04-01T20:23:07.727" v="257"/>
          <ac:spMkLst>
            <pc:docMk/>
            <pc:sldMk cId="1852403570" sldId="1719"/>
            <ac:spMk id="96" creationId="{89105FE7-AB3C-DB4B-AD38-75CF721599DD}"/>
          </ac:spMkLst>
        </pc:spChg>
        <pc:spChg chg="mod">
          <ac:chgData name="Lamb, Ben" userId="88a6f5f3-f9e5-47eb-a109-670a0c68440d" providerId="ADAL" clId="{306D01AF-A76E-3E4F-A971-A1200024FF94}" dt="2021-04-01T20:27:13.936" v="440" actId="20577"/>
          <ac:spMkLst>
            <pc:docMk/>
            <pc:sldMk cId="1852403570" sldId="1719"/>
            <ac:spMk id="97" creationId="{7AD5AD5A-A4C7-ED4E-AF6B-FC809CBEECBE}"/>
          </ac:spMkLst>
        </pc:spChg>
        <pc:spChg chg="mod">
          <ac:chgData name="Lamb, Ben" userId="88a6f5f3-f9e5-47eb-a109-670a0c68440d" providerId="ADAL" clId="{306D01AF-A76E-3E4F-A971-A1200024FF94}" dt="2021-04-01T20:27:28.820" v="458" actId="20577"/>
          <ac:spMkLst>
            <pc:docMk/>
            <pc:sldMk cId="1852403570" sldId="1719"/>
            <ac:spMk id="99" creationId="{9713776B-A342-2949-888E-1F6FF7DD8DC8}"/>
          </ac:spMkLst>
        </pc:spChg>
        <pc:spChg chg="mod">
          <ac:chgData name="Lamb, Ben" userId="88a6f5f3-f9e5-47eb-a109-670a0c68440d" providerId="ADAL" clId="{306D01AF-A76E-3E4F-A971-A1200024FF94}" dt="2021-04-01T20:27:37.288" v="499" actId="20577"/>
          <ac:spMkLst>
            <pc:docMk/>
            <pc:sldMk cId="1852403570" sldId="1719"/>
            <ac:spMk id="100" creationId="{E657CA34-4C8E-8849-8D70-4E5FD2106237}"/>
          </ac:spMkLst>
        </pc:spChg>
        <pc:spChg chg="mod">
          <ac:chgData name="Lamb, Ben" userId="88a6f5f3-f9e5-47eb-a109-670a0c68440d" providerId="ADAL" clId="{306D01AF-A76E-3E4F-A971-A1200024FF94}" dt="2021-04-01T20:28:10.597" v="523" actId="20577"/>
          <ac:spMkLst>
            <pc:docMk/>
            <pc:sldMk cId="1852403570" sldId="1719"/>
            <ac:spMk id="103" creationId="{8E971E48-EEF8-7B4D-A39B-CC915E4CDAE4}"/>
          </ac:spMkLst>
        </pc:spChg>
        <pc:spChg chg="mod">
          <ac:chgData name="Lamb, Ben" userId="88a6f5f3-f9e5-47eb-a109-670a0c68440d" providerId="ADAL" clId="{306D01AF-A76E-3E4F-A971-A1200024FF94}" dt="2021-04-01T20:30:52.113" v="587" actId="20577"/>
          <ac:spMkLst>
            <pc:docMk/>
            <pc:sldMk cId="1852403570" sldId="1719"/>
            <ac:spMk id="104" creationId="{7FA9DFFC-A588-C84E-B30B-0B6F00511823}"/>
          </ac:spMkLst>
        </pc:spChg>
        <pc:spChg chg="mod">
          <ac:chgData name="Lamb, Ben" userId="88a6f5f3-f9e5-47eb-a109-670a0c68440d" providerId="ADAL" clId="{306D01AF-A76E-3E4F-A971-A1200024FF94}" dt="2021-04-01T20:25:12.759" v="369"/>
          <ac:spMkLst>
            <pc:docMk/>
            <pc:sldMk cId="1852403570" sldId="1719"/>
            <ac:spMk id="107" creationId="{A4643E3A-B3D3-6142-9ADF-AB5C31D74F5B}"/>
          </ac:spMkLst>
        </pc:spChg>
        <pc:spChg chg="mod">
          <ac:chgData name="Lamb, Ben" userId="88a6f5f3-f9e5-47eb-a109-670a0c68440d" providerId="ADAL" clId="{306D01AF-A76E-3E4F-A971-A1200024FF94}" dt="2021-04-01T20:25:12.759" v="369"/>
          <ac:spMkLst>
            <pc:docMk/>
            <pc:sldMk cId="1852403570" sldId="1719"/>
            <ac:spMk id="108" creationId="{1F3BF54F-24F9-B348-9F4F-D13AB8BD255C}"/>
          </ac:spMkLst>
        </pc:spChg>
        <pc:spChg chg="del mod">
          <ac:chgData name="Lamb, Ben" userId="88a6f5f3-f9e5-47eb-a109-670a0c68440d" providerId="ADAL" clId="{306D01AF-A76E-3E4F-A971-A1200024FF94}" dt="2021-04-01T20:18:19.551" v="187" actId="478"/>
          <ac:spMkLst>
            <pc:docMk/>
            <pc:sldMk cId="1852403570" sldId="1719"/>
            <ac:spMk id="109" creationId="{78EA0D09-D310-4D42-A71E-87304FA5CCB9}"/>
          </ac:spMkLst>
        </pc:spChg>
        <pc:spChg chg="mod">
          <ac:chgData name="Lamb, Ben" userId="88a6f5f3-f9e5-47eb-a109-670a0c68440d" providerId="ADAL" clId="{306D01AF-A76E-3E4F-A971-A1200024FF94}" dt="2021-04-01T20:25:12.759" v="369"/>
          <ac:spMkLst>
            <pc:docMk/>
            <pc:sldMk cId="1852403570" sldId="1719"/>
            <ac:spMk id="110" creationId="{D0C46605-5F20-6349-B35D-60361DF0A1CD}"/>
          </ac:spMkLst>
        </pc:spChg>
        <pc:spChg chg="add mod">
          <ac:chgData name="Lamb, Ben" userId="88a6f5f3-f9e5-47eb-a109-670a0c68440d" providerId="ADAL" clId="{306D01AF-A76E-3E4F-A971-A1200024FF94}" dt="2021-04-01T22:06:49.664" v="2843" actId="1076"/>
          <ac:spMkLst>
            <pc:docMk/>
            <pc:sldMk cId="1852403570" sldId="1719"/>
            <ac:spMk id="112" creationId="{D6DC9AD3-6800-0345-9AFD-71DAEB6C1191}"/>
          </ac:spMkLst>
        </pc:spChg>
        <pc:spChg chg="del">
          <ac:chgData name="Lamb, Ben" userId="88a6f5f3-f9e5-47eb-a109-670a0c68440d" providerId="ADAL" clId="{306D01AF-A76E-3E4F-A971-A1200024FF94}" dt="2021-04-01T20:13:37.420" v="49" actId="478"/>
          <ac:spMkLst>
            <pc:docMk/>
            <pc:sldMk cId="1852403570" sldId="1719"/>
            <ac:spMk id="118" creationId="{9BA18230-CFA4-8E40-A02A-62FD29108EE1}"/>
          </ac:spMkLst>
        </pc:spChg>
        <pc:spChg chg="del mod">
          <ac:chgData name="Lamb, Ben" userId="88a6f5f3-f9e5-47eb-a109-670a0c68440d" providerId="ADAL" clId="{306D01AF-A76E-3E4F-A971-A1200024FF94}" dt="2021-04-01T20:19:35.056" v="249" actId="478"/>
          <ac:spMkLst>
            <pc:docMk/>
            <pc:sldMk cId="1852403570" sldId="1719"/>
            <ac:spMk id="119" creationId="{A5E5C903-2D36-BA4D-8681-5FF8C059ECD1}"/>
          </ac:spMkLst>
        </pc:spChg>
        <pc:spChg chg="del">
          <ac:chgData name="Lamb, Ben" userId="88a6f5f3-f9e5-47eb-a109-670a0c68440d" providerId="ADAL" clId="{306D01AF-A76E-3E4F-A971-A1200024FF94}" dt="2021-04-01T20:13:37.420" v="49" actId="478"/>
          <ac:spMkLst>
            <pc:docMk/>
            <pc:sldMk cId="1852403570" sldId="1719"/>
            <ac:spMk id="122" creationId="{2D1B9171-C30C-824C-8A59-62527A0BD6AC}"/>
          </ac:spMkLst>
        </pc:spChg>
        <pc:spChg chg="mod">
          <ac:chgData name="Lamb, Ben" userId="88a6f5f3-f9e5-47eb-a109-670a0c68440d" providerId="ADAL" clId="{306D01AF-A76E-3E4F-A971-A1200024FF94}" dt="2021-04-01T22:04:07.119" v="2438" actId="20577"/>
          <ac:spMkLst>
            <pc:docMk/>
            <pc:sldMk cId="1852403570" sldId="1719"/>
            <ac:spMk id="124" creationId="{F3C51ECF-A62B-5B45-9D08-C66F14E923F3}"/>
          </ac:spMkLst>
        </pc:spChg>
        <pc:spChg chg="mod">
          <ac:chgData name="Lamb, Ben" userId="88a6f5f3-f9e5-47eb-a109-670a0c68440d" providerId="ADAL" clId="{306D01AF-A76E-3E4F-A971-A1200024FF94}" dt="2021-04-01T22:04:52.421" v="2527" actId="20577"/>
          <ac:spMkLst>
            <pc:docMk/>
            <pc:sldMk cId="1852403570" sldId="1719"/>
            <ac:spMk id="126" creationId="{2BB6BF26-656C-B74A-BBAE-55CBB882F2F8}"/>
          </ac:spMkLst>
        </pc:spChg>
        <pc:spChg chg="del">
          <ac:chgData name="Lamb, Ben" userId="88a6f5f3-f9e5-47eb-a109-670a0c68440d" providerId="ADAL" clId="{306D01AF-A76E-3E4F-A971-A1200024FF94}" dt="2021-04-01T20:13:37.420" v="49" actId="478"/>
          <ac:spMkLst>
            <pc:docMk/>
            <pc:sldMk cId="1852403570" sldId="1719"/>
            <ac:spMk id="133" creationId="{5FC547F7-A139-384C-90ED-A1C9BFA29D09}"/>
          </ac:spMkLst>
        </pc:spChg>
        <pc:spChg chg="del">
          <ac:chgData name="Lamb, Ben" userId="88a6f5f3-f9e5-47eb-a109-670a0c68440d" providerId="ADAL" clId="{306D01AF-A76E-3E4F-A971-A1200024FF94}" dt="2021-04-01T20:13:37.420" v="49" actId="478"/>
          <ac:spMkLst>
            <pc:docMk/>
            <pc:sldMk cId="1852403570" sldId="1719"/>
            <ac:spMk id="148" creationId="{61575A44-006B-654E-9FB4-CFB2017AF9D2}"/>
          </ac:spMkLst>
        </pc:spChg>
        <pc:grpChg chg="add mod">
          <ac:chgData name="Lamb, Ben" userId="88a6f5f3-f9e5-47eb-a109-670a0c68440d" providerId="ADAL" clId="{306D01AF-A76E-3E4F-A971-A1200024FF94}" dt="2021-04-01T22:06:49.664" v="2843" actId="1076"/>
          <ac:grpSpMkLst>
            <pc:docMk/>
            <pc:sldMk cId="1852403570" sldId="1719"/>
            <ac:grpSpMk id="41" creationId="{139A3011-F95E-7D44-A819-DE5D56CAF57A}"/>
          </ac:grpSpMkLst>
        </pc:grpChg>
        <pc:grpChg chg="mod">
          <ac:chgData name="Lamb, Ben" userId="88a6f5f3-f9e5-47eb-a109-670a0c68440d" providerId="ADAL" clId="{306D01AF-A76E-3E4F-A971-A1200024FF94}" dt="2021-04-01T20:15:44.606" v="152"/>
          <ac:grpSpMkLst>
            <pc:docMk/>
            <pc:sldMk cId="1852403570" sldId="1719"/>
            <ac:grpSpMk id="42" creationId="{8DE4F792-6D58-1540-8FB1-F2D8239D27B4}"/>
          </ac:grpSpMkLst>
        </pc:grpChg>
        <pc:grpChg chg="add mod">
          <ac:chgData name="Lamb, Ben" userId="88a6f5f3-f9e5-47eb-a109-670a0c68440d" providerId="ADAL" clId="{306D01AF-A76E-3E4F-A971-A1200024FF94}" dt="2021-04-01T22:06:49.664" v="2843" actId="1076"/>
          <ac:grpSpMkLst>
            <pc:docMk/>
            <pc:sldMk cId="1852403570" sldId="1719"/>
            <ac:grpSpMk id="46" creationId="{71917A82-9A33-B94D-8DF4-5C2679D81274}"/>
          </ac:grpSpMkLst>
        </pc:grpChg>
        <pc:grpChg chg="mod">
          <ac:chgData name="Lamb, Ben" userId="88a6f5f3-f9e5-47eb-a109-670a0c68440d" providerId="ADAL" clId="{306D01AF-A76E-3E4F-A971-A1200024FF94}" dt="2021-04-01T20:15:44.606" v="152"/>
          <ac:grpSpMkLst>
            <pc:docMk/>
            <pc:sldMk cId="1852403570" sldId="1719"/>
            <ac:grpSpMk id="47" creationId="{6C024355-3E68-1245-B961-36F19321FEFE}"/>
          </ac:grpSpMkLst>
        </pc:grpChg>
        <pc:grpChg chg="add mod">
          <ac:chgData name="Lamb, Ben" userId="88a6f5f3-f9e5-47eb-a109-670a0c68440d" providerId="ADAL" clId="{306D01AF-A76E-3E4F-A971-A1200024FF94}" dt="2021-04-01T22:06:49.664" v="2843" actId="1076"/>
          <ac:grpSpMkLst>
            <pc:docMk/>
            <pc:sldMk cId="1852403570" sldId="1719"/>
            <ac:grpSpMk id="69" creationId="{525F3934-326D-E043-8B94-843090BF88E3}"/>
          </ac:grpSpMkLst>
        </pc:grpChg>
        <pc:grpChg chg="mod">
          <ac:chgData name="Lamb, Ben" userId="88a6f5f3-f9e5-47eb-a109-670a0c68440d" providerId="ADAL" clId="{306D01AF-A76E-3E4F-A971-A1200024FF94}" dt="2021-04-01T20:17:45.200" v="182"/>
          <ac:grpSpMkLst>
            <pc:docMk/>
            <pc:sldMk cId="1852403570" sldId="1719"/>
            <ac:grpSpMk id="71" creationId="{4C7D4272-B286-844C-8497-1D7093FB67DB}"/>
          </ac:grpSpMkLst>
        </pc:grpChg>
        <pc:grpChg chg="add mod">
          <ac:chgData name="Lamb, Ben" userId="88a6f5f3-f9e5-47eb-a109-670a0c68440d" providerId="ADAL" clId="{306D01AF-A76E-3E4F-A971-A1200024FF94}" dt="2021-04-01T22:06:49.664" v="2843" actId="1076"/>
          <ac:grpSpMkLst>
            <pc:docMk/>
            <pc:sldMk cId="1852403570" sldId="1719"/>
            <ac:grpSpMk id="77" creationId="{CB462BCE-BEA4-1F49-86EF-CE67CBD36752}"/>
          </ac:grpSpMkLst>
        </pc:grpChg>
        <pc:grpChg chg="add mod">
          <ac:chgData name="Lamb, Ben" userId="88a6f5f3-f9e5-47eb-a109-670a0c68440d" providerId="ADAL" clId="{306D01AF-A76E-3E4F-A971-A1200024FF94}" dt="2021-04-01T22:06:49.664" v="2843" actId="1076"/>
          <ac:grpSpMkLst>
            <pc:docMk/>
            <pc:sldMk cId="1852403570" sldId="1719"/>
            <ac:grpSpMk id="86" creationId="{BDD6E590-518A-AE4F-9B31-9972CADC4DF1}"/>
          </ac:grpSpMkLst>
        </pc:grpChg>
        <pc:grpChg chg="add mod">
          <ac:chgData name="Lamb, Ben" userId="88a6f5f3-f9e5-47eb-a109-670a0c68440d" providerId="ADAL" clId="{306D01AF-A76E-3E4F-A971-A1200024FF94}" dt="2021-04-01T22:06:49.664" v="2843" actId="1076"/>
          <ac:grpSpMkLst>
            <pc:docMk/>
            <pc:sldMk cId="1852403570" sldId="1719"/>
            <ac:grpSpMk id="90" creationId="{F769662A-25F0-4242-B83B-07333AE142F3}"/>
          </ac:grpSpMkLst>
        </pc:grpChg>
        <pc:grpChg chg="add mod">
          <ac:chgData name="Lamb, Ben" userId="88a6f5f3-f9e5-47eb-a109-670a0c68440d" providerId="ADAL" clId="{306D01AF-A76E-3E4F-A971-A1200024FF94}" dt="2021-04-01T22:06:49.664" v="2843" actId="1076"/>
          <ac:grpSpMkLst>
            <pc:docMk/>
            <pc:sldMk cId="1852403570" sldId="1719"/>
            <ac:grpSpMk id="95" creationId="{D83204F8-B896-124C-8FF9-8C5ECED8366C}"/>
          </ac:grpSpMkLst>
        </pc:grpChg>
        <pc:grpChg chg="add mod">
          <ac:chgData name="Lamb, Ben" userId="88a6f5f3-f9e5-47eb-a109-670a0c68440d" providerId="ADAL" clId="{306D01AF-A76E-3E4F-A971-A1200024FF94}" dt="2021-04-01T22:06:49.664" v="2843" actId="1076"/>
          <ac:grpSpMkLst>
            <pc:docMk/>
            <pc:sldMk cId="1852403570" sldId="1719"/>
            <ac:grpSpMk id="98" creationId="{8D20D01A-66EF-6F4A-9D38-281C2C3D1D44}"/>
          </ac:grpSpMkLst>
        </pc:grpChg>
        <pc:grpChg chg="add mod">
          <ac:chgData name="Lamb, Ben" userId="88a6f5f3-f9e5-47eb-a109-670a0c68440d" providerId="ADAL" clId="{306D01AF-A76E-3E4F-A971-A1200024FF94}" dt="2021-04-01T22:06:49.664" v="2843" actId="1076"/>
          <ac:grpSpMkLst>
            <pc:docMk/>
            <pc:sldMk cId="1852403570" sldId="1719"/>
            <ac:grpSpMk id="102" creationId="{B6250D37-E9FF-C34D-A9B9-37F2AA98C7CE}"/>
          </ac:grpSpMkLst>
        </pc:grpChg>
        <pc:grpChg chg="add mod">
          <ac:chgData name="Lamb, Ben" userId="88a6f5f3-f9e5-47eb-a109-670a0c68440d" providerId="ADAL" clId="{306D01AF-A76E-3E4F-A971-A1200024FF94}" dt="2021-04-01T22:06:49.664" v="2843" actId="1076"/>
          <ac:grpSpMkLst>
            <pc:docMk/>
            <pc:sldMk cId="1852403570" sldId="1719"/>
            <ac:grpSpMk id="105" creationId="{2B749159-5255-9A4A-AB8D-BE35964A7A6C}"/>
          </ac:grpSpMkLst>
        </pc:grpChg>
        <pc:grpChg chg="mod">
          <ac:chgData name="Lamb, Ben" userId="88a6f5f3-f9e5-47eb-a109-670a0c68440d" providerId="ADAL" clId="{306D01AF-A76E-3E4F-A971-A1200024FF94}" dt="2021-04-01T20:25:12.759" v="369"/>
          <ac:grpSpMkLst>
            <pc:docMk/>
            <pc:sldMk cId="1852403570" sldId="1719"/>
            <ac:grpSpMk id="106" creationId="{6339E5CE-0EB4-BC49-8920-E9C319CB2607}"/>
          </ac:grpSpMkLst>
        </pc:grpChg>
        <pc:grpChg chg="add mod">
          <ac:chgData name="Lamb, Ben" userId="88a6f5f3-f9e5-47eb-a109-670a0c68440d" providerId="ADAL" clId="{306D01AF-A76E-3E4F-A971-A1200024FF94}" dt="2021-04-01T22:06:49.664" v="2843" actId="1076"/>
          <ac:grpSpMkLst>
            <pc:docMk/>
            <pc:sldMk cId="1852403570" sldId="1719"/>
            <ac:grpSpMk id="123" creationId="{92255711-A969-D443-A33E-697E64ECE681}"/>
          </ac:grpSpMkLst>
        </pc:grpChg>
        <pc:grpChg chg="del">
          <ac:chgData name="Lamb, Ben" userId="88a6f5f3-f9e5-47eb-a109-670a0c68440d" providerId="ADAL" clId="{306D01AF-A76E-3E4F-A971-A1200024FF94}" dt="2021-04-01T20:13:37.420" v="49" actId="478"/>
          <ac:grpSpMkLst>
            <pc:docMk/>
            <pc:sldMk cId="1852403570" sldId="1719"/>
            <ac:grpSpMk id="155" creationId="{C61757CD-55CA-8B41-AD14-645D22FFF44B}"/>
          </ac:grpSpMkLst>
        </pc:grpChg>
        <pc:cxnChg chg="add mod">
          <ac:chgData name="Lamb, Ben" userId="88a6f5f3-f9e5-47eb-a109-670a0c68440d" providerId="ADAL" clId="{306D01AF-A76E-3E4F-A971-A1200024FF94}" dt="2021-04-01T22:06:49.664" v="2843" actId="1076"/>
          <ac:cxnSpMkLst>
            <pc:docMk/>
            <pc:sldMk cId="1852403570" sldId="1719"/>
            <ac:cxnSpMk id="33" creationId="{E84AB3D7-72EE-2944-AEAF-02D58A4FF0F9}"/>
          </ac:cxnSpMkLst>
        </pc:cxnChg>
        <pc:cxnChg chg="add mod">
          <ac:chgData name="Lamb, Ben" userId="88a6f5f3-f9e5-47eb-a109-670a0c68440d" providerId="ADAL" clId="{306D01AF-A76E-3E4F-A971-A1200024FF94}" dt="2021-04-01T22:06:49.664" v="2843" actId="1076"/>
          <ac:cxnSpMkLst>
            <pc:docMk/>
            <pc:sldMk cId="1852403570" sldId="1719"/>
            <ac:cxnSpMk id="37" creationId="{0E606D33-C16A-7446-B6CD-B068FD6C9BA8}"/>
          </ac:cxnSpMkLst>
        </pc:cxnChg>
        <pc:cxnChg chg="add mod">
          <ac:chgData name="Lamb, Ben" userId="88a6f5f3-f9e5-47eb-a109-670a0c68440d" providerId="ADAL" clId="{306D01AF-A76E-3E4F-A971-A1200024FF94}" dt="2021-04-01T22:06:49.664" v="2843" actId="1076"/>
          <ac:cxnSpMkLst>
            <pc:docMk/>
            <pc:sldMk cId="1852403570" sldId="1719"/>
            <ac:cxnSpMk id="38" creationId="{DFBE9BC8-FFCF-D84F-8190-AEE51E15E54F}"/>
          </ac:cxnSpMkLst>
        </pc:cxnChg>
        <pc:cxnChg chg="del mod">
          <ac:chgData name="Lamb, Ben" userId="88a6f5f3-f9e5-47eb-a109-670a0c68440d" providerId="ADAL" clId="{306D01AF-A76E-3E4F-A971-A1200024FF94}" dt="2021-04-01T20:13:37.420" v="49" actId="478"/>
          <ac:cxnSpMkLst>
            <pc:docMk/>
            <pc:sldMk cId="1852403570" sldId="1719"/>
            <ac:cxnSpMk id="53" creationId="{B50A620B-A83B-4C46-95C0-99B45BCBCDCB}"/>
          </ac:cxnSpMkLst>
        </pc:cxnChg>
        <pc:cxnChg chg="add del mod">
          <ac:chgData name="Lamb, Ben" userId="88a6f5f3-f9e5-47eb-a109-670a0c68440d" providerId="ADAL" clId="{306D01AF-A76E-3E4F-A971-A1200024FF94}" dt="2021-04-01T20:17:59.306" v="184" actId="478"/>
          <ac:cxnSpMkLst>
            <pc:docMk/>
            <pc:sldMk cId="1852403570" sldId="1719"/>
            <ac:cxnSpMk id="68" creationId="{9EC28B6E-6B56-614D-99BF-39C26A42572C}"/>
          </ac:cxnSpMkLst>
        </pc:cxnChg>
        <pc:cxnChg chg="mod">
          <ac:chgData name="Lamb, Ben" userId="88a6f5f3-f9e5-47eb-a109-670a0c68440d" providerId="ADAL" clId="{306D01AF-A76E-3E4F-A971-A1200024FF94}" dt="2021-04-01T22:06:49.664" v="2843" actId="1076"/>
          <ac:cxnSpMkLst>
            <pc:docMk/>
            <pc:sldMk cId="1852403570" sldId="1719"/>
            <ac:cxnSpMk id="82" creationId="{8EC7B246-00F1-6047-A07A-394A3402245E}"/>
          </ac:cxnSpMkLst>
        </pc:cxnChg>
        <pc:cxnChg chg="del mod">
          <ac:chgData name="Lamb, Ben" userId="88a6f5f3-f9e5-47eb-a109-670a0c68440d" providerId="ADAL" clId="{306D01AF-A76E-3E4F-A971-A1200024FF94}" dt="2021-04-01T20:15:57.398" v="156" actId="478"/>
          <ac:cxnSpMkLst>
            <pc:docMk/>
            <pc:sldMk cId="1852403570" sldId="1719"/>
            <ac:cxnSpMk id="83" creationId="{6B2CAEBA-918A-FF47-93C8-6BB213F95053}"/>
          </ac:cxnSpMkLst>
        </pc:cxnChg>
        <pc:cxnChg chg="mod">
          <ac:chgData name="Lamb, Ben" userId="88a6f5f3-f9e5-47eb-a109-670a0c68440d" providerId="ADAL" clId="{306D01AF-A76E-3E4F-A971-A1200024FF94}" dt="2021-04-01T22:06:49.664" v="2843" actId="1076"/>
          <ac:cxnSpMkLst>
            <pc:docMk/>
            <pc:sldMk cId="1852403570" sldId="1719"/>
            <ac:cxnSpMk id="91" creationId="{34D62801-7B30-E24E-BD04-A036279B68B9}"/>
          </ac:cxnSpMkLst>
        </pc:cxnChg>
        <pc:cxnChg chg="del mod">
          <ac:chgData name="Lamb, Ben" userId="88a6f5f3-f9e5-47eb-a109-670a0c68440d" providerId="ADAL" clId="{306D01AF-A76E-3E4F-A971-A1200024FF94}" dt="2021-04-01T20:13:37.420" v="49" actId="478"/>
          <ac:cxnSpMkLst>
            <pc:docMk/>
            <pc:sldMk cId="1852403570" sldId="1719"/>
            <ac:cxnSpMk id="101" creationId="{5992EC37-69E5-0844-9242-E13A95B2FDC9}"/>
          </ac:cxnSpMkLst>
        </pc:cxnChg>
        <pc:cxnChg chg="mod">
          <ac:chgData name="Lamb, Ben" userId="88a6f5f3-f9e5-47eb-a109-670a0c68440d" providerId="ADAL" clId="{306D01AF-A76E-3E4F-A971-A1200024FF94}" dt="2021-04-01T22:06:49.664" v="2843" actId="1076"/>
          <ac:cxnSpMkLst>
            <pc:docMk/>
            <pc:sldMk cId="1852403570" sldId="1719"/>
            <ac:cxnSpMk id="111" creationId="{46708EF9-3195-FB49-A789-8BAC4422E080}"/>
          </ac:cxnSpMkLst>
        </pc:cxnChg>
        <pc:cxnChg chg="add mod">
          <ac:chgData name="Lamb, Ben" userId="88a6f5f3-f9e5-47eb-a109-670a0c68440d" providerId="ADAL" clId="{306D01AF-A76E-3E4F-A971-A1200024FF94}" dt="2021-04-01T22:06:49.664" v="2843" actId="1076"/>
          <ac:cxnSpMkLst>
            <pc:docMk/>
            <pc:sldMk cId="1852403570" sldId="1719"/>
            <ac:cxnSpMk id="113" creationId="{4EB8DF16-BE66-7243-BC10-BA0BA5C635A8}"/>
          </ac:cxnSpMkLst>
        </pc:cxnChg>
        <pc:cxnChg chg="del mod">
          <ac:chgData name="Lamb, Ben" userId="88a6f5f3-f9e5-47eb-a109-670a0c68440d" providerId="ADAL" clId="{306D01AF-A76E-3E4F-A971-A1200024FF94}" dt="2021-04-01T20:13:37.420" v="49" actId="478"/>
          <ac:cxnSpMkLst>
            <pc:docMk/>
            <pc:sldMk cId="1852403570" sldId="1719"/>
            <ac:cxnSpMk id="125" creationId="{F904B91D-ED4B-6B49-A3D3-06DD240793F1}"/>
          </ac:cxnSpMkLst>
        </pc:cxnChg>
        <pc:cxnChg chg="del mod">
          <ac:chgData name="Lamb, Ben" userId="88a6f5f3-f9e5-47eb-a109-670a0c68440d" providerId="ADAL" clId="{306D01AF-A76E-3E4F-A971-A1200024FF94}" dt="2021-04-01T20:13:37.420" v="49" actId="478"/>
          <ac:cxnSpMkLst>
            <pc:docMk/>
            <pc:sldMk cId="1852403570" sldId="1719"/>
            <ac:cxnSpMk id="134" creationId="{75CB0868-1C54-954F-B6FE-71E2FEED2145}"/>
          </ac:cxnSpMkLst>
        </pc:cxnChg>
        <pc:cxnChg chg="del mod">
          <ac:chgData name="Lamb, Ben" userId="88a6f5f3-f9e5-47eb-a109-670a0c68440d" providerId="ADAL" clId="{306D01AF-A76E-3E4F-A971-A1200024FF94}" dt="2021-04-01T20:13:37.420" v="49" actId="478"/>
          <ac:cxnSpMkLst>
            <pc:docMk/>
            <pc:sldMk cId="1852403570" sldId="1719"/>
            <ac:cxnSpMk id="142" creationId="{B2148362-C5A4-CC4C-B03E-6A2C3856B14C}"/>
          </ac:cxnSpMkLst>
        </pc:cxnChg>
        <pc:cxnChg chg="del mod">
          <ac:chgData name="Lamb, Ben" userId="88a6f5f3-f9e5-47eb-a109-670a0c68440d" providerId="ADAL" clId="{306D01AF-A76E-3E4F-A971-A1200024FF94}" dt="2021-04-01T20:13:37.420" v="49" actId="478"/>
          <ac:cxnSpMkLst>
            <pc:docMk/>
            <pc:sldMk cId="1852403570" sldId="1719"/>
            <ac:cxnSpMk id="150" creationId="{B575B980-48FF-E841-9C80-7C7E68D27A79}"/>
          </ac:cxnSpMkLst>
        </pc:cxnChg>
      </pc:sldChg>
      <pc:sldChg chg="addSp delSp modSp mod modClrScheme chgLayout">
        <pc:chgData name="Lamb, Ben" userId="88a6f5f3-f9e5-47eb-a109-670a0c68440d" providerId="ADAL" clId="{306D01AF-A76E-3E4F-A971-A1200024FF94}" dt="2021-04-06T19:12:33.918" v="4277" actId="14100"/>
        <pc:sldMkLst>
          <pc:docMk/>
          <pc:sldMk cId="1997701517" sldId="1722"/>
        </pc:sldMkLst>
        <pc:spChg chg="mod ord">
          <ac:chgData name="Lamb, Ben" userId="88a6f5f3-f9e5-47eb-a109-670a0c68440d" providerId="ADAL" clId="{306D01AF-A76E-3E4F-A971-A1200024FF94}" dt="2021-04-01T22:00:11.932" v="1901" actId="700"/>
          <ac:spMkLst>
            <pc:docMk/>
            <pc:sldMk cId="1997701517" sldId="1722"/>
            <ac:spMk id="2" creationId="{E4576F96-D6BB-DD40-AD3C-8C50B0DFF80B}"/>
          </ac:spMkLst>
        </pc:spChg>
        <pc:spChg chg="add mod ord">
          <ac:chgData name="Lamb, Ben" userId="88a6f5f3-f9e5-47eb-a109-670a0c68440d" providerId="ADAL" clId="{306D01AF-A76E-3E4F-A971-A1200024FF94}" dt="2021-04-01T22:09:05.558" v="3181" actId="20577"/>
          <ac:spMkLst>
            <pc:docMk/>
            <pc:sldMk cId="1997701517" sldId="1722"/>
            <ac:spMk id="3" creationId="{55A542F2-16B2-CA4B-B517-41841A0589DB}"/>
          </ac:spMkLst>
        </pc:spChg>
        <pc:spChg chg="add mod ord">
          <ac:chgData name="Lamb, Ben" userId="88a6f5f3-f9e5-47eb-a109-670a0c68440d" providerId="ADAL" clId="{306D01AF-A76E-3E4F-A971-A1200024FF94}" dt="2021-04-01T22:00:15.427" v="1910" actId="20577"/>
          <ac:spMkLst>
            <pc:docMk/>
            <pc:sldMk cId="1997701517" sldId="1722"/>
            <ac:spMk id="4" creationId="{3C859B21-3D68-FF40-BEEF-C399A4528C43}"/>
          </ac:spMkLst>
        </pc:spChg>
        <pc:spChg chg="add del mod">
          <ac:chgData name="Lamb, Ben" userId="88a6f5f3-f9e5-47eb-a109-670a0c68440d" providerId="ADAL" clId="{306D01AF-A76E-3E4F-A971-A1200024FF94}" dt="2021-04-01T20:21:03.617" v="255"/>
          <ac:spMkLst>
            <pc:docMk/>
            <pc:sldMk cId="1997701517" sldId="1722"/>
            <ac:spMk id="111" creationId="{A1717D50-8DA3-6E49-BC07-7C2EB9D4D976}"/>
          </ac:spMkLst>
        </pc:spChg>
        <pc:spChg chg="mod">
          <ac:chgData name="Lamb, Ben" userId="88a6f5f3-f9e5-47eb-a109-670a0c68440d" providerId="ADAL" clId="{306D01AF-A76E-3E4F-A971-A1200024FF94}" dt="2021-04-01T20:20:59.178" v="252"/>
          <ac:spMkLst>
            <pc:docMk/>
            <pc:sldMk cId="1997701517" sldId="1722"/>
            <ac:spMk id="156" creationId="{FACF2C66-3D52-4E40-91A3-DBCA92C3C253}"/>
          </ac:spMkLst>
        </pc:spChg>
        <pc:spChg chg="mod">
          <ac:chgData name="Lamb, Ben" userId="88a6f5f3-f9e5-47eb-a109-670a0c68440d" providerId="ADAL" clId="{306D01AF-A76E-3E4F-A971-A1200024FF94}" dt="2021-04-01T20:20:59.178" v="252"/>
          <ac:spMkLst>
            <pc:docMk/>
            <pc:sldMk cId="1997701517" sldId="1722"/>
            <ac:spMk id="157" creationId="{DA70B5FF-05A7-FE43-9BC4-F3C63AF44E11}"/>
          </ac:spMkLst>
        </pc:spChg>
        <pc:spChg chg="mod">
          <ac:chgData name="Lamb, Ben" userId="88a6f5f3-f9e5-47eb-a109-670a0c68440d" providerId="ADAL" clId="{306D01AF-A76E-3E4F-A971-A1200024FF94}" dt="2021-04-01T20:20:59.178" v="252"/>
          <ac:spMkLst>
            <pc:docMk/>
            <pc:sldMk cId="1997701517" sldId="1722"/>
            <ac:spMk id="158" creationId="{66EB8130-98D1-5F4D-A518-4A407C209D8D}"/>
          </ac:spMkLst>
        </pc:spChg>
        <pc:grpChg chg="mod">
          <ac:chgData name="Lamb, Ben" userId="88a6f5f3-f9e5-47eb-a109-670a0c68440d" providerId="ADAL" clId="{306D01AF-A76E-3E4F-A971-A1200024FF94}" dt="2021-04-06T19:12:33.918" v="4277" actId="14100"/>
          <ac:grpSpMkLst>
            <pc:docMk/>
            <pc:sldMk cId="1997701517" sldId="1722"/>
            <ac:grpSpMk id="54" creationId="{AECB0851-EF9D-D248-BAC4-53187CCD9F4C}"/>
          </ac:grpSpMkLst>
        </pc:grpChg>
        <pc:grpChg chg="add del mod">
          <ac:chgData name="Lamb, Ben" userId="88a6f5f3-f9e5-47eb-a109-670a0c68440d" providerId="ADAL" clId="{306D01AF-A76E-3E4F-A971-A1200024FF94}" dt="2021-04-01T20:21:03.617" v="255"/>
          <ac:grpSpMkLst>
            <pc:docMk/>
            <pc:sldMk cId="1997701517" sldId="1722"/>
            <ac:grpSpMk id="118" creationId="{F950D368-1277-414C-899A-51063808887A}"/>
          </ac:grpSpMkLst>
        </pc:grpChg>
        <pc:grpChg chg="mod">
          <ac:chgData name="Lamb, Ben" userId="88a6f5f3-f9e5-47eb-a109-670a0c68440d" providerId="ADAL" clId="{306D01AF-A76E-3E4F-A971-A1200024FF94}" dt="2021-04-01T20:20:59.178" v="252"/>
          <ac:grpSpMkLst>
            <pc:docMk/>
            <pc:sldMk cId="1997701517" sldId="1722"/>
            <ac:grpSpMk id="119" creationId="{4DFD3DF0-321A-1748-9C51-A77B283303C3}"/>
          </ac:grpSpMkLst>
        </pc:grpChg>
      </pc:sldChg>
      <pc:sldChg chg="addSp delSp modSp mod ord">
        <pc:chgData name="Lamb, Ben" userId="88a6f5f3-f9e5-47eb-a109-670a0c68440d" providerId="ADAL" clId="{306D01AF-A76E-3E4F-A971-A1200024FF94}" dt="2021-04-05T18:24:21.341" v="3961" actId="1076"/>
        <pc:sldMkLst>
          <pc:docMk/>
          <pc:sldMk cId="2814166891" sldId="1723"/>
        </pc:sldMkLst>
        <pc:spChg chg="mod">
          <ac:chgData name="Lamb, Ben" userId="88a6f5f3-f9e5-47eb-a109-670a0c68440d" providerId="ADAL" clId="{306D01AF-A76E-3E4F-A971-A1200024FF94}" dt="2021-04-01T20:07:12.046" v="21" actId="404"/>
          <ac:spMkLst>
            <pc:docMk/>
            <pc:sldMk cId="2814166891" sldId="1723"/>
            <ac:spMk id="2" creationId="{E4576F96-D6BB-DD40-AD3C-8C50B0DFF80B}"/>
          </ac:spMkLst>
        </pc:spChg>
        <pc:spChg chg="mod">
          <ac:chgData name="Lamb, Ben" userId="88a6f5f3-f9e5-47eb-a109-670a0c68440d" providerId="ADAL" clId="{306D01AF-A76E-3E4F-A971-A1200024FF94}" dt="2021-04-05T18:22:41.512" v="3852" actId="20577"/>
          <ac:spMkLst>
            <pc:docMk/>
            <pc:sldMk cId="2814166891" sldId="1723"/>
            <ac:spMk id="37" creationId="{9E46C00F-9339-564D-BCB0-E5BA597E6ECD}"/>
          </ac:spMkLst>
        </pc:spChg>
        <pc:spChg chg="mod">
          <ac:chgData name="Lamb, Ben" userId="88a6f5f3-f9e5-47eb-a109-670a0c68440d" providerId="ADAL" clId="{306D01AF-A76E-3E4F-A971-A1200024FF94}" dt="2021-04-05T18:23:14.461" v="3943" actId="20577"/>
          <ac:spMkLst>
            <pc:docMk/>
            <pc:sldMk cId="2814166891" sldId="1723"/>
            <ac:spMk id="38" creationId="{4CD7E2E9-E6F0-D14B-B893-DC793636AFFC}"/>
          </ac:spMkLst>
        </pc:spChg>
        <pc:spChg chg="add mod">
          <ac:chgData name="Lamb, Ben" userId="88a6f5f3-f9e5-47eb-a109-670a0c68440d" providerId="ADAL" clId="{306D01AF-A76E-3E4F-A971-A1200024FF94}" dt="2021-04-01T21:38:03.091" v="1109" actId="1076"/>
          <ac:spMkLst>
            <pc:docMk/>
            <pc:sldMk cId="2814166891" sldId="1723"/>
            <ac:spMk id="41" creationId="{4EDF171B-38D9-F041-A5B7-A1CECF25C60B}"/>
          </ac:spMkLst>
        </pc:spChg>
        <pc:spChg chg="mod">
          <ac:chgData name="Lamb, Ben" userId="88a6f5f3-f9e5-47eb-a109-670a0c68440d" providerId="ADAL" clId="{306D01AF-A76E-3E4F-A971-A1200024FF94}" dt="2021-04-01T21:35:09.881" v="834" actId="20577"/>
          <ac:spMkLst>
            <pc:docMk/>
            <pc:sldMk cId="2814166891" sldId="1723"/>
            <ac:spMk id="59" creationId="{75DAEA0A-19CE-BC45-890C-755D8C94A926}"/>
          </ac:spMkLst>
        </pc:spChg>
        <pc:spChg chg="mod">
          <ac:chgData name="Lamb, Ben" userId="88a6f5f3-f9e5-47eb-a109-670a0c68440d" providerId="ADAL" clId="{306D01AF-A76E-3E4F-A971-A1200024FF94}" dt="2021-04-01T21:34:42.918" v="822" actId="20577"/>
          <ac:spMkLst>
            <pc:docMk/>
            <pc:sldMk cId="2814166891" sldId="1723"/>
            <ac:spMk id="60" creationId="{AFF67307-9D25-A648-A6AE-F4AC6B54EFE9}"/>
          </ac:spMkLst>
        </pc:spChg>
        <pc:spChg chg="mod">
          <ac:chgData name="Lamb, Ben" userId="88a6f5f3-f9e5-47eb-a109-670a0c68440d" providerId="ADAL" clId="{306D01AF-A76E-3E4F-A971-A1200024FF94}" dt="2021-04-01T21:35:20.016" v="855" actId="20577"/>
          <ac:spMkLst>
            <pc:docMk/>
            <pc:sldMk cId="2814166891" sldId="1723"/>
            <ac:spMk id="62" creationId="{03119B0F-B2AA-1249-B949-F745D43202C6}"/>
          </ac:spMkLst>
        </pc:spChg>
        <pc:spChg chg="mod">
          <ac:chgData name="Lamb, Ben" userId="88a6f5f3-f9e5-47eb-a109-670a0c68440d" providerId="ADAL" clId="{306D01AF-A76E-3E4F-A971-A1200024FF94}" dt="2021-04-01T21:38:52.497" v="1223" actId="20577"/>
          <ac:spMkLst>
            <pc:docMk/>
            <pc:sldMk cId="2814166891" sldId="1723"/>
            <ac:spMk id="63" creationId="{0C49699B-84E3-DB44-926C-D25F59305FA2}"/>
          </ac:spMkLst>
        </pc:spChg>
        <pc:spChg chg="mod">
          <ac:chgData name="Lamb, Ben" userId="88a6f5f3-f9e5-47eb-a109-670a0c68440d" providerId="ADAL" clId="{306D01AF-A76E-3E4F-A971-A1200024FF94}" dt="2021-04-01T21:36:02.521" v="1023" actId="20577"/>
          <ac:spMkLst>
            <pc:docMk/>
            <pc:sldMk cId="2814166891" sldId="1723"/>
            <ac:spMk id="69" creationId="{8AA5858D-DD07-4948-963A-4D0AEFAEABFC}"/>
          </ac:spMkLst>
        </pc:spChg>
        <pc:spChg chg="mod">
          <ac:chgData name="Lamb, Ben" userId="88a6f5f3-f9e5-47eb-a109-670a0c68440d" providerId="ADAL" clId="{306D01AF-A76E-3E4F-A971-A1200024FF94}" dt="2021-04-01T21:38:03.091" v="1109" actId="1076"/>
          <ac:spMkLst>
            <pc:docMk/>
            <pc:sldMk cId="2814166891" sldId="1723"/>
            <ac:spMk id="109" creationId="{DD8DC9A8-38DD-C44B-8E9D-BBBDCB2640BC}"/>
          </ac:spMkLst>
        </pc:spChg>
        <pc:spChg chg="del">
          <ac:chgData name="Lamb, Ben" userId="88a6f5f3-f9e5-47eb-a109-670a0c68440d" providerId="ADAL" clId="{306D01AF-A76E-3E4F-A971-A1200024FF94}" dt="2021-04-01T21:37:57.288" v="1108" actId="478"/>
          <ac:spMkLst>
            <pc:docMk/>
            <pc:sldMk cId="2814166891" sldId="1723"/>
            <ac:spMk id="111" creationId="{2C480DD2-E10C-3446-A8FA-E0B681F8E265}"/>
          </ac:spMkLst>
        </pc:spChg>
        <pc:spChg chg="mod">
          <ac:chgData name="Lamb, Ben" userId="88a6f5f3-f9e5-47eb-a109-670a0c68440d" providerId="ADAL" clId="{306D01AF-A76E-3E4F-A971-A1200024FF94}" dt="2021-04-05T18:24:13.323" v="3959" actId="20577"/>
          <ac:spMkLst>
            <pc:docMk/>
            <pc:sldMk cId="2814166891" sldId="1723"/>
            <ac:spMk id="119" creationId="{5EABD445-F9E8-204C-8735-EEFB3690E75D}"/>
          </ac:spMkLst>
        </pc:spChg>
        <pc:grpChg chg="add mod">
          <ac:chgData name="Lamb, Ben" userId="88a6f5f3-f9e5-47eb-a109-670a0c68440d" providerId="ADAL" clId="{306D01AF-A76E-3E4F-A971-A1200024FF94}" dt="2021-04-05T18:24:21.341" v="3961" actId="1076"/>
          <ac:grpSpMkLst>
            <pc:docMk/>
            <pc:sldMk cId="2814166891" sldId="1723"/>
            <ac:grpSpMk id="36" creationId="{97D75130-A419-D14E-B6F0-53D6EC9777AF}"/>
          </ac:grpSpMkLst>
        </pc:grpChg>
        <pc:grpChg chg="del">
          <ac:chgData name="Lamb, Ben" userId="88a6f5f3-f9e5-47eb-a109-670a0c68440d" providerId="ADAL" clId="{306D01AF-A76E-3E4F-A971-A1200024FF94}" dt="2021-04-01T21:34:57.922" v="823" actId="478"/>
          <ac:grpSpMkLst>
            <pc:docMk/>
            <pc:sldMk cId="2814166891" sldId="1723"/>
            <ac:grpSpMk id="48" creationId="{BAA49E14-2961-DD4E-9D94-526C9BDB2AF9}"/>
          </ac:grpSpMkLst>
        </pc:grpChg>
        <pc:grpChg chg="del">
          <ac:chgData name="Lamb, Ben" userId="88a6f5f3-f9e5-47eb-a109-670a0c68440d" providerId="ADAL" clId="{306D01AF-A76E-3E4F-A971-A1200024FF94}" dt="2021-04-01T21:35:00.201" v="824" actId="478"/>
          <ac:grpSpMkLst>
            <pc:docMk/>
            <pc:sldMk cId="2814166891" sldId="1723"/>
            <ac:grpSpMk id="54" creationId="{AECB0851-EF9D-D248-BAC4-53187CCD9F4C}"/>
          </ac:grpSpMkLst>
        </pc:grpChg>
        <pc:grpChg chg="mod">
          <ac:chgData name="Lamb, Ben" userId="88a6f5f3-f9e5-47eb-a109-670a0c68440d" providerId="ADAL" clId="{306D01AF-A76E-3E4F-A971-A1200024FF94}" dt="2021-04-01T21:35:46.232" v="978" actId="1076"/>
          <ac:grpSpMkLst>
            <pc:docMk/>
            <pc:sldMk cId="2814166891" sldId="1723"/>
            <ac:grpSpMk id="64" creationId="{387D7E53-35FE-434B-B7E5-7C36F414E999}"/>
          </ac:grpSpMkLst>
        </pc:grpChg>
      </pc:sldChg>
      <pc:sldChg chg="modSp mod">
        <pc:chgData name="Lamb, Ben" userId="88a6f5f3-f9e5-47eb-a109-670a0c68440d" providerId="ADAL" clId="{306D01AF-A76E-3E4F-A971-A1200024FF94}" dt="2021-04-07T00:36:32.876" v="6998" actId="20577"/>
        <pc:sldMkLst>
          <pc:docMk/>
          <pc:sldMk cId="581404038" sldId="1724"/>
        </pc:sldMkLst>
        <pc:spChg chg="mod">
          <ac:chgData name="Lamb, Ben" userId="88a6f5f3-f9e5-47eb-a109-670a0c68440d" providerId="ADAL" clId="{306D01AF-A76E-3E4F-A971-A1200024FF94}" dt="2021-04-07T00:36:32.876" v="6998" actId="20577"/>
          <ac:spMkLst>
            <pc:docMk/>
            <pc:sldMk cId="581404038" sldId="1724"/>
            <ac:spMk id="8" creationId="{C3C178AD-02A1-4942-8024-FBC4657A120C}"/>
          </ac:spMkLst>
        </pc:spChg>
      </pc:sldChg>
      <pc:sldChg chg="addSp delSp modSp mod ord modClrScheme chgLayout">
        <pc:chgData name="Lamb, Ben" userId="88a6f5f3-f9e5-47eb-a109-670a0c68440d" providerId="ADAL" clId="{306D01AF-A76E-3E4F-A971-A1200024FF94}" dt="2021-04-06T20:43:01.553" v="5326" actId="14100"/>
        <pc:sldMkLst>
          <pc:docMk/>
          <pc:sldMk cId="1307733305" sldId="1726"/>
        </pc:sldMkLst>
        <pc:spChg chg="mod ord">
          <ac:chgData name="Lamb, Ben" userId="88a6f5f3-f9e5-47eb-a109-670a0c68440d" providerId="ADAL" clId="{306D01AF-A76E-3E4F-A971-A1200024FF94}" dt="2021-04-01T22:55:35.149" v="3385" actId="1076"/>
          <ac:spMkLst>
            <pc:docMk/>
            <pc:sldMk cId="1307733305" sldId="1726"/>
            <ac:spMk id="2" creationId="{6803BF32-346D-D848-BCA0-2E76713755FF}"/>
          </ac:spMkLst>
        </pc:spChg>
        <pc:spChg chg="add del mod ord">
          <ac:chgData name="Lamb, Ben" userId="88a6f5f3-f9e5-47eb-a109-670a0c68440d" providerId="ADAL" clId="{306D01AF-A76E-3E4F-A971-A1200024FF94}" dt="2021-04-01T22:55:27.922" v="3384" actId="700"/>
          <ac:spMkLst>
            <pc:docMk/>
            <pc:sldMk cId="1307733305" sldId="1726"/>
            <ac:spMk id="3" creationId="{B1F7EA1F-6B12-8545-B56A-DF4E5787EF12}"/>
          </ac:spMkLst>
        </pc:spChg>
        <pc:spChg chg="add del mod ord">
          <ac:chgData name="Lamb, Ben" userId="88a6f5f3-f9e5-47eb-a109-670a0c68440d" providerId="ADAL" clId="{306D01AF-A76E-3E4F-A971-A1200024FF94}" dt="2021-04-01T22:55:27.922" v="3384" actId="700"/>
          <ac:spMkLst>
            <pc:docMk/>
            <pc:sldMk cId="1307733305" sldId="1726"/>
            <ac:spMk id="4" creationId="{20512DDF-81E9-7746-8370-4A0E26961FD3}"/>
          </ac:spMkLst>
        </pc:spChg>
        <pc:spChg chg="add mod">
          <ac:chgData name="Lamb, Ben" userId="88a6f5f3-f9e5-47eb-a109-670a0c68440d" providerId="ADAL" clId="{306D01AF-A76E-3E4F-A971-A1200024FF94}" dt="2021-04-01T22:57:18.538" v="3504" actId="1076"/>
          <ac:spMkLst>
            <pc:docMk/>
            <pc:sldMk cId="1307733305" sldId="1726"/>
            <ac:spMk id="5" creationId="{34113968-BF0F-D24F-9EE2-E31507BCD693}"/>
          </ac:spMkLst>
        </pc:spChg>
        <pc:spChg chg="mod">
          <ac:chgData name="Lamb, Ben" userId="88a6f5f3-f9e5-47eb-a109-670a0c68440d" providerId="ADAL" clId="{306D01AF-A76E-3E4F-A971-A1200024FF94}" dt="2021-04-01T22:55:01.562" v="3382" actId="1076"/>
          <ac:spMkLst>
            <pc:docMk/>
            <pc:sldMk cId="1307733305" sldId="1726"/>
            <ac:spMk id="37" creationId="{DD1B831F-33DC-734F-A585-F0E1967365DF}"/>
          </ac:spMkLst>
        </pc:spChg>
        <pc:spChg chg="mod">
          <ac:chgData name="Lamb, Ben" userId="88a6f5f3-f9e5-47eb-a109-670a0c68440d" providerId="ADAL" clId="{306D01AF-A76E-3E4F-A971-A1200024FF94}" dt="2021-04-01T22:55:01.562" v="3382" actId="1076"/>
          <ac:spMkLst>
            <pc:docMk/>
            <pc:sldMk cId="1307733305" sldId="1726"/>
            <ac:spMk id="38" creationId="{05632F35-8B59-8140-B651-8565E2392470}"/>
          </ac:spMkLst>
        </pc:spChg>
        <pc:spChg chg="mod">
          <ac:chgData name="Lamb, Ben" userId="88a6f5f3-f9e5-47eb-a109-670a0c68440d" providerId="ADAL" clId="{306D01AF-A76E-3E4F-A971-A1200024FF94}" dt="2021-04-01T22:55:01.562" v="3382" actId="1076"/>
          <ac:spMkLst>
            <pc:docMk/>
            <pc:sldMk cId="1307733305" sldId="1726"/>
            <ac:spMk id="42" creationId="{4025E3F6-FC87-D64A-8D31-EBA48BFCCD26}"/>
          </ac:spMkLst>
        </pc:spChg>
        <pc:spChg chg="mod">
          <ac:chgData name="Lamb, Ben" userId="88a6f5f3-f9e5-47eb-a109-670a0c68440d" providerId="ADAL" clId="{306D01AF-A76E-3E4F-A971-A1200024FF94}" dt="2021-04-01T22:55:01.562" v="3382" actId="1076"/>
          <ac:spMkLst>
            <pc:docMk/>
            <pc:sldMk cId="1307733305" sldId="1726"/>
            <ac:spMk id="43" creationId="{AB89DE2C-954E-C54A-A829-04E6448EEF89}"/>
          </ac:spMkLst>
        </pc:spChg>
        <pc:spChg chg="mod">
          <ac:chgData name="Lamb, Ben" userId="88a6f5f3-f9e5-47eb-a109-670a0c68440d" providerId="ADAL" clId="{306D01AF-A76E-3E4F-A971-A1200024FF94}" dt="2021-04-01T22:55:01.562" v="3382" actId="1076"/>
          <ac:spMkLst>
            <pc:docMk/>
            <pc:sldMk cId="1307733305" sldId="1726"/>
            <ac:spMk id="44" creationId="{6B719D6D-E85C-C449-A648-B1FCC35551E8}"/>
          </ac:spMkLst>
        </pc:spChg>
        <pc:spChg chg="mod">
          <ac:chgData name="Lamb, Ben" userId="88a6f5f3-f9e5-47eb-a109-670a0c68440d" providerId="ADAL" clId="{306D01AF-A76E-3E4F-A971-A1200024FF94}" dt="2021-04-01T22:55:01.562" v="3382" actId="1076"/>
          <ac:spMkLst>
            <pc:docMk/>
            <pc:sldMk cId="1307733305" sldId="1726"/>
            <ac:spMk id="45" creationId="{47FAF30C-0DAD-2744-BF06-C3C3D1DC3046}"/>
          </ac:spMkLst>
        </pc:spChg>
        <pc:spChg chg="mod">
          <ac:chgData name="Lamb, Ben" userId="88a6f5f3-f9e5-47eb-a109-670a0c68440d" providerId="ADAL" clId="{306D01AF-A76E-3E4F-A971-A1200024FF94}" dt="2021-04-01T22:55:01.562" v="3382" actId="1076"/>
          <ac:spMkLst>
            <pc:docMk/>
            <pc:sldMk cId="1307733305" sldId="1726"/>
            <ac:spMk id="46" creationId="{09616488-B681-9743-BDAC-8C94AEE6A7E2}"/>
          </ac:spMkLst>
        </pc:spChg>
        <pc:spChg chg="mod">
          <ac:chgData name="Lamb, Ben" userId="88a6f5f3-f9e5-47eb-a109-670a0c68440d" providerId="ADAL" clId="{306D01AF-A76E-3E4F-A971-A1200024FF94}" dt="2021-04-01T22:55:01.562" v="3382" actId="1076"/>
          <ac:spMkLst>
            <pc:docMk/>
            <pc:sldMk cId="1307733305" sldId="1726"/>
            <ac:spMk id="47" creationId="{E3D0CCCF-549B-E54F-B211-1D00217A6C66}"/>
          </ac:spMkLst>
        </pc:spChg>
        <pc:spChg chg="mod">
          <ac:chgData name="Lamb, Ben" userId="88a6f5f3-f9e5-47eb-a109-670a0c68440d" providerId="ADAL" clId="{306D01AF-A76E-3E4F-A971-A1200024FF94}" dt="2021-04-01T22:55:01.562" v="3382" actId="1076"/>
          <ac:spMkLst>
            <pc:docMk/>
            <pc:sldMk cId="1307733305" sldId="1726"/>
            <ac:spMk id="50" creationId="{15E284C3-CF77-8044-A7AE-93B55E9C1B0E}"/>
          </ac:spMkLst>
        </pc:spChg>
        <pc:spChg chg="mod">
          <ac:chgData name="Lamb, Ben" userId="88a6f5f3-f9e5-47eb-a109-670a0c68440d" providerId="ADAL" clId="{306D01AF-A76E-3E4F-A971-A1200024FF94}" dt="2021-04-01T22:55:01.562" v="3382" actId="1076"/>
          <ac:spMkLst>
            <pc:docMk/>
            <pc:sldMk cId="1307733305" sldId="1726"/>
            <ac:spMk id="55" creationId="{36D57EA2-AB3A-9D4C-AD0E-0E49617A1144}"/>
          </ac:spMkLst>
        </pc:spChg>
        <pc:spChg chg="mod">
          <ac:chgData name="Lamb, Ben" userId="88a6f5f3-f9e5-47eb-a109-670a0c68440d" providerId="ADAL" clId="{306D01AF-A76E-3E4F-A971-A1200024FF94}" dt="2021-04-01T22:55:01.562" v="3382" actId="1076"/>
          <ac:spMkLst>
            <pc:docMk/>
            <pc:sldMk cId="1307733305" sldId="1726"/>
            <ac:spMk id="56" creationId="{C45B0F60-4814-0849-A486-0E8AD2C9005C}"/>
          </ac:spMkLst>
        </pc:spChg>
        <pc:spChg chg="mod">
          <ac:chgData name="Lamb, Ben" userId="88a6f5f3-f9e5-47eb-a109-670a0c68440d" providerId="ADAL" clId="{306D01AF-A76E-3E4F-A971-A1200024FF94}" dt="2021-04-01T22:55:01.562" v="3382" actId="1076"/>
          <ac:spMkLst>
            <pc:docMk/>
            <pc:sldMk cId="1307733305" sldId="1726"/>
            <ac:spMk id="154" creationId="{FEAA033F-97AF-C24B-9486-72AAED5EA9B5}"/>
          </ac:spMkLst>
        </pc:spChg>
        <pc:spChg chg="mod">
          <ac:chgData name="Lamb, Ben" userId="88a6f5f3-f9e5-47eb-a109-670a0c68440d" providerId="ADAL" clId="{306D01AF-A76E-3E4F-A971-A1200024FF94}" dt="2021-04-01T22:55:01.562" v="3382" actId="1076"/>
          <ac:spMkLst>
            <pc:docMk/>
            <pc:sldMk cId="1307733305" sldId="1726"/>
            <ac:spMk id="161" creationId="{25F0FAA6-E4F8-2F4D-9900-448E9F1A9B91}"/>
          </ac:spMkLst>
        </pc:spChg>
        <pc:spChg chg="mod">
          <ac:chgData name="Lamb, Ben" userId="88a6f5f3-f9e5-47eb-a109-670a0c68440d" providerId="ADAL" clId="{306D01AF-A76E-3E4F-A971-A1200024FF94}" dt="2021-04-01T22:55:01.562" v="3382" actId="1076"/>
          <ac:spMkLst>
            <pc:docMk/>
            <pc:sldMk cId="1307733305" sldId="1726"/>
            <ac:spMk id="165" creationId="{1C29EA82-5F9C-2D45-9366-AE761B4CF763}"/>
          </ac:spMkLst>
        </pc:spChg>
        <pc:spChg chg="mod">
          <ac:chgData name="Lamb, Ben" userId="88a6f5f3-f9e5-47eb-a109-670a0c68440d" providerId="ADAL" clId="{306D01AF-A76E-3E4F-A971-A1200024FF94}" dt="2021-04-01T22:55:01.562" v="3382" actId="1076"/>
          <ac:spMkLst>
            <pc:docMk/>
            <pc:sldMk cId="1307733305" sldId="1726"/>
            <ac:spMk id="176" creationId="{BD13314A-E24B-BB4B-A3B6-7C9C0D4A7567}"/>
          </ac:spMkLst>
        </pc:spChg>
        <pc:spChg chg="mod">
          <ac:chgData name="Lamb, Ben" userId="88a6f5f3-f9e5-47eb-a109-670a0c68440d" providerId="ADAL" clId="{306D01AF-A76E-3E4F-A971-A1200024FF94}" dt="2021-04-01T22:55:01.562" v="3382" actId="1076"/>
          <ac:spMkLst>
            <pc:docMk/>
            <pc:sldMk cId="1307733305" sldId="1726"/>
            <ac:spMk id="191" creationId="{D7CA0763-DBB1-4740-B7A1-C7BC584F9081}"/>
          </ac:spMkLst>
        </pc:spChg>
        <pc:spChg chg="mod">
          <ac:chgData name="Lamb, Ben" userId="88a6f5f3-f9e5-47eb-a109-670a0c68440d" providerId="ADAL" clId="{306D01AF-A76E-3E4F-A971-A1200024FF94}" dt="2021-04-01T22:55:01.562" v="3382" actId="1076"/>
          <ac:spMkLst>
            <pc:docMk/>
            <pc:sldMk cId="1307733305" sldId="1726"/>
            <ac:spMk id="194" creationId="{20083D4D-BB55-0140-9E31-31B105D278F0}"/>
          </ac:spMkLst>
        </pc:spChg>
        <pc:spChg chg="mod">
          <ac:chgData name="Lamb, Ben" userId="88a6f5f3-f9e5-47eb-a109-670a0c68440d" providerId="ADAL" clId="{306D01AF-A76E-3E4F-A971-A1200024FF94}" dt="2021-04-01T22:55:01.562" v="3382" actId="1076"/>
          <ac:spMkLst>
            <pc:docMk/>
            <pc:sldMk cId="1307733305" sldId="1726"/>
            <ac:spMk id="211" creationId="{C35093F1-08D0-A940-8646-8A82221F05B9}"/>
          </ac:spMkLst>
        </pc:spChg>
        <pc:spChg chg="mod">
          <ac:chgData name="Lamb, Ben" userId="88a6f5f3-f9e5-47eb-a109-670a0c68440d" providerId="ADAL" clId="{306D01AF-A76E-3E4F-A971-A1200024FF94}" dt="2021-04-01T22:55:01.562" v="3382" actId="1076"/>
          <ac:spMkLst>
            <pc:docMk/>
            <pc:sldMk cId="1307733305" sldId="1726"/>
            <ac:spMk id="226" creationId="{167CEDE2-D35C-1C43-9EC2-DCF544A336E9}"/>
          </ac:spMkLst>
        </pc:spChg>
        <pc:grpChg chg="mod">
          <ac:chgData name="Lamb, Ben" userId="88a6f5f3-f9e5-47eb-a109-670a0c68440d" providerId="ADAL" clId="{306D01AF-A76E-3E4F-A971-A1200024FF94}" dt="2021-04-01T22:55:01.562" v="3382" actId="1076"/>
          <ac:grpSpMkLst>
            <pc:docMk/>
            <pc:sldMk cId="1307733305" sldId="1726"/>
            <ac:grpSpMk id="26" creationId="{73EB0A19-1DA8-3B47-BAA6-7E1DFD11CEE1}"/>
          </ac:grpSpMkLst>
        </pc:grpChg>
        <pc:grpChg chg="mod">
          <ac:chgData name="Lamb, Ben" userId="88a6f5f3-f9e5-47eb-a109-670a0c68440d" providerId="ADAL" clId="{306D01AF-A76E-3E4F-A971-A1200024FF94}" dt="2021-04-01T22:55:01.562" v="3382" actId="1076"/>
          <ac:grpSpMkLst>
            <pc:docMk/>
            <pc:sldMk cId="1307733305" sldId="1726"/>
            <ac:grpSpMk id="67" creationId="{5ED0A49D-42DC-0A48-AA89-0D1DB0269882}"/>
          </ac:grpSpMkLst>
        </pc:grpChg>
        <pc:grpChg chg="mod">
          <ac:chgData name="Lamb, Ben" userId="88a6f5f3-f9e5-47eb-a109-670a0c68440d" providerId="ADAL" clId="{306D01AF-A76E-3E4F-A971-A1200024FF94}" dt="2021-04-01T22:55:01.562" v="3382" actId="1076"/>
          <ac:grpSpMkLst>
            <pc:docMk/>
            <pc:sldMk cId="1307733305" sldId="1726"/>
            <ac:grpSpMk id="81" creationId="{DED0CF62-2826-7E49-AB48-F245025ADEB5}"/>
          </ac:grpSpMkLst>
        </pc:grpChg>
        <pc:grpChg chg="mod">
          <ac:chgData name="Lamb, Ben" userId="88a6f5f3-f9e5-47eb-a109-670a0c68440d" providerId="ADAL" clId="{306D01AF-A76E-3E4F-A971-A1200024FF94}" dt="2021-04-01T22:55:01.562" v="3382" actId="1076"/>
          <ac:grpSpMkLst>
            <pc:docMk/>
            <pc:sldMk cId="1307733305" sldId="1726"/>
            <ac:grpSpMk id="93" creationId="{E7507E48-1EC6-A74E-B5B3-D51BE79E95E3}"/>
          </ac:grpSpMkLst>
        </pc:grpChg>
        <pc:grpChg chg="mod">
          <ac:chgData name="Lamb, Ben" userId="88a6f5f3-f9e5-47eb-a109-670a0c68440d" providerId="ADAL" clId="{306D01AF-A76E-3E4F-A971-A1200024FF94}" dt="2021-04-01T22:55:01.562" v="3382" actId="1076"/>
          <ac:grpSpMkLst>
            <pc:docMk/>
            <pc:sldMk cId="1307733305" sldId="1726"/>
            <ac:grpSpMk id="100" creationId="{8B75060A-E87F-3349-86A0-8FB90B41FBC4}"/>
          </ac:grpSpMkLst>
        </pc:grpChg>
        <pc:grpChg chg="mod">
          <ac:chgData name="Lamb, Ben" userId="88a6f5f3-f9e5-47eb-a109-670a0c68440d" providerId="ADAL" clId="{306D01AF-A76E-3E4F-A971-A1200024FF94}" dt="2021-04-01T22:55:01.562" v="3382" actId="1076"/>
          <ac:grpSpMkLst>
            <pc:docMk/>
            <pc:sldMk cId="1307733305" sldId="1726"/>
            <ac:grpSpMk id="105" creationId="{5CF63120-9331-9748-9F53-01393A49E892}"/>
          </ac:grpSpMkLst>
        </pc:grpChg>
        <pc:grpChg chg="mod">
          <ac:chgData name="Lamb, Ben" userId="88a6f5f3-f9e5-47eb-a109-670a0c68440d" providerId="ADAL" clId="{306D01AF-A76E-3E4F-A971-A1200024FF94}" dt="2021-04-01T22:55:01.562" v="3382" actId="1076"/>
          <ac:grpSpMkLst>
            <pc:docMk/>
            <pc:sldMk cId="1307733305" sldId="1726"/>
            <ac:grpSpMk id="108" creationId="{DD65EA6E-9A48-8747-AF29-D8865EAE00E9}"/>
          </ac:grpSpMkLst>
        </pc:grpChg>
        <pc:grpChg chg="mod">
          <ac:chgData name="Lamb, Ben" userId="88a6f5f3-f9e5-47eb-a109-670a0c68440d" providerId="ADAL" clId="{306D01AF-A76E-3E4F-A971-A1200024FF94}" dt="2021-04-01T22:55:01.562" v="3382" actId="1076"/>
          <ac:grpSpMkLst>
            <pc:docMk/>
            <pc:sldMk cId="1307733305" sldId="1726"/>
            <ac:grpSpMk id="119" creationId="{4B185742-4F7E-BF4A-A1F9-1AA7B384C75B}"/>
          </ac:grpSpMkLst>
        </pc:grpChg>
        <pc:grpChg chg="mod">
          <ac:chgData name="Lamb, Ben" userId="88a6f5f3-f9e5-47eb-a109-670a0c68440d" providerId="ADAL" clId="{306D01AF-A76E-3E4F-A971-A1200024FF94}" dt="2021-04-01T22:55:01.562" v="3382" actId="1076"/>
          <ac:grpSpMkLst>
            <pc:docMk/>
            <pc:sldMk cId="1307733305" sldId="1726"/>
            <ac:grpSpMk id="124" creationId="{B4BC7B9B-D860-A343-874B-31608FD30EED}"/>
          </ac:grpSpMkLst>
        </pc:grpChg>
        <pc:grpChg chg="mod">
          <ac:chgData name="Lamb, Ben" userId="88a6f5f3-f9e5-47eb-a109-670a0c68440d" providerId="ADAL" clId="{306D01AF-A76E-3E4F-A971-A1200024FF94}" dt="2021-04-01T22:55:01.562" v="3382" actId="1076"/>
          <ac:grpSpMkLst>
            <pc:docMk/>
            <pc:sldMk cId="1307733305" sldId="1726"/>
            <ac:grpSpMk id="129" creationId="{A21283D3-2155-234A-A79C-3E23162EDF17}"/>
          </ac:grpSpMkLst>
        </pc:grpChg>
        <pc:grpChg chg="mod">
          <ac:chgData name="Lamb, Ben" userId="88a6f5f3-f9e5-47eb-a109-670a0c68440d" providerId="ADAL" clId="{306D01AF-A76E-3E4F-A971-A1200024FF94}" dt="2021-04-01T22:55:01.562" v="3382" actId="1076"/>
          <ac:grpSpMkLst>
            <pc:docMk/>
            <pc:sldMk cId="1307733305" sldId="1726"/>
            <ac:grpSpMk id="133" creationId="{74A29BA1-ED13-D147-8441-36CC459CD731}"/>
          </ac:grpSpMkLst>
        </pc:grpChg>
        <pc:grpChg chg="mod">
          <ac:chgData name="Lamb, Ben" userId="88a6f5f3-f9e5-47eb-a109-670a0c68440d" providerId="ADAL" clId="{306D01AF-A76E-3E4F-A971-A1200024FF94}" dt="2021-04-01T22:55:01.562" v="3382" actId="1076"/>
          <ac:grpSpMkLst>
            <pc:docMk/>
            <pc:sldMk cId="1307733305" sldId="1726"/>
            <ac:grpSpMk id="144" creationId="{AE441116-8A64-D349-958E-10648E0929EB}"/>
          </ac:grpSpMkLst>
        </pc:grpChg>
        <pc:grpChg chg="mod">
          <ac:chgData name="Lamb, Ben" userId="88a6f5f3-f9e5-47eb-a109-670a0c68440d" providerId="ADAL" clId="{306D01AF-A76E-3E4F-A971-A1200024FF94}" dt="2021-04-01T22:55:01.562" v="3382" actId="1076"/>
          <ac:grpSpMkLst>
            <pc:docMk/>
            <pc:sldMk cId="1307733305" sldId="1726"/>
            <ac:grpSpMk id="162" creationId="{7EC07CFA-8AC7-E548-B14B-CD5A92CBCD41}"/>
          </ac:grpSpMkLst>
        </pc:grpChg>
        <pc:grpChg chg="mod">
          <ac:chgData name="Lamb, Ben" userId="88a6f5f3-f9e5-47eb-a109-670a0c68440d" providerId="ADAL" clId="{306D01AF-A76E-3E4F-A971-A1200024FF94}" dt="2021-04-01T22:55:01.562" v="3382" actId="1076"/>
          <ac:grpSpMkLst>
            <pc:docMk/>
            <pc:sldMk cId="1307733305" sldId="1726"/>
            <ac:grpSpMk id="166" creationId="{75BC4FDF-57B9-C34B-B3A5-3B2DA239FD0D}"/>
          </ac:grpSpMkLst>
        </pc:grpChg>
        <pc:grpChg chg="mod">
          <ac:chgData name="Lamb, Ben" userId="88a6f5f3-f9e5-47eb-a109-670a0c68440d" providerId="ADAL" clId="{306D01AF-A76E-3E4F-A971-A1200024FF94}" dt="2021-04-01T22:55:01.562" v="3382" actId="1076"/>
          <ac:grpSpMkLst>
            <pc:docMk/>
            <pc:sldMk cId="1307733305" sldId="1726"/>
            <ac:grpSpMk id="169" creationId="{5669BC2D-019B-3347-8D69-0E728BA66970}"/>
          </ac:grpSpMkLst>
        </pc:grpChg>
        <pc:grpChg chg="mod">
          <ac:chgData name="Lamb, Ben" userId="88a6f5f3-f9e5-47eb-a109-670a0c68440d" providerId="ADAL" clId="{306D01AF-A76E-3E4F-A971-A1200024FF94}" dt="2021-04-01T22:55:01.562" v="3382" actId="1076"/>
          <ac:grpSpMkLst>
            <pc:docMk/>
            <pc:sldMk cId="1307733305" sldId="1726"/>
            <ac:grpSpMk id="195" creationId="{C43B5FFD-29E5-A848-A6B6-C250136945CF}"/>
          </ac:grpSpMkLst>
        </pc:grpChg>
        <pc:grpChg chg="mod">
          <ac:chgData name="Lamb, Ben" userId="88a6f5f3-f9e5-47eb-a109-670a0c68440d" providerId="ADAL" clId="{306D01AF-A76E-3E4F-A971-A1200024FF94}" dt="2021-04-01T22:55:01.562" v="3382" actId="1076"/>
          <ac:grpSpMkLst>
            <pc:docMk/>
            <pc:sldMk cId="1307733305" sldId="1726"/>
            <ac:grpSpMk id="206" creationId="{3162A3F2-A9D3-8846-8F77-4719E7D500D6}"/>
          </ac:grpSpMkLst>
        </pc:grpChg>
        <pc:grpChg chg="mod">
          <ac:chgData name="Lamb, Ben" userId="88a6f5f3-f9e5-47eb-a109-670a0c68440d" providerId="ADAL" clId="{306D01AF-A76E-3E4F-A971-A1200024FF94}" dt="2021-04-06T20:42:50.215" v="5324" actId="1076"/>
          <ac:grpSpMkLst>
            <pc:docMk/>
            <pc:sldMk cId="1307733305" sldId="1726"/>
            <ac:grpSpMk id="217" creationId="{0BD10D0E-3A96-F647-96AA-29093CAD9B9A}"/>
          </ac:grpSpMkLst>
        </pc:grpChg>
        <pc:grpChg chg="mod">
          <ac:chgData name="Lamb, Ben" userId="88a6f5f3-f9e5-47eb-a109-670a0c68440d" providerId="ADAL" clId="{306D01AF-A76E-3E4F-A971-A1200024FF94}" dt="2021-04-01T22:55:01.562" v="3382" actId="1076"/>
          <ac:grpSpMkLst>
            <pc:docMk/>
            <pc:sldMk cId="1307733305" sldId="1726"/>
            <ac:grpSpMk id="221" creationId="{DC9C27C1-05A1-E545-A354-99BD96C6B8EF}"/>
          </ac:grpSpMkLst>
        </pc:grpChg>
        <pc:cxnChg chg="mod">
          <ac:chgData name="Lamb, Ben" userId="88a6f5f3-f9e5-47eb-a109-670a0c68440d" providerId="ADAL" clId="{306D01AF-A76E-3E4F-A971-A1200024FF94}" dt="2021-04-01T22:55:01.562" v="3382" actId="1076"/>
          <ac:cxnSpMkLst>
            <pc:docMk/>
            <pc:sldMk cId="1307733305" sldId="1726"/>
            <ac:cxnSpMk id="39" creationId="{F00F5ECB-AAE7-1849-87EF-D0E66D1EF98E}"/>
          </ac:cxnSpMkLst>
        </pc:cxnChg>
        <pc:cxnChg chg="mod">
          <ac:chgData name="Lamb, Ben" userId="88a6f5f3-f9e5-47eb-a109-670a0c68440d" providerId="ADAL" clId="{306D01AF-A76E-3E4F-A971-A1200024FF94}" dt="2021-04-06T20:43:01.553" v="5326" actId="14100"/>
          <ac:cxnSpMkLst>
            <pc:docMk/>
            <pc:sldMk cId="1307733305" sldId="1726"/>
            <ac:cxnSpMk id="40" creationId="{EC6536AC-6994-D54A-A083-FDC11AEFBA6C}"/>
          </ac:cxnSpMkLst>
        </pc:cxnChg>
        <pc:cxnChg chg="mod">
          <ac:chgData name="Lamb, Ben" userId="88a6f5f3-f9e5-47eb-a109-670a0c68440d" providerId="ADAL" clId="{306D01AF-A76E-3E4F-A971-A1200024FF94}" dt="2021-04-01T22:55:01.562" v="3382" actId="1076"/>
          <ac:cxnSpMkLst>
            <pc:docMk/>
            <pc:sldMk cId="1307733305" sldId="1726"/>
            <ac:cxnSpMk id="41" creationId="{1197DAEB-AB4F-CA40-95E5-439722894C4C}"/>
          </ac:cxnSpMkLst>
        </pc:cxnChg>
        <pc:cxnChg chg="mod">
          <ac:chgData name="Lamb, Ben" userId="88a6f5f3-f9e5-47eb-a109-670a0c68440d" providerId="ADAL" clId="{306D01AF-A76E-3E4F-A971-A1200024FF94}" dt="2021-04-01T22:55:01.562" v="3382" actId="1076"/>
          <ac:cxnSpMkLst>
            <pc:docMk/>
            <pc:sldMk cId="1307733305" sldId="1726"/>
            <ac:cxnSpMk id="48" creationId="{F787A801-51A0-CE45-A9E4-8FAE55ED4D29}"/>
          </ac:cxnSpMkLst>
        </pc:cxnChg>
        <pc:cxnChg chg="mod">
          <ac:chgData name="Lamb, Ben" userId="88a6f5f3-f9e5-47eb-a109-670a0c68440d" providerId="ADAL" clId="{306D01AF-A76E-3E4F-A971-A1200024FF94}" dt="2021-04-06T20:42:57.876" v="5325" actId="14100"/>
          <ac:cxnSpMkLst>
            <pc:docMk/>
            <pc:sldMk cId="1307733305" sldId="1726"/>
            <ac:cxnSpMk id="49" creationId="{E14F4660-17A3-E742-BB6A-13B7C45FBF98}"/>
          </ac:cxnSpMkLst>
        </pc:cxnChg>
        <pc:cxnChg chg="del">
          <ac:chgData name="Lamb, Ben" userId="88a6f5f3-f9e5-47eb-a109-670a0c68440d" providerId="ADAL" clId="{306D01AF-A76E-3E4F-A971-A1200024FF94}" dt="2021-04-01T22:55:44.280" v="3387" actId="478"/>
          <ac:cxnSpMkLst>
            <pc:docMk/>
            <pc:sldMk cId="1307733305" sldId="1726"/>
            <ac:cxnSpMk id="51" creationId="{61C8D5C2-7EEA-1648-BD87-E927FBDB4DF7}"/>
          </ac:cxnSpMkLst>
        </pc:cxnChg>
        <pc:cxnChg chg="del">
          <ac:chgData name="Lamb, Ben" userId="88a6f5f3-f9e5-47eb-a109-670a0c68440d" providerId="ADAL" clId="{306D01AF-A76E-3E4F-A971-A1200024FF94}" dt="2021-04-01T22:55:43.104" v="3386" actId="478"/>
          <ac:cxnSpMkLst>
            <pc:docMk/>
            <pc:sldMk cId="1307733305" sldId="1726"/>
            <ac:cxnSpMk id="57" creationId="{2DFF12FF-382C-BE42-87BD-A65CE4EA7808}"/>
          </ac:cxnSpMkLst>
        </pc:cxnChg>
        <pc:cxnChg chg="mod">
          <ac:chgData name="Lamb, Ben" userId="88a6f5f3-f9e5-47eb-a109-670a0c68440d" providerId="ADAL" clId="{306D01AF-A76E-3E4F-A971-A1200024FF94}" dt="2021-04-01T22:55:01.562" v="3382" actId="1076"/>
          <ac:cxnSpMkLst>
            <pc:docMk/>
            <pc:sldMk cId="1307733305" sldId="1726"/>
            <ac:cxnSpMk id="58" creationId="{BAFCF1B3-B8AB-9742-A7F3-2C821440AD39}"/>
          </ac:cxnSpMkLst>
        </pc:cxnChg>
        <pc:cxnChg chg="mod">
          <ac:chgData name="Lamb, Ben" userId="88a6f5f3-f9e5-47eb-a109-670a0c68440d" providerId="ADAL" clId="{306D01AF-A76E-3E4F-A971-A1200024FF94}" dt="2021-04-01T22:55:01.562" v="3382" actId="1076"/>
          <ac:cxnSpMkLst>
            <pc:docMk/>
            <pc:sldMk cId="1307733305" sldId="1726"/>
            <ac:cxnSpMk id="59" creationId="{E362F607-65B1-DF47-B27A-52D730A0FA73}"/>
          </ac:cxnSpMkLst>
        </pc:cxnChg>
        <pc:cxnChg chg="add mod">
          <ac:chgData name="Lamb, Ben" userId="88a6f5f3-f9e5-47eb-a109-670a0c68440d" providerId="ADAL" clId="{306D01AF-A76E-3E4F-A971-A1200024FF94}" dt="2021-04-01T22:55:01.562" v="3382" actId="1076"/>
          <ac:cxnSpMkLst>
            <pc:docMk/>
            <pc:sldMk cId="1307733305" sldId="1726"/>
            <ac:cxnSpMk id="131" creationId="{D3E2A471-3B6C-3A42-B4B9-024EB09DB3DC}"/>
          </ac:cxnSpMkLst>
        </pc:cxnChg>
        <pc:cxnChg chg="mod">
          <ac:chgData name="Lamb, Ben" userId="88a6f5f3-f9e5-47eb-a109-670a0c68440d" providerId="ADAL" clId="{306D01AF-A76E-3E4F-A971-A1200024FF94}" dt="2021-04-01T22:55:01.562" v="3382" actId="1076"/>
          <ac:cxnSpMkLst>
            <pc:docMk/>
            <pc:sldMk cId="1307733305" sldId="1726"/>
            <ac:cxnSpMk id="181" creationId="{B9E914FC-89BF-AA4A-BC26-7D5FC5F86160}"/>
          </ac:cxnSpMkLst>
        </pc:cxnChg>
        <pc:cxnChg chg="mod">
          <ac:chgData name="Lamb, Ben" userId="88a6f5f3-f9e5-47eb-a109-670a0c68440d" providerId="ADAL" clId="{306D01AF-A76E-3E4F-A971-A1200024FF94}" dt="2021-04-01T22:55:01.562" v="3382" actId="1076"/>
          <ac:cxnSpMkLst>
            <pc:docMk/>
            <pc:sldMk cId="1307733305" sldId="1726"/>
            <ac:cxnSpMk id="188" creationId="{7E777A89-9EE6-0E4A-8E2B-57D0F12227C5}"/>
          </ac:cxnSpMkLst>
        </pc:cxnChg>
        <pc:cxnChg chg="mod">
          <ac:chgData name="Lamb, Ben" userId="88a6f5f3-f9e5-47eb-a109-670a0c68440d" providerId="ADAL" clId="{306D01AF-A76E-3E4F-A971-A1200024FF94}" dt="2021-04-01T22:55:01.562" v="3382" actId="1076"/>
          <ac:cxnSpMkLst>
            <pc:docMk/>
            <pc:sldMk cId="1307733305" sldId="1726"/>
            <ac:cxnSpMk id="243" creationId="{980390F2-0A3C-894F-B7C6-5C7DA81DAF81}"/>
          </ac:cxnSpMkLst>
        </pc:cxnChg>
        <pc:cxnChg chg="mod">
          <ac:chgData name="Lamb, Ben" userId="88a6f5f3-f9e5-47eb-a109-670a0c68440d" providerId="ADAL" clId="{306D01AF-A76E-3E4F-A971-A1200024FF94}" dt="2021-04-01T22:55:01.562" v="3382" actId="1076"/>
          <ac:cxnSpMkLst>
            <pc:docMk/>
            <pc:sldMk cId="1307733305" sldId="1726"/>
            <ac:cxnSpMk id="245" creationId="{8294B859-91F1-1743-8497-ED0BA5FCC5B2}"/>
          </ac:cxnSpMkLst>
        </pc:cxnChg>
      </pc:sldChg>
      <pc:sldChg chg="addSp delSp modSp mod ord">
        <pc:chgData name="Lamb, Ben" userId="88a6f5f3-f9e5-47eb-a109-670a0c68440d" providerId="ADAL" clId="{306D01AF-A76E-3E4F-A971-A1200024FF94}" dt="2021-04-01T23:02:07.282" v="3584" actId="207"/>
        <pc:sldMkLst>
          <pc:docMk/>
          <pc:sldMk cId="1362641955" sldId="1727"/>
        </pc:sldMkLst>
        <pc:spChg chg="mod">
          <ac:chgData name="Lamb, Ben" userId="88a6f5f3-f9e5-47eb-a109-670a0c68440d" providerId="ADAL" clId="{306D01AF-A76E-3E4F-A971-A1200024FF94}" dt="2021-04-01T23:02:07.282" v="3584" actId="207"/>
          <ac:spMkLst>
            <pc:docMk/>
            <pc:sldMk cId="1362641955" sldId="1727"/>
            <ac:spMk id="2" creationId="{AD644E64-F954-4288-A504-12E14B683D66}"/>
          </ac:spMkLst>
        </pc:spChg>
        <pc:spChg chg="mod">
          <ac:chgData name="Lamb, Ben" userId="88a6f5f3-f9e5-47eb-a109-670a0c68440d" providerId="ADAL" clId="{306D01AF-A76E-3E4F-A971-A1200024FF94}" dt="2021-04-01T21:44:03.844" v="1412" actId="20577"/>
          <ac:spMkLst>
            <pc:docMk/>
            <pc:sldMk cId="1362641955" sldId="1727"/>
            <ac:spMk id="101" creationId="{381BA20A-59EA-E042-BC23-4323FDF43521}"/>
          </ac:spMkLst>
        </pc:spChg>
        <pc:spChg chg="add mod">
          <ac:chgData name="Lamb, Ben" userId="88a6f5f3-f9e5-47eb-a109-670a0c68440d" providerId="ADAL" clId="{306D01AF-A76E-3E4F-A971-A1200024FF94}" dt="2021-04-01T22:59:13.211" v="3533" actId="14100"/>
          <ac:spMkLst>
            <pc:docMk/>
            <pc:sldMk cId="1362641955" sldId="1727"/>
            <ac:spMk id="127" creationId="{2DCDA4D0-986E-874A-B1BD-77DEE50E4084}"/>
          </ac:spMkLst>
        </pc:spChg>
        <pc:grpChg chg="mod">
          <ac:chgData name="Lamb, Ben" userId="88a6f5f3-f9e5-47eb-a109-670a0c68440d" providerId="ADAL" clId="{306D01AF-A76E-3E4F-A971-A1200024FF94}" dt="2021-04-01T21:45:38.772" v="1428" actId="1076"/>
          <ac:grpSpMkLst>
            <pc:docMk/>
            <pc:sldMk cId="1362641955" sldId="1727"/>
            <ac:grpSpMk id="25" creationId="{8B3D33C4-669D-DF43-BF58-9FD9AC4D7923}"/>
          </ac:grpSpMkLst>
        </pc:grpChg>
        <pc:grpChg chg="mod">
          <ac:chgData name="Lamb, Ben" userId="88a6f5f3-f9e5-47eb-a109-670a0c68440d" providerId="ADAL" clId="{306D01AF-A76E-3E4F-A971-A1200024FF94}" dt="2021-04-01T22:59:15.593" v="3534" actId="1076"/>
          <ac:grpSpMkLst>
            <pc:docMk/>
            <pc:sldMk cId="1362641955" sldId="1727"/>
            <ac:grpSpMk id="99" creationId="{E9544D59-A002-AF4E-8283-E79A8701BA2D}"/>
          </ac:grpSpMkLst>
        </pc:grpChg>
        <pc:grpChg chg="mod">
          <ac:chgData name="Lamb, Ben" userId="88a6f5f3-f9e5-47eb-a109-670a0c68440d" providerId="ADAL" clId="{306D01AF-A76E-3E4F-A971-A1200024FF94}" dt="2021-04-01T21:45:41.789" v="1429" actId="1076"/>
          <ac:grpSpMkLst>
            <pc:docMk/>
            <pc:sldMk cId="1362641955" sldId="1727"/>
            <ac:grpSpMk id="102" creationId="{0805790E-C16E-DE41-B474-BBAA378D6076}"/>
          </ac:grpSpMkLst>
        </pc:grpChg>
        <pc:grpChg chg="mod">
          <ac:chgData name="Lamb, Ben" userId="88a6f5f3-f9e5-47eb-a109-670a0c68440d" providerId="ADAL" clId="{306D01AF-A76E-3E4F-A971-A1200024FF94}" dt="2021-04-01T21:45:36.399" v="1427" actId="1076"/>
          <ac:grpSpMkLst>
            <pc:docMk/>
            <pc:sldMk cId="1362641955" sldId="1727"/>
            <ac:grpSpMk id="121" creationId="{1F0B7903-2D17-5947-8AED-6851D259F2B5}"/>
          </ac:grpSpMkLst>
        </pc:grpChg>
        <pc:cxnChg chg="mod">
          <ac:chgData name="Lamb, Ben" userId="88a6f5f3-f9e5-47eb-a109-670a0c68440d" providerId="ADAL" clId="{306D01AF-A76E-3E4F-A971-A1200024FF94}" dt="2021-04-01T22:59:56.319" v="3537" actId="14100"/>
          <ac:cxnSpMkLst>
            <pc:docMk/>
            <pc:sldMk cId="1362641955" sldId="1727"/>
            <ac:cxnSpMk id="9" creationId="{2FFBA4E3-AE8C-5342-B216-F42005224839}"/>
          </ac:cxnSpMkLst>
        </pc:cxnChg>
        <pc:cxnChg chg="mod">
          <ac:chgData name="Lamb, Ben" userId="88a6f5f3-f9e5-47eb-a109-670a0c68440d" providerId="ADAL" clId="{306D01AF-A76E-3E4F-A971-A1200024FF94}" dt="2021-04-01T23:01:11.421" v="3573" actId="14100"/>
          <ac:cxnSpMkLst>
            <pc:docMk/>
            <pc:sldMk cId="1362641955" sldId="1727"/>
            <ac:cxnSpMk id="10" creationId="{2CD82536-A722-E842-85D8-9256B9AD823B}"/>
          </ac:cxnSpMkLst>
        </pc:cxnChg>
        <pc:cxnChg chg="mod">
          <ac:chgData name="Lamb, Ben" userId="88a6f5f3-f9e5-47eb-a109-670a0c68440d" providerId="ADAL" clId="{306D01AF-A76E-3E4F-A971-A1200024FF94}" dt="2021-04-01T21:43:40.579" v="1410" actId="1076"/>
          <ac:cxnSpMkLst>
            <pc:docMk/>
            <pc:sldMk cId="1362641955" sldId="1727"/>
            <ac:cxnSpMk id="11" creationId="{30C23F67-7F47-024F-82AB-421BAF02AF28}"/>
          </ac:cxnSpMkLst>
        </pc:cxnChg>
        <pc:cxnChg chg="mod">
          <ac:chgData name="Lamb, Ben" userId="88a6f5f3-f9e5-47eb-a109-670a0c68440d" providerId="ADAL" clId="{306D01AF-A76E-3E4F-A971-A1200024FF94}" dt="2021-04-01T22:59:11.139" v="3532" actId="14100"/>
          <ac:cxnSpMkLst>
            <pc:docMk/>
            <pc:sldMk cId="1362641955" sldId="1727"/>
            <ac:cxnSpMk id="24" creationId="{C0D59FA1-16AE-D44D-B282-C8ACDA10D262}"/>
          </ac:cxnSpMkLst>
        </pc:cxnChg>
        <pc:cxnChg chg="add mod">
          <ac:chgData name="Lamb, Ben" userId="88a6f5f3-f9e5-47eb-a109-670a0c68440d" providerId="ADAL" clId="{306D01AF-A76E-3E4F-A971-A1200024FF94}" dt="2021-04-01T22:59:51.010" v="3536" actId="14100"/>
          <ac:cxnSpMkLst>
            <pc:docMk/>
            <pc:sldMk cId="1362641955" sldId="1727"/>
            <ac:cxnSpMk id="128" creationId="{22E85E68-9BDB-E548-BA7C-01D66F019B29}"/>
          </ac:cxnSpMkLst>
        </pc:cxnChg>
        <pc:cxnChg chg="add del mod">
          <ac:chgData name="Lamb, Ben" userId="88a6f5f3-f9e5-47eb-a109-670a0c68440d" providerId="ADAL" clId="{306D01AF-A76E-3E4F-A971-A1200024FF94}" dt="2021-04-01T21:45:08.099" v="1424"/>
          <ac:cxnSpMkLst>
            <pc:docMk/>
            <pc:sldMk cId="1362641955" sldId="1727"/>
            <ac:cxnSpMk id="129" creationId="{231D4E02-0C71-024C-A013-098B89E29C34}"/>
          </ac:cxnSpMkLst>
        </pc:cxnChg>
        <pc:cxnChg chg="add mod">
          <ac:chgData name="Lamb, Ben" userId="88a6f5f3-f9e5-47eb-a109-670a0c68440d" providerId="ADAL" clId="{306D01AF-A76E-3E4F-A971-A1200024FF94}" dt="2021-04-01T21:45:12.257" v="1426" actId="1076"/>
          <ac:cxnSpMkLst>
            <pc:docMk/>
            <pc:sldMk cId="1362641955" sldId="1727"/>
            <ac:cxnSpMk id="130" creationId="{8AD8E4C6-E722-A74F-B420-CCFCC4BB4D3A}"/>
          </ac:cxnSpMkLst>
        </pc:cxnChg>
        <pc:cxnChg chg="mod">
          <ac:chgData name="Lamb, Ben" userId="88a6f5f3-f9e5-47eb-a109-670a0c68440d" providerId="ADAL" clId="{306D01AF-A76E-3E4F-A971-A1200024FF94}" dt="2021-04-01T21:43:27.467" v="1409" actId="14100"/>
          <ac:cxnSpMkLst>
            <pc:docMk/>
            <pc:sldMk cId="1362641955" sldId="1727"/>
            <ac:cxnSpMk id="157" creationId="{0029DF17-CE61-5048-A433-02C68BD693BD}"/>
          </ac:cxnSpMkLst>
        </pc:cxnChg>
        <pc:cxnChg chg="mod">
          <ac:chgData name="Lamb, Ben" userId="88a6f5f3-f9e5-47eb-a109-670a0c68440d" providerId="ADAL" clId="{306D01AF-A76E-3E4F-A971-A1200024FF94}" dt="2021-04-01T21:44:51.613" v="1421" actId="1076"/>
          <ac:cxnSpMkLst>
            <pc:docMk/>
            <pc:sldMk cId="1362641955" sldId="1727"/>
            <ac:cxnSpMk id="184" creationId="{2C141C04-7886-D645-AC39-B1FA9B0E4A4E}"/>
          </ac:cxnSpMkLst>
        </pc:cxnChg>
        <pc:cxnChg chg="del">
          <ac:chgData name="Lamb, Ben" userId="88a6f5f3-f9e5-47eb-a109-670a0c68440d" providerId="ADAL" clId="{306D01AF-A76E-3E4F-A971-A1200024FF94}" dt="2021-04-01T21:44:54.136" v="1422" actId="478"/>
          <ac:cxnSpMkLst>
            <pc:docMk/>
            <pc:sldMk cId="1362641955" sldId="1727"/>
            <ac:cxnSpMk id="192" creationId="{507CE9AF-0AA3-A448-BB1B-3BD0A88F41BE}"/>
          </ac:cxnSpMkLst>
        </pc:cxnChg>
      </pc:sldChg>
      <pc:sldChg chg="modSp mod ord">
        <pc:chgData name="Lamb, Ben" userId="88a6f5f3-f9e5-47eb-a109-670a0c68440d" providerId="ADAL" clId="{306D01AF-A76E-3E4F-A971-A1200024FF94}" dt="2021-04-07T01:31:12.512" v="9075" actId="20578"/>
        <pc:sldMkLst>
          <pc:docMk/>
          <pc:sldMk cId="3709941382" sldId="1729"/>
        </pc:sldMkLst>
        <pc:spChg chg="mod">
          <ac:chgData name="Lamb, Ben" userId="88a6f5f3-f9e5-47eb-a109-670a0c68440d" providerId="ADAL" clId="{306D01AF-A76E-3E4F-A971-A1200024FF94}" dt="2021-04-01T22:19:12.257" v="3342" actId="20577"/>
          <ac:spMkLst>
            <pc:docMk/>
            <pc:sldMk cId="3709941382" sldId="1729"/>
            <ac:spMk id="3" creationId="{3F1BAA32-0BA2-5E4B-ACA1-4B56F6F61121}"/>
          </ac:spMkLst>
        </pc:spChg>
      </pc:sldChg>
      <pc:sldChg chg="addSp delSp modSp add mod ord">
        <pc:chgData name="Lamb, Ben" userId="88a6f5f3-f9e5-47eb-a109-670a0c68440d" providerId="ADAL" clId="{306D01AF-A76E-3E4F-A971-A1200024FF94}" dt="2021-04-01T22:17:42.657" v="3282" actId="207"/>
        <pc:sldMkLst>
          <pc:docMk/>
          <pc:sldMk cId="613284557" sldId="1730"/>
        </pc:sldMkLst>
        <pc:spChg chg="mod">
          <ac:chgData name="Lamb, Ben" userId="88a6f5f3-f9e5-47eb-a109-670a0c68440d" providerId="ADAL" clId="{306D01AF-A76E-3E4F-A971-A1200024FF94}" dt="2021-04-01T20:12:18.153" v="40" actId="20577"/>
          <ac:spMkLst>
            <pc:docMk/>
            <pc:sldMk cId="613284557" sldId="1730"/>
            <ac:spMk id="2" creationId="{E4576F96-D6BB-DD40-AD3C-8C50B0DFF80B}"/>
          </ac:spMkLst>
        </pc:spChg>
        <pc:spChg chg="add mod">
          <ac:chgData name="Lamb, Ben" userId="88a6f5f3-f9e5-47eb-a109-670a0c68440d" providerId="ADAL" clId="{306D01AF-A76E-3E4F-A971-A1200024FF94}" dt="2021-04-01T21:40:48.941" v="1402" actId="1076"/>
          <ac:spMkLst>
            <pc:docMk/>
            <pc:sldMk cId="613284557" sldId="1730"/>
            <ac:spMk id="41" creationId="{C07F1A4F-5DD5-9140-B57E-0D34BCB80A5D}"/>
          </ac:spMkLst>
        </pc:spChg>
        <pc:spChg chg="add mod">
          <ac:chgData name="Lamb, Ben" userId="88a6f5f3-f9e5-47eb-a109-670a0c68440d" providerId="ADAL" clId="{306D01AF-A76E-3E4F-A971-A1200024FF94}" dt="2021-04-01T21:40:48.941" v="1402" actId="1076"/>
          <ac:spMkLst>
            <pc:docMk/>
            <pc:sldMk cId="613284557" sldId="1730"/>
            <ac:spMk id="42" creationId="{096326A9-D4B4-AC44-92C7-C2FF1E1DF175}"/>
          </ac:spMkLst>
        </pc:spChg>
        <pc:spChg chg="add mod">
          <ac:chgData name="Lamb, Ben" userId="88a6f5f3-f9e5-47eb-a109-670a0c68440d" providerId="ADAL" clId="{306D01AF-A76E-3E4F-A971-A1200024FF94}" dt="2021-04-01T21:40:48.941" v="1402" actId="1076"/>
          <ac:spMkLst>
            <pc:docMk/>
            <pc:sldMk cId="613284557" sldId="1730"/>
            <ac:spMk id="44" creationId="{4B0217D8-D6B5-9E47-A72A-A2488B6DD30A}"/>
          </ac:spMkLst>
        </pc:spChg>
        <pc:spChg chg="add del mod">
          <ac:chgData name="Lamb, Ben" userId="88a6f5f3-f9e5-47eb-a109-670a0c68440d" providerId="ADAL" clId="{306D01AF-A76E-3E4F-A971-A1200024FF94}" dt="2021-04-01T21:40:43.234" v="1401" actId="478"/>
          <ac:spMkLst>
            <pc:docMk/>
            <pc:sldMk cId="613284557" sldId="1730"/>
            <ac:spMk id="46" creationId="{EEC96BB8-09DF-8944-858F-E836B8ACC590}"/>
          </ac:spMkLst>
        </pc:spChg>
        <pc:spChg chg="add mod">
          <ac:chgData name="Lamb, Ben" userId="88a6f5f3-f9e5-47eb-a109-670a0c68440d" providerId="ADAL" clId="{306D01AF-A76E-3E4F-A971-A1200024FF94}" dt="2021-04-01T21:40:48.941" v="1402" actId="1076"/>
          <ac:spMkLst>
            <pc:docMk/>
            <pc:sldMk cId="613284557" sldId="1730"/>
            <ac:spMk id="47" creationId="{165813AB-5C10-814C-8936-955E4ADC43D4}"/>
          </ac:spMkLst>
        </pc:spChg>
        <pc:spChg chg="add mod">
          <ac:chgData name="Lamb, Ben" userId="88a6f5f3-f9e5-47eb-a109-670a0c68440d" providerId="ADAL" clId="{306D01AF-A76E-3E4F-A971-A1200024FF94}" dt="2021-04-01T21:40:48.941" v="1402" actId="1076"/>
          <ac:spMkLst>
            <pc:docMk/>
            <pc:sldMk cId="613284557" sldId="1730"/>
            <ac:spMk id="52" creationId="{4D4541D4-2B43-B54E-9C5F-17CDAB08844B}"/>
          </ac:spMkLst>
        </pc:spChg>
        <pc:spChg chg="add mod">
          <ac:chgData name="Lamb, Ben" userId="88a6f5f3-f9e5-47eb-a109-670a0c68440d" providerId="ADAL" clId="{306D01AF-A76E-3E4F-A971-A1200024FF94}" dt="2021-04-01T21:40:48.941" v="1402" actId="1076"/>
          <ac:spMkLst>
            <pc:docMk/>
            <pc:sldMk cId="613284557" sldId="1730"/>
            <ac:spMk id="65" creationId="{DB767E9F-AF44-8647-9E09-60BC699420F1}"/>
          </ac:spMkLst>
        </pc:spChg>
        <pc:spChg chg="mod">
          <ac:chgData name="Lamb, Ben" userId="88a6f5f3-f9e5-47eb-a109-670a0c68440d" providerId="ADAL" clId="{306D01AF-A76E-3E4F-A971-A1200024FF94}" dt="2021-04-01T22:17:42.657" v="3282" actId="207"/>
          <ac:spMkLst>
            <pc:docMk/>
            <pc:sldMk cId="613284557" sldId="1730"/>
            <ac:spMk id="70" creationId="{FAB3E3E5-03CE-6E4A-A275-FDBD68D26817}"/>
          </ac:spMkLst>
        </pc:spChg>
        <pc:spChg chg="mod">
          <ac:chgData name="Lamb, Ben" userId="88a6f5f3-f9e5-47eb-a109-670a0c68440d" providerId="ADAL" clId="{306D01AF-A76E-3E4F-A971-A1200024FF94}" dt="2021-04-01T21:40:29.050" v="1399" actId="1076"/>
          <ac:spMkLst>
            <pc:docMk/>
            <pc:sldMk cId="613284557" sldId="1730"/>
            <ac:spMk id="71" creationId="{CFE28310-9455-CA45-9890-FB1C762410C7}"/>
          </ac:spMkLst>
        </pc:spChg>
        <pc:spChg chg="mod">
          <ac:chgData name="Lamb, Ben" userId="88a6f5f3-f9e5-47eb-a109-670a0c68440d" providerId="ADAL" clId="{306D01AF-A76E-3E4F-A971-A1200024FF94}" dt="2021-04-01T20:12:35.366" v="44"/>
          <ac:spMkLst>
            <pc:docMk/>
            <pc:sldMk cId="613284557" sldId="1730"/>
            <ac:spMk id="73" creationId="{957D8AC2-B069-9744-AB2D-63BFAED91480}"/>
          </ac:spMkLst>
        </pc:spChg>
        <pc:spChg chg="mod">
          <ac:chgData name="Lamb, Ben" userId="88a6f5f3-f9e5-47eb-a109-670a0c68440d" providerId="ADAL" clId="{306D01AF-A76E-3E4F-A971-A1200024FF94}" dt="2021-04-01T20:12:35.366" v="44"/>
          <ac:spMkLst>
            <pc:docMk/>
            <pc:sldMk cId="613284557" sldId="1730"/>
            <ac:spMk id="74" creationId="{8BF227B7-23E8-1044-B47D-26ABCA2BBB5A}"/>
          </ac:spMkLst>
        </pc:spChg>
        <pc:spChg chg="mod">
          <ac:chgData name="Lamb, Ben" userId="88a6f5f3-f9e5-47eb-a109-670a0c68440d" providerId="ADAL" clId="{306D01AF-A76E-3E4F-A971-A1200024FF94}" dt="2021-04-01T20:12:35.366" v="44"/>
          <ac:spMkLst>
            <pc:docMk/>
            <pc:sldMk cId="613284557" sldId="1730"/>
            <ac:spMk id="76" creationId="{333BF904-115F-E546-8BA6-A447C6B068EF}"/>
          </ac:spMkLst>
        </pc:spChg>
        <pc:spChg chg="mod">
          <ac:chgData name="Lamb, Ben" userId="88a6f5f3-f9e5-47eb-a109-670a0c68440d" providerId="ADAL" clId="{306D01AF-A76E-3E4F-A971-A1200024FF94}" dt="2021-04-01T20:12:35.366" v="44"/>
          <ac:spMkLst>
            <pc:docMk/>
            <pc:sldMk cId="613284557" sldId="1730"/>
            <ac:spMk id="77" creationId="{4081653B-B457-BC4A-9A07-EDC6AC8D1761}"/>
          </ac:spMkLst>
        </pc:spChg>
        <pc:spChg chg="mod">
          <ac:chgData name="Lamb, Ben" userId="88a6f5f3-f9e5-47eb-a109-670a0c68440d" providerId="ADAL" clId="{306D01AF-A76E-3E4F-A971-A1200024FF94}" dt="2021-04-01T20:12:35.366" v="44"/>
          <ac:spMkLst>
            <pc:docMk/>
            <pc:sldMk cId="613284557" sldId="1730"/>
            <ac:spMk id="79" creationId="{34926E85-F2AA-0A45-A4D8-702769FF28E5}"/>
          </ac:spMkLst>
        </pc:spChg>
        <pc:spChg chg="mod">
          <ac:chgData name="Lamb, Ben" userId="88a6f5f3-f9e5-47eb-a109-670a0c68440d" providerId="ADAL" clId="{306D01AF-A76E-3E4F-A971-A1200024FF94}" dt="2021-04-01T20:12:35.366" v="44"/>
          <ac:spMkLst>
            <pc:docMk/>
            <pc:sldMk cId="613284557" sldId="1730"/>
            <ac:spMk id="80" creationId="{C9D221C3-0904-1547-ADAD-DCF2C5587492}"/>
          </ac:spMkLst>
        </pc:spChg>
        <pc:spChg chg="mod">
          <ac:chgData name="Lamb, Ben" userId="88a6f5f3-f9e5-47eb-a109-670a0c68440d" providerId="ADAL" clId="{306D01AF-A76E-3E4F-A971-A1200024FF94}" dt="2021-04-01T20:12:35.366" v="44"/>
          <ac:spMkLst>
            <pc:docMk/>
            <pc:sldMk cId="613284557" sldId="1730"/>
            <ac:spMk id="82" creationId="{3E2C66FA-E943-3B48-8B30-42144CA7C32F}"/>
          </ac:spMkLst>
        </pc:spChg>
        <pc:spChg chg="mod">
          <ac:chgData name="Lamb, Ben" userId="88a6f5f3-f9e5-47eb-a109-670a0c68440d" providerId="ADAL" clId="{306D01AF-A76E-3E4F-A971-A1200024FF94}" dt="2021-04-01T20:12:35.366" v="44"/>
          <ac:spMkLst>
            <pc:docMk/>
            <pc:sldMk cId="613284557" sldId="1730"/>
            <ac:spMk id="83" creationId="{774C97A3-A86D-1F43-B526-9F828458F793}"/>
          </ac:spMkLst>
        </pc:spChg>
        <pc:spChg chg="mod">
          <ac:chgData name="Lamb, Ben" userId="88a6f5f3-f9e5-47eb-a109-670a0c68440d" providerId="ADAL" clId="{306D01AF-A76E-3E4F-A971-A1200024FF94}" dt="2021-04-01T20:12:35.366" v="44"/>
          <ac:spMkLst>
            <pc:docMk/>
            <pc:sldMk cId="613284557" sldId="1730"/>
            <ac:spMk id="85" creationId="{DCF0C789-9C0A-984C-8D47-DD2568CCDBE9}"/>
          </ac:spMkLst>
        </pc:spChg>
        <pc:spChg chg="mod">
          <ac:chgData name="Lamb, Ben" userId="88a6f5f3-f9e5-47eb-a109-670a0c68440d" providerId="ADAL" clId="{306D01AF-A76E-3E4F-A971-A1200024FF94}" dt="2021-04-01T20:12:35.366" v="44"/>
          <ac:spMkLst>
            <pc:docMk/>
            <pc:sldMk cId="613284557" sldId="1730"/>
            <ac:spMk id="86" creationId="{614328FE-24D8-2C49-B905-2BC843688D86}"/>
          </ac:spMkLst>
        </pc:spChg>
        <pc:spChg chg="add del mod">
          <ac:chgData name="Lamb, Ben" userId="88a6f5f3-f9e5-47eb-a109-670a0c68440d" providerId="ADAL" clId="{306D01AF-A76E-3E4F-A971-A1200024FF94}" dt="2021-04-01T21:32:49.679" v="631" actId="478"/>
          <ac:spMkLst>
            <pc:docMk/>
            <pc:sldMk cId="613284557" sldId="1730"/>
            <ac:spMk id="87" creationId="{963A2646-C301-F14B-9A0B-1AC586D7FA65}"/>
          </ac:spMkLst>
        </pc:spChg>
        <pc:spChg chg="add del mod">
          <ac:chgData name="Lamb, Ben" userId="88a6f5f3-f9e5-47eb-a109-670a0c68440d" providerId="ADAL" clId="{306D01AF-A76E-3E4F-A971-A1200024FF94}" dt="2021-04-01T21:32:51.755" v="632" actId="478"/>
          <ac:spMkLst>
            <pc:docMk/>
            <pc:sldMk cId="613284557" sldId="1730"/>
            <ac:spMk id="88" creationId="{D7A27A4A-57EF-1E46-8F94-3D9CACD00046}"/>
          </ac:spMkLst>
        </pc:spChg>
        <pc:spChg chg="add del mod">
          <ac:chgData name="Lamb, Ben" userId="88a6f5f3-f9e5-47eb-a109-670a0c68440d" providerId="ADAL" clId="{306D01AF-A76E-3E4F-A971-A1200024FF94}" dt="2021-04-01T20:12:41.775" v="47" actId="478"/>
          <ac:spMkLst>
            <pc:docMk/>
            <pc:sldMk cId="613284557" sldId="1730"/>
            <ac:spMk id="89" creationId="{5E44EC75-59EA-BC4A-88E2-7FEDEE43B5A6}"/>
          </ac:spMkLst>
        </pc:spChg>
        <pc:spChg chg="add del mod">
          <ac:chgData name="Lamb, Ben" userId="88a6f5f3-f9e5-47eb-a109-670a0c68440d" providerId="ADAL" clId="{306D01AF-A76E-3E4F-A971-A1200024FF94}" dt="2021-04-01T20:12:40.915" v="46" actId="478"/>
          <ac:spMkLst>
            <pc:docMk/>
            <pc:sldMk cId="613284557" sldId="1730"/>
            <ac:spMk id="90" creationId="{4DDDF748-DFBC-1E41-B1C0-167B9208BFA3}"/>
          </ac:spMkLst>
        </pc:spChg>
        <pc:spChg chg="mod">
          <ac:chgData name="Lamb, Ben" userId="88a6f5f3-f9e5-47eb-a109-670a0c68440d" providerId="ADAL" clId="{306D01AF-A76E-3E4F-A971-A1200024FF94}" dt="2021-04-01T21:33:07.191" v="648" actId="20577"/>
          <ac:spMkLst>
            <pc:docMk/>
            <pc:sldMk cId="613284557" sldId="1730"/>
            <ac:spMk id="92" creationId="{0D5CA11C-7EB9-4B48-BF5A-A122B65D577D}"/>
          </ac:spMkLst>
        </pc:spChg>
        <pc:spChg chg="mod">
          <ac:chgData name="Lamb, Ben" userId="88a6f5f3-f9e5-47eb-a109-670a0c68440d" providerId="ADAL" clId="{306D01AF-A76E-3E4F-A971-A1200024FF94}" dt="2021-04-01T21:33:26.703" v="690" actId="20577"/>
          <ac:spMkLst>
            <pc:docMk/>
            <pc:sldMk cId="613284557" sldId="1730"/>
            <ac:spMk id="93" creationId="{E9426DC4-CBF4-144F-A5A2-0EB15B4006A0}"/>
          </ac:spMkLst>
        </pc:spChg>
        <pc:spChg chg="mod">
          <ac:chgData name="Lamb, Ben" userId="88a6f5f3-f9e5-47eb-a109-670a0c68440d" providerId="ADAL" clId="{306D01AF-A76E-3E4F-A971-A1200024FF94}" dt="2021-04-01T21:33:57.635" v="706" actId="20577"/>
          <ac:spMkLst>
            <pc:docMk/>
            <pc:sldMk cId="613284557" sldId="1730"/>
            <ac:spMk id="95" creationId="{FE9C1431-DF76-6D4B-81BB-75A3FDF4352C}"/>
          </ac:spMkLst>
        </pc:spChg>
        <pc:spChg chg="mod">
          <ac:chgData name="Lamb, Ben" userId="88a6f5f3-f9e5-47eb-a109-670a0c68440d" providerId="ADAL" clId="{306D01AF-A76E-3E4F-A971-A1200024FF94}" dt="2021-04-01T21:34:08.588" v="751" actId="20577"/>
          <ac:spMkLst>
            <pc:docMk/>
            <pc:sldMk cId="613284557" sldId="1730"/>
            <ac:spMk id="96" creationId="{E479287A-9E4D-DC47-98C8-BAA7C8C776F2}"/>
          </ac:spMkLst>
        </pc:spChg>
        <pc:spChg chg="del">
          <ac:chgData name="Lamb, Ben" userId="88a6f5f3-f9e5-47eb-a109-670a0c68440d" providerId="ADAL" clId="{306D01AF-A76E-3E4F-A971-A1200024FF94}" dt="2021-04-01T20:12:22.861" v="41" actId="478"/>
          <ac:spMkLst>
            <pc:docMk/>
            <pc:sldMk cId="613284557" sldId="1730"/>
            <ac:spMk id="109" creationId="{DD8DC9A8-38DD-C44B-8E9D-BBBDCB2640BC}"/>
          </ac:spMkLst>
        </pc:spChg>
        <pc:spChg chg="del">
          <ac:chgData name="Lamb, Ben" userId="88a6f5f3-f9e5-47eb-a109-670a0c68440d" providerId="ADAL" clId="{306D01AF-A76E-3E4F-A971-A1200024FF94}" dt="2021-04-01T20:12:22.861" v="41" actId="478"/>
          <ac:spMkLst>
            <pc:docMk/>
            <pc:sldMk cId="613284557" sldId="1730"/>
            <ac:spMk id="111" creationId="{2C480DD2-E10C-3446-A8FA-E0B681F8E265}"/>
          </ac:spMkLst>
        </pc:spChg>
        <pc:spChg chg="del">
          <ac:chgData name="Lamb, Ben" userId="88a6f5f3-f9e5-47eb-a109-670a0c68440d" providerId="ADAL" clId="{306D01AF-A76E-3E4F-A971-A1200024FF94}" dt="2021-04-01T20:12:22.861" v="41" actId="478"/>
          <ac:spMkLst>
            <pc:docMk/>
            <pc:sldMk cId="613284557" sldId="1730"/>
            <ac:spMk id="118" creationId="{C56D44E6-9E59-0448-AC39-6FBF60736CAC}"/>
          </ac:spMkLst>
        </pc:spChg>
        <pc:spChg chg="del">
          <ac:chgData name="Lamb, Ben" userId="88a6f5f3-f9e5-47eb-a109-670a0c68440d" providerId="ADAL" clId="{306D01AF-A76E-3E4F-A971-A1200024FF94}" dt="2021-04-01T20:12:22.861" v="41" actId="478"/>
          <ac:spMkLst>
            <pc:docMk/>
            <pc:sldMk cId="613284557" sldId="1730"/>
            <ac:spMk id="119" creationId="{5EABD445-F9E8-204C-8735-EEFB3690E75D}"/>
          </ac:spMkLst>
        </pc:spChg>
        <pc:spChg chg="del">
          <ac:chgData name="Lamb, Ben" userId="88a6f5f3-f9e5-47eb-a109-670a0c68440d" providerId="ADAL" clId="{306D01AF-A76E-3E4F-A971-A1200024FF94}" dt="2021-04-01T20:12:22.861" v="41" actId="478"/>
          <ac:spMkLst>
            <pc:docMk/>
            <pc:sldMk cId="613284557" sldId="1730"/>
            <ac:spMk id="151" creationId="{C1B747B8-7FBF-FC49-804C-DC3090411323}"/>
          </ac:spMkLst>
        </pc:spChg>
        <pc:spChg chg="del">
          <ac:chgData name="Lamb, Ben" userId="88a6f5f3-f9e5-47eb-a109-670a0c68440d" providerId="ADAL" clId="{306D01AF-A76E-3E4F-A971-A1200024FF94}" dt="2021-04-01T20:12:22.861" v="41" actId="478"/>
          <ac:spMkLst>
            <pc:docMk/>
            <pc:sldMk cId="613284557" sldId="1730"/>
            <ac:spMk id="153" creationId="{9C2F277D-D717-FE4B-92F9-C0173BE6098C}"/>
          </ac:spMkLst>
        </pc:spChg>
        <pc:spChg chg="del">
          <ac:chgData name="Lamb, Ben" userId="88a6f5f3-f9e5-47eb-a109-670a0c68440d" providerId="ADAL" clId="{306D01AF-A76E-3E4F-A971-A1200024FF94}" dt="2021-04-01T20:12:22.861" v="41" actId="478"/>
          <ac:spMkLst>
            <pc:docMk/>
            <pc:sldMk cId="613284557" sldId="1730"/>
            <ac:spMk id="155" creationId="{E950DAA1-5E85-F64E-922C-ACDDCCC4EE1F}"/>
          </ac:spMkLst>
        </pc:spChg>
        <pc:spChg chg="del">
          <ac:chgData name="Lamb, Ben" userId="88a6f5f3-f9e5-47eb-a109-670a0c68440d" providerId="ADAL" clId="{306D01AF-A76E-3E4F-A971-A1200024FF94}" dt="2021-04-01T20:12:22.861" v="41" actId="478"/>
          <ac:spMkLst>
            <pc:docMk/>
            <pc:sldMk cId="613284557" sldId="1730"/>
            <ac:spMk id="158" creationId="{0FA30662-DCBE-6C43-A4AE-1E9CB653C2D8}"/>
          </ac:spMkLst>
        </pc:spChg>
        <pc:spChg chg="del">
          <ac:chgData name="Lamb, Ben" userId="88a6f5f3-f9e5-47eb-a109-670a0c68440d" providerId="ADAL" clId="{306D01AF-A76E-3E4F-A971-A1200024FF94}" dt="2021-04-01T20:12:22.861" v="41" actId="478"/>
          <ac:spMkLst>
            <pc:docMk/>
            <pc:sldMk cId="613284557" sldId="1730"/>
            <ac:spMk id="164" creationId="{B08DD7F7-C035-BA49-8195-FD761CA615A5}"/>
          </ac:spMkLst>
        </pc:spChg>
        <pc:spChg chg="del">
          <ac:chgData name="Lamb, Ben" userId="88a6f5f3-f9e5-47eb-a109-670a0c68440d" providerId="ADAL" clId="{306D01AF-A76E-3E4F-A971-A1200024FF94}" dt="2021-04-01T20:12:22.861" v="41" actId="478"/>
          <ac:spMkLst>
            <pc:docMk/>
            <pc:sldMk cId="613284557" sldId="1730"/>
            <ac:spMk id="170" creationId="{834EAC96-157F-DC4B-A11F-213AC35912E5}"/>
          </ac:spMkLst>
        </pc:spChg>
        <pc:spChg chg="del">
          <ac:chgData name="Lamb, Ben" userId="88a6f5f3-f9e5-47eb-a109-670a0c68440d" providerId="ADAL" clId="{306D01AF-A76E-3E4F-A971-A1200024FF94}" dt="2021-04-01T20:12:22.861" v="41" actId="478"/>
          <ac:spMkLst>
            <pc:docMk/>
            <pc:sldMk cId="613284557" sldId="1730"/>
            <ac:spMk id="171" creationId="{A41C37EB-3E92-7042-AB49-A078CDB9F6E8}"/>
          </ac:spMkLst>
        </pc:spChg>
        <pc:grpChg chg="del">
          <ac:chgData name="Lamb, Ben" userId="88a6f5f3-f9e5-47eb-a109-670a0c68440d" providerId="ADAL" clId="{306D01AF-A76E-3E4F-A971-A1200024FF94}" dt="2021-04-01T20:12:22.861" v="41" actId="478"/>
          <ac:grpSpMkLst>
            <pc:docMk/>
            <pc:sldMk cId="613284557" sldId="1730"/>
            <ac:grpSpMk id="48" creationId="{BAA49E14-2961-DD4E-9D94-526C9BDB2AF9}"/>
          </ac:grpSpMkLst>
        </pc:grpChg>
        <pc:grpChg chg="del">
          <ac:chgData name="Lamb, Ben" userId="88a6f5f3-f9e5-47eb-a109-670a0c68440d" providerId="ADAL" clId="{306D01AF-A76E-3E4F-A971-A1200024FF94}" dt="2021-04-01T20:12:22.861" v="41" actId="478"/>
          <ac:grpSpMkLst>
            <pc:docMk/>
            <pc:sldMk cId="613284557" sldId="1730"/>
            <ac:grpSpMk id="54" creationId="{AECB0851-EF9D-D248-BAC4-53187CCD9F4C}"/>
          </ac:grpSpMkLst>
        </pc:grpChg>
        <pc:grpChg chg="del">
          <ac:chgData name="Lamb, Ben" userId="88a6f5f3-f9e5-47eb-a109-670a0c68440d" providerId="ADAL" clId="{306D01AF-A76E-3E4F-A971-A1200024FF94}" dt="2021-04-01T20:12:22.861" v="41" actId="478"/>
          <ac:grpSpMkLst>
            <pc:docMk/>
            <pc:sldMk cId="613284557" sldId="1730"/>
            <ac:grpSpMk id="58" creationId="{08F3CE03-3553-D14F-9087-83CA63E5C39C}"/>
          </ac:grpSpMkLst>
        </pc:grpChg>
        <pc:grpChg chg="del">
          <ac:chgData name="Lamb, Ben" userId="88a6f5f3-f9e5-47eb-a109-670a0c68440d" providerId="ADAL" clId="{306D01AF-A76E-3E4F-A971-A1200024FF94}" dt="2021-04-01T20:12:22.861" v="41" actId="478"/>
          <ac:grpSpMkLst>
            <pc:docMk/>
            <pc:sldMk cId="613284557" sldId="1730"/>
            <ac:grpSpMk id="61" creationId="{F1C39678-EFA0-214F-A9C6-7D4787298A91}"/>
          </ac:grpSpMkLst>
        </pc:grpChg>
        <pc:grpChg chg="del">
          <ac:chgData name="Lamb, Ben" userId="88a6f5f3-f9e5-47eb-a109-670a0c68440d" providerId="ADAL" clId="{306D01AF-A76E-3E4F-A971-A1200024FF94}" dt="2021-04-01T20:12:22.861" v="41" actId="478"/>
          <ac:grpSpMkLst>
            <pc:docMk/>
            <pc:sldMk cId="613284557" sldId="1730"/>
            <ac:grpSpMk id="64" creationId="{387D7E53-35FE-434B-B7E5-7C36F414E999}"/>
          </ac:grpSpMkLst>
        </pc:grpChg>
        <pc:grpChg chg="add mod">
          <ac:chgData name="Lamb, Ben" userId="88a6f5f3-f9e5-47eb-a109-670a0c68440d" providerId="ADAL" clId="{306D01AF-A76E-3E4F-A971-A1200024FF94}" dt="2021-04-01T21:40:48.941" v="1402" actId="1076"/>
          <ac:grpSpMkLst>
            <pc:docMk/>
            <pc:sldMk cId="613284557" sldId="1730"/>
            <ac:grpSpMk id="67" creationId="{ACE06C8A-32AA-6448-B8A0-248565FE65FE}"/>
          </ac:grpSpMkLst>
        </pc:grpChg>
        <pc:grpChg chg="add del mod">
          <ac:chgData name="Lamb, Ben" userId="88a6f5f3-f9e5-47eb-a109-670a0c68440d" providerId="ADAL" clId="{306D01AF-A76E-3E4F-A971-A1200024FF94}" dt="2021-04-01T21:32:49.679" v="631" actId="478"/>
          <ac:grpSpMkLst>
            <pc:docMk/>
            <pc:sldMk cId="613284557" sldId="1730"/>
            <ac:grpSpMk id="72" creationId="{76DE6D93-8FC8-7E4E-8656-17A0D55B08DE}"/>
          </ac:grpSpMkLst>
        </pc:grpChg>
        <pc:grpChg chg="add del mod">
          <ac:chgData name="Lamb, Ben" userId="88a6f5f3-f9e5-47eb-a109-670a0c68440d" providerId="ADAL" clId="{306D01AF-A76E-3E4F-A971-A1200024FF94}" dt="2021-04-01T21:32:49.679" v="631" actId="478"/>
          <ac:grpSpMkLst>
            <pc:docMk/>
            <pc:sldMk cId="613284557" sldId="1730"/>
            <ac:grpSpMk id="75" creationId="{D5A2D7E3-89ED-5144-B240-6BE56F4A038A}"/>
          </ac:grpSpMkLst>
        </pc:grpChg>
        <pc:grpChg chg="add del mod">
          <ac:chgData name="Lamb, Ben" userId="88a6f5f3-f9e5-47eb-a109-670a0c68440d" providerId="ADAL" clId="{306D01AF-A76E-3E4F-A971-A1200024FF94}" dt="2021-04-01T21:32:49.679" v="631" actId="478"/>
          <ac:grpSpMkLst>
            <pc:docMk/>
            <pc:sldMk cId="613284557" sldId="1730"/>
            <ac:grpSpMk id="78" creationId="{931E9A72-7C9B-4B4C-808B-D91262D94899}"/>
          </ac:grpSpMkLst>
        </pc:grpChg>
        <pc:grpChg chg="add del mod">
          <ac:chgData name="Lamb, Ben" userId="88a6f5f3-f9e5-47eb-a109-670a0c68440d" providerId="ADAL" clId="{306D01AF-A76E-3E4F-A971-A1200024FF94}" dt="2021-04-01T21:32:49.679" v="631" actId="478"/>
          <ac:grpSpMkLst>
            <pc:docMk/>
            <pc:sldMk cId="613284557" sldId="1730"/>
            <ac:grpSpMk id="81" creationId="{040108C2-4EB2-0C41-BE8B-1A770DDE766F}"/>
          </ac:grpSpMkLst>
        </pc:grpChg>
        <pc:grpChg chg="add del mod">
          <ac:chgData name="Lamb, Ben" userId="88a6f5f3-f9e5-47eb-a109-670a0c68440d" providerId="ADAL" clId="{306D01AF-A76E-3E4F-A971-A1200024FF94}" dt="2021-04-01T21:32:49.679" v="631" actId="478"/>
          <ac:grpSpMkLst>
            <pc:docMk/>
            <pc:sldMk cId="613284557" sldId="1730"/>
            <ac:grpSpMk id="84" creationId="{065E6864-F64A-074A-BE09-6FD2A7920925}"/>
          </ac:grpSpMkLst>
        </pc:grpChg>
        <pc:grpChg chg="add mod">
          <ac:chgData name="Lamb, Ben" userId="88a6f5f3-f9e5-47eb-a109-670a0c68440d" providerId="ADAL" clId="{306D01AF-A76E-3E4F-A971-A1200024FF94}" dt="2021-04-01T21:40:48.941" v="1402" actId="1076"/>
          <ac:grpSpMkLst>
            <pc:docMk/>
            <pc:sldMk cId="613284557" sldId="1730"/>
            <ac:grpSpMk id="91" creationId="{5E90FE17-B1E9-E043-B6A6-8214B437A35D}"/>
          </ac:grpSpMkLst>
        </pc:grpChg>
        <pc:grpChg chg="add mod">
          <ac:chgData name="Lamb, Ben" userId="88a6f5f3-f9e5-47eb-a109-670a0c68440d" providerId="ADAL" clId="{306D01AF-A76E-3E4F-A971-A1200024FF94}" dt="2021-04-01T21:40:48.941" v="1402" actId="1076"/>
          <ac:grpSpMkLst>
            <pc:docMk/>
            <pc:sldMk cId="613284557" sldId="1730"/>
            <ac:grpSpMk id="94" creationId="{80925FF8-42DB-7D48-9988-CE5F1B431B78}"/>
          </ac:grpSpMkLst>
        </pc:grpChg>
        <pc:grpChg chg="del">
          <ac:chgData name="Lamb, Ben" userId="88a6f5f3-f9e5-47eb-a109-670a0c68440d" providerId="ADAL" clId="{306D01AF-A76E-3E4F-A971-A1200024FF94}" dt="2021-04-01T20:12:22.861" v="41" actId="478"/>
          <ac:grpSpMkLst>
            <pc:docMk/>
            <pc:sldMk cId="613284557" sldId="1730"/>
            <ac:grpSpMk id="167" creationId="{807B9268-1C10-864B-8046-3C97A94910AF}"/>
          </ac:grpSpMkLst>
        </pc:grpChg>
        <pc:cxnChg chg="add mod">
          <ac:chgData name="Lamb, Ben" userId="88a6f5f3-f9e5-47eb-a109-670a0c68440d" providerId="ADAL" clId="{306D01AF-A76E-3E4F-A971-A1200024FF94}" dt="2021-04-01T21:40:48.941" v="1402" actId="1076"/>
          <ac:cxnSpMkLst>
            <pc:docMk/>
            <pc:sldMk cId="613284557" sldId="1730"/>
            <ac:cxnSpMk id="43" creationId="{1F481355-9FC8-5447-9B2B-6F5FF2611EB7}"/>
          </ac:cxnSpMkLst>
        </pc:cxnChg>
        <pc:cxnChg chg="add mod">
          <ac:chgData name="Lamb, Ben" userId="88a6f5f3-f9e5-47eb-a109-670a0c68440d" providerId="ADAL" clId="{306D01AF-A76E-3E4F-A971-A1200024FF94}" dt="2021-04-01T21:40:48.941" v="1402" actId="1076"/>
          <ac:cxnSpMkLst>
            <pc:docMk/>
            <pc:sldMk cId="613284557" sldId="1730"/>
            <ac:cxnSpMk id="45" creationId="{7E4DBFB6-D21C-AC46-9A44-1C0A0BC3CE19}"/>
          </ac:cxnSpMkLst>
        </pc:cxnChg>
        <pc:cxnChg chg="add mod">
          <ac:chgData name="Lamb, Ben" userId="88a6f5f3-f9e5-47eb-a109-670a0c68440d" providerId="ADAL" clId="{306D01AF-A76E-3E4F-A971-A1200024FF94}" dt="2021-04-01T21:40:48.941" v="1402" actId="1076"/>
          <ac:cxnSpMkLst>
            <pc:docMk/>
            <pc:sldMk cId="613284557" sldId="1730"/>
            <ac:cxnSpMk id="50" creationId="{A6CABF1A-4F33-A34B-BDF4-9C048BD3546A}"/>
          </ac:cxnSpMkLst>
        </pc:cxnChg>
        <pc:cxnChg chg="add mod">
          <ac:chgData name="Lamb, Ben" userId="88a6f5f3-f9e5-47eb-a109-670a0c68440d" providerId="ADAL" clId="{306D01AF-A76E-3E4F-A971-A1200024FF94}" dt="2021-04-01T21:40:48.941" v="1402" actId="1076"/>
          <ac:cxnSpMkLst>
            <pc:docMk/>
            <pc:sldMk cId="613284557" sldId="1730"/>
            <ac:cxnSpMk id="53" creationId="{9DB948A4-6458-7D41-B321-C0ACC5B4C209}"/>
          </ac:cxnSpMkLst>
        </pc:cxnChg>
        <pc:cxnChg chg="add mod">
          <ac:chgData name="Lamb, Ben" userId="88a6f5f3-f9e5-47eb-a109-670a0c68440d" providerId="ADAL" clId="{306D01AF-A76E-3E4F-A971-A1200024FF94}" dt="2021-04-01T21:40:48.941" v="1402" actId="1076"/>
          <ac:cxnSpMkLst>
            <pc:docMk/>
            <pc:sldMk cId="613284557" sldId="1730"/>
            <ac:cxnSpMk id="56" creationId="{4571014C-0D5D-2A48-89C5-6AA47AA65090}"/>
          </ac:cxnSpMkLst>
        </pc:cxnChg>
        <pc:cxnChg chg="add mod">
          <ac:chgData name="Lamb, Ben" userId="88a6f5f3-f9e5-47eb-a109-670a0c68440d" providerId="ADAL" clId="{306D01AF-A76E-3E4F-A971-A1200024FF94}" dt="2021-04-01T21:40:48.941" v="1402" actId="1076"/>
          <ac:cxnSpMkLst>
            <pc:docMk/>
            <pc:sldMk cId="613284557" sldId="1730"/>
            <ac:cxnSpMk id="66" creationId="{E7CCF48D-013D-C845-A10B-3134262C5579}"/>
          </ac:cxnSpMkLst>
        </pc:cxnChg>
        <pc:cxnChg chg="del mod">
          <ac:chgData name="Lamb, Ben" userId="88a6f5f3-f9e5-47eb-a109-670a0c68440d" providerId="ADAL" clId="{306D01AF-A76E-3E4F-A971-A1200024FF94}" dt="2021-04-01T20:12:22.861" v="41" actId="478"/>
          <ac:cxnSpMkLst>
            <pc:docMk/>
            <pc:sldMk cId="613284557" sldId="1730"/>
            <ac:cxnSpMk id="150" creationId="{E91B9DA5-987F-764A-9E92-122218E8BD63}"/>
          </ac:cxnSpMkLst>
        </pc:cxnChg>
        <pc:cxnChg chg="del mod">
          <ac:chgData name="Lamb, Ben" userId="88a6f5f3-f9e5-47eb-a109-670a0c68440d" providerId="ADAL" clId="{306D01AF-A76E-3E4F-A971-A1200024FF94}" dt="2021-04-01T20:12:22.861" v="41" actId="478"/>
          <ac:cxnSpMkLst>
            <pc:docMk/>
            <pc:sldMk cId="613284557" sldId="1730"/>
            <ac:cxnSpMk id="152" creationId="{74EF7C31-1916-4946-848B-743D3C8A2206}"/>
          </ac:cxnSpMkLst>
        </pc:cxnChg>
        <pc:cxnChg chg="del mod">
          <ac:chgData name="Lamb, Ben" userId="88a6f5f3-f9e5-47eb-a109-670a0c68440d" providerId="ADAL" clId="{306D01AF-A76E-3E4F-A971-A1200024FF94}" dt="2021-04-01T20:12:22.861" v="41" actId="478"/>
          <ac:cxnSpMkLst>
            <pc:docMk/>
            <pc:sldMk cId="613284557" sldId="1730"/>
            <ac:cxnSpMk id="154" creationId="{373BD1E1-B42A-2542-AE45-9FA77B7D7B07}"/>
          </ac:cxnSpMkLst>
        </pc:cxnChg>
        <pc:cxnChg chg="del mod">
          <ac:chgData name="Lamb, Ben" userId="88a6f5f3-f9e5-47eb-a109-670a0c68440d" providerId="ADAL" clId="{306D01AF-A76E-3E4F-A971-A1200024FF94}" dt="2021-04-01T20:12:22.861" v="41" actId="478"/>
          <ac:cxnSpMkLst>
            <pc:docMk/>
            <pc:sldMk cId="613284557" sldId="1730"/>
            <ac:cxnSpMk id="156" creationId="{A0BD0C4B-F7E0-0E42-AA61-E410AF16999C}"/>
          </ac:cxnSpMkLst>
        </pc:cxnChg>
        <pc:cxnChg chg="del mod">
          <ac:chgData name="Lamb, Ben" userId="88a6f5f3-f9e5-47eb-a109-670a0c68440d" providerId="ADAL" clId="{306D01AF-A76E-3E4F-A971-A1200024FF94}" dt="2021-04-01T20:12:22.861" v="41" actId="478"/>
          <ac:cxnSpMkLst>
            <pc:docMk/>
            <pc:sldMk cId="613284557" sldId="1730"/>
            <ac:cxnSpMk id="157" creationId="{53DD9FF3-DDD6-A54D-B5B7-B44B7DC98A74}"/>
          </ac:cxnSpMkLst>
        </pc:cxnChg>
        <pc:cxnChg chg="del mod">
          <ac:chgData name="Lamb, Ben" userId="88a6f5f3-f9e5-47eb-a109-670a0c68440d" providerId="ADAL" clId="{306D01AF-A76E-3E4F-A971-A1200024FF94}" dt="2021-04-01T20:12:22.861" v="41" actId="478"/>
          <ac:cxnSpMkLst>
            <pc:docMk/>
            <pc:sldMk cId="613284557" sldId="1730"/>
            <ac:cxnSpMk id="159" creationId="{D93DE573-43B9-3544-8647-BE2FC39A6D25}"/>
          </ac:cxnSpMkLst>
        </pc:cxnChg>
        <pc:cxnChg chg="del mod">
          <ac:chgData name="Lamb, Ben" userId="88a6f5f3-f9e5-47eb-a109-670a0c68440d" providerId="ADAL" clId="{306D01AF-A76E-3E4F-A971-A1200024FF94}" dt="2021-04-01T20:12:22.861" v="41" actId="478"/>
          <ac:cxnSpMkLst>
            <pc:docMk/>
            <pc:sldMk cId="613284557" sldId="1730"/>
            <ac:cxnSpMk id="165" creationId="{0AFFF7B1-2004-9549-A9CD-11FB9BFE6CBA}"/>
          </ac:cxnSpMkLst>
        </pc:cxnChg>
        <pc:cxnChg chg="del mod">
          <ac:chgData name="Lamb, Ben" userId="88a6f5f3-f9e5-47eb-a109-670a0c68440d" providerId="ADAL" clId="{306D01AF-A76E-3E4F-A971-A1200024FF94}" dt="2021-04-01T20:12:22.861" v="41" actId="478"/>
          <ac:cxnSpMkLst>
            <pc:docMk/>
            <pc:sldMk cId="613284557" sldId="1730"/>
            <ac:cxnSpMk id="166" creationId="{534E3EDB-AC43-C848-A4EF-9C95DA7ADE82}"/>
          </ac:cxnSpMkLst>
        </pc:cxnChg>
        <pc:cxnChg chg="del mod">
          <ac:chgData name="Lamb, Ben" userId="88a6f5f3-f9e5-47eb-a109-670a0c68440d" providerId="ADAL" clId="{306D01AF-A76E-3E4F-A971-A1200024FF94}" dt="2021-04-01T20:12:22.861" v="41" actId="478"/>
          <ac:cxnSpMkLst>
            <pc:docMk/>
            <pc:sldMk cId="613284557" sldId="1730"/>
            <ac:cxnSpMk id="172" creationId="{0084A0F3-7F3D-5447-94B7-F3367FB835A9}"/>
          </ac:cxnSpMkLst>
        </pc:cxnChg>
      </pc:sldChg>
      <pc:sldChg chg="modSp add mod">
        <pc:chgData name="Lamb, Ben" userId="88a6f5f3-f9e5-47eb-a109-670a0c68440d" providerId="ADAL" clId="{306D01AF-A76E-3E4F-A971-A1200024FF94}" dt="2021-04-07T00:36:38.310" v="7006" actId="20577"/>
        <pc:sldMkLst>
          <pc:docMk/>
          <pc:sldMk cId="1232022337" sldId="1731"/>
        </pc:sldMkLst>
        <pc:spChg chg="mod">
          <ac:chgData name="Lamb, Ben" userId="88a6f5f3-f9e5-47eb-a109-670a0c68440d" providerId="ADAL" clId="{306D01AF-A76E-3E4F-A971-A1200024FF94}" dt="2021-04-07T00:36:38.310" v="7006" actId="20577"/>
          <ac:spMkLst>
            <pc:docMk/>
            <pc:sldMk cId="1232022337" sldId="1731"/>
            <ac:spMk id="8" creationId="{C3C178AD-02A1-4942-8024-FBC4657A120C}"/>
          </ac:spMkLst>
        </pc:spChg>
      </pc:sldChg>
      <pc:sldChg chg="modSp add del mod">
        <pc:chgData name="Lamb, Ben" userId="88a6f5f3-f9e5-47eb-a109-670a0c68440d" providerId="ADAL" clId="{306D01AF-A76E-3E4F-A971-A1200024FF94}" dt="2021-04-07T01:50:01.624" v="9857" actId="207"/>
        <pc:sldMkLst>
          <pc:docMk/>
          <pc:sldMk cId="3452905518" sldId="5525"/>
        </pc:sldMkLst>
        <pc:spChg chg="mod">
          <ac:chgData name="Lamb, Ben" userId="88a6f5f3-f9e5-47eb-a109-670a0c68440d" providerId="ADAL" clId="{306D01AF-A76E-3E4F-A971-A1200024FF94}" dt="2021-04-06T17:13:22.050" v="4256" actId="20577"/>
          <ac:spMkLst>
            <pc:docMk/>
            <pc:sldMk cId="3452905518" sldId="5525"/>
            <ac:spMk id="4" creationId="{AE441639-E382-C64F-93E0-BF34827AD910}"/>
          </ac:spMkLst>
        </pc:spChg>
        <pc:spChg chg="mod">
          <ac:chgData name="Lamb, Ben" userId="88a6f5f3-f9e5-47eb-a109-670a0c68440d" providerId="ADAL" clId="{306D01AF-A76E-3E4F-A971-A1200024FF94}" dt="2021-04-07T01:41:06.806" v="9723" actId="20577"/>
          <ac:spMkLst>
            <pc:docMk/>
            <pc:sldMk cId="3452905518" sldId="5525"/>
            <ac:spMk id="5" creationId="{C43411B1-806E-2F49-92D3-70BF1120C5D3}"/>
          </ac:spMkLst>
        </pc:spChg>
        <pc:graphicFrameChg chg="mod modGraphic">
          <ac:chgData name="Lamb, Ben" userId="88a6f5f3-f9e5-47eb-a109-670a0c68440d" providerId="ADAL" clId="{306D01AF-A76E-3E4F-A971-A1200024FF94}" dt="2021-04-07T01:50:01.624" v="9857" actId="207"/>
          <ac:graphicFrameMkLst>
            <pc:docMk/>
            <pc:sldMk cId="3452905518" sldId="5525"/>
            <ac:graphicFrameMk id="8" creationId="{02EDC088-A9EF-406C-BD61-B034A93813FE}"/>
          </ac:graphicFrameMkLst>
        </pc:graphicFrameChg>
      </pc:sldChg>
      <pc:sldChg chg="addSp delSp modSp add mod">
        <pc:chgData name="Lamb, Ben" userId="88a6f5f3-f9e5-47eb-a109-670a0c68440d" providerId="ADAL" clId="{306D01AF-A76E-3E4F-A971-A1200024FF94}" dt="2021-04-08T17:31:21.039" v="9898"/>
        <pc:sldMkLst>
          <pc:docMk/>
          <pc:sldMk cId="3873525622" sldId="5538"/>
        </pc:sldMkLst>
        <pc:spChg chg="mod">
          <ac:chgData name="Lamb, Ben" userId="88a6f5f3-f9e5-47eb-a109-670a0c68440d" providerId="ADAL" clId="{306D01AF-A76E-3E4F-A971-A1200024FF94}" dt="2021-04-07T01:50:11.255" v="9866" actId="207"/>
          <ac:spMkLst>
            <pc:docMk/>
            <pc:sldMk cId="3873525622" sldId="5538"/>
            <ac:spMk id="2" creationId="{DB45C7EB-B53D-654C-86B1-1973D9E15B9E}"/>
          </ac:spMkLst>
        </pc:spChg>
        <pc:spChg chg="add del mod">
          <ac:chgData name="Lamb, Ben" userId="88a6f5f3-f9e5-47eb-a109-670a0c68440d" providerId="ADAL" clId="{306D01AF-A76E-3E4F-A971-A1200024FF94}" dt="2021-04-08T17:31:13.144" v="9896"/>
          <ac:spMkLst>
            <pc:docMk/>
            <pc:sldMk cId="3873525622" sldId="5538"/>
            <ac:spMk id="3" creationId="{9312E1D1-5F17-004C-A954-67C274B34B20}"/>
          </ac:spMkLst>
        </pc:spChg>
        <pc:spChg chg="add del mod">
          <ac:chgData name="Lamb, Ben" userId="88a6f5f3-f9e5-47eb-a109-670a0c68440d" providerId="ADAL" clId="{306D01AF-A76E-3E4F-A971-A1200024FF94}" dt="2021-04-08T17:31:21.039" v="9898"/>
          <ac:spMkLst>
            <pc:docMk/>
            <pc:sldMk cId="3873525622" sldId="5538"/>
            <ac:spMk id="4" creationId="{936BCF91-B1FB-2846-9809-C2E17C9F71E5}"/>
          </ac:spMkLst>
        </pc:spChg>
        <pc:graphicFrameChg chg="mod modGraphic">
          <ac:chgData name="Lamb, Ben" userId="88a6f5f3-f9e5-47eb-a109-670a0c68440d" providerId="ADAL" clId="{306D01AF-A76E-3E4F-A971-A1200024FF94}" dt="2021-04-06T20:04:53.283" v="4781" actId="14100"/>
          <ac:graphicFrameMkLst>
            <pc:docMk/>
            <pc:sldMk cId="3873525622" sldId="5538"/>
            <ac:graphicFrameMk id="5" creationId="{7D613193-E20C-7247-81E6-7FCBD44BCCE8}"/>
          </ac:graphicFrameMkLst>
        </pc:graphicFrameChg>
      </pc:sldChg>
      <pc:sldChg chg="addSp delSp modSp new mod ord modClrScheme chgLayout">
        <pc:chgData name="Lamb, Ben" userId="88a6f5f3-f9e5-47eb-a109-670a0c68440d" providerId="ADAL" clId="{306D01AF-A76E-3E4F-A971-A1200024FF94}" dt="2021-04-07T01:51:58.644" v="9894" actId="207"/>
        <pc:sldMkLst>
          <pc:docMk/>
          <pc:sldMk cId="3249235995" sldId="5539"/>
        </pc:sldMkLst>
        <pc:spChg chg="del mod ord">
          <ac:chgData name="Lamb, Ben" userId="88a6f5f3-f9e5-47eb-a109-670a0c68440d" providerId="ADAL" clId="{306D01AF-A76E-3E4F-A971-A1200024FF94}" dt="2021-04-07T00:36:05.516" v="6990" actId="700"/>
          <ac:spMkLst>
            <pc:docMk/>
            <pc:sldMk cId="3249235995" sldId="5539"/>
            <ac:spMk id="2" creationId="{8127EB84-C7F0-9046-9973-4151568C7A43}"/>
          </ac:spMkLst>
        </pc:spChg>
        <pc:spChg chg="mod ord">
          <ac:chgData name="Lamb, Ben" userId="88a6f5f3-f9e5-47eb-a109-670a0c68440d" providerId="ADAL" clId="{306D01AF-A76E-3E4F-A971-A1200024FF94}" dt="2021-04-07T01:51:53.823" v="9893" actId="20577"/>
          <ac:spMkLst>
            <pc:docMk/>
            <pc:sldMk cId="3249235995" sldId="5539"/>
            <ac:spMk id="3" creationId="{6558A71B-8072-904B-9AE0-3E522A5AD61C}"/>
          </ac:spMkLst>
        </pc:spChg>
        <pc:spChg chg="add del mod ord">
          <ac:chgData name="Lamb, Ben" userId="88a6f5f3-f9e5-47eb-a109-670a0c68440d" providerId="ADAL" clId="{306D01AF-A76E-3E4F-A971-A1200024FF94}" dt="2021-04-07T01:51:46.918" v="9882" actId="478"/>
          <ac:spMkLst>
            <pc:docMk/>
            <pc:sldMk cId="3249235995" sldId="5539"/>
            <ac:spMk id="5" creationId="{BC99E6DE-44E0-844F-92EC-F09C45B2196C}"/>
          </ac:spMkLst>
        </pc:spChg>
        <pc:spChg chg="add del mod">
          <ac:chgData name="Lamb, Ben" userId="88a6f5f3-f9e5-47eb-a109-670a0c68440d" providerId="ADAL" clId="{306D01AF-A76E-3E4F-A971-A1200024FF94}" dt="2021-04-07T01:51:48.409" v="9883" actId="478"/>
          <ac:spMkLst>
            <pc:docMk/>
            <pc:sldMk cId="3249235995" sldId="5539"/>
            <ac:spMk id="7" creationId="{43A35A0C-5FA2-3949-A02C-D35BED396EC9}"/>
          </ac:spMkLst>
        </pc:spChg>
        <pc:graphicFrameChg chg="add mod modGraphic">
          <ac:chgData name="Lamb, Ben" userId="88a6f5f3-f9e5-47eb-a109-670a0c68440d" providerId="ADAL" clId="{306D01AF-A76E-3E4F-A971-A1200024FF94}" dt="2021-04-07T01:51:58.644" v="9894" actId="207"/>
          <ac:graphicFrameMkLst>
            <pc:docMk/>
            <pc:sldMk cId="3249235995" sldId="5539"/>
            <ac:graphicFrameMk id="4" creationId="{48E39330-C988-374D-8AE9-7781D1583DB0}"/>
          </ac:graphicFrameMkLst>
        </pc:graphicFrameChg>
      </pc:sldChg>
      <pc:sldChg chg="modSp new mod">
        <pc:chgData name="Lamb, Ben" userId="88a6f5f3-f9e5-47eb-a109-670a0c68440d" providerId="ADAL" clId="{306D01AF-A76E-3E4F-A971-A1200024FF94}" dt="2021-04-02T16:37:55.496" v="3711" actId="20577"/>
        <pc:sldMkLst>
          <pc:docMk/>
          <pc:sldMk cId="4093029945" sldId="5540"/>
        </pc:sldMkLst>
        <pc:spChg chg="mod">
          <ac:chgData name="Lamb, Ben" userId="88a6f5f3-f9e5-47eb-a109-670a0c68440d" providerId="ADAL" clId="{306D01AF-A76E-3E4F-A971-A1200024FF94}" dt="2021-04-02T16:37:55.496" v="3711" actId="20577"/>
          <ac:spMkLst>
            <pc:docMk/>
            <pc:sldMk cId="4093029945" sldId="5540"/>
            <ac:spMk id="3" creationId="{EB69C7C5-0442-9746-8349-DA37934F0962}"/>
          </ac:spMkLst>
        </pc:spChg>
      </pc:sldChg>
      <pc:sldChg chg="add">
        <pc:chgData name="Lamb, Ben" userId="88a6f5f3-f9e5-47eb-a109-670a0c68440d" providerId="ADAL" clId="{306D01AF-A76E-3E4F-A971-A1200024FF94}" dt="2021-04-06T23:58:02.713" v="5374"/>
        <pc:sldMkLst>
          <pc:docMk/>
          <pc:sldMk cId="2270626726" sldId="5541"/>
        </pc:sldMkLst>
      </pc:sldChg>
      <pc:sldChg chg="addSp delSp modSp add del mod ord">
        <pc:chgData name="Lamb, Ben" userId="88a6f5f3-f9e5-47eb-a109-670a0c68440d" providerId="ADAL" clId="{306D01AF-A76E-3E4F-A971-A1200024FF94}" dt="2021-04-06T23:58:00.563" v="5373" actId="2696"/>
        <pc:sldMkLst>
          <pc:docMk/>
          <pc:sldMk cId="3976708897" sldId="5541"/>
        </pc:sldMkLst>
        <pc:spChg chg="mod">
          <ac:chgData name="Lamb, Ben" userId="88a6f5f3-f9e5-47eb-a109-670a0c68440d" providerId="ADAL" clId="{306D01AF-A76E-3E4F-A971-A1200024FF94}" dt="2021-04-06T20:00:54.048" v="4693" actId="20577"/>
          <ac:spMkLst>
            <pc:docMk/>
            <pc:sldMk cId="3976708897" sldId="5541"/>
            <ac:spMk id="2" creationId="{DB208CFC-53A7-482A-A68A-4A132F661D04}"/>
          </ac:spMkLst>
        </pc:spChg>
        <pc:spChg chg="add del mod">
          <ac:chgData name="Lamb, Ben" userId="88a6f5f3-f9e5-47eb-a109-670a0c68440d" providerId="ADAL" clId="{306D01AF-A76E-3E4F-A971-A1200024FF94}" dt="2021-04-06T16:56:36.060" v="3974"/>
          <ac:spMkLst>
            <pc:docMk/>
            <pc:sldMk cId="3976708897" sldId="5541"/>
            <ac:spMk id="3" creationId="{5D30811F-352B-6841-8F56-2E94DE5FFBBA}"/>
          </ac:spMkLst>
        </pc:spChg>
        <pc:spChg chg="mod">
          <ac:chgData name="Lamb, Ben" userId="88a6f5f3-f9e5-47eb-a109-670a0c68440d" providerId="ADAL" clId="{306D01AF-A76E-3E4F-A971-A1200024FF94}" dt="2021-04-06T16:58:38.947" v="4017" actId="20577"/>
          <ac:spMkLst>
            <pc:docMk/>
            <pc:sldMk cId="3976708897" sldId="5541"/>
            <ac:spMk id="12" creationId="{465F1CB9-4A62-9749-AE92-F02D02943F0C}"/>
          </ac:spMkLst>
        </pc:spChg>
        <pc:spChg chg="mod">
          <ac:chgData name="Lamb, Ben" userId="88a6f5f3-f9e5-47eb-a109-670a0c68440d" providerId="ADAL" clId="{306D01AF-A76E-3E4F-A971-A1200024FF94}" dt="2021-04-06T16:58:26.858" v="3988"/>
          <ac:spMkLst>
            <pc:docMk/>
            <pc:sldMk cId="3976708897" sldId="5541"/>
            <ac:spMk id="13" creationId="{4D7A2060-D1E9-FD44-8992-8BFB66A19D4E}"/>
          </ac:spMkLst>
        </pc:spChg>
        <pc:spChg chg="mod">
          <ac:chgData name="Lamb, Ben" userId="88a6f5f3-f9e5-47eb-a109-670a0c68440d" providerId="ADAL" clId="{306D01AF-A76E-3E4F-A971-A1200024FF94}" dt="2021-04-06T16:58:26.858" v="3988"/>
          <ac:spMkLst>
            <pc:docMk/>
            <pc:sldMk cId="3976708897" sldId="5541"/>
            <ac:spMk id="15" creationId="{66173847-2B5C-6B4A-8CD5-366531AD9C62}"/>
          </ac:spMkLst>
        </pc:spChg>
        <pc:spChg chg="mod">
          <ac:chgData name="Lamb, Ben" userId="88a6f5f3-f9e5-47eb-a109-670a0c68440d" providerId="ADAL" clId="{306D01AF-A76E-3E4F-A971-A1200024FF94}" dt="2021-04-06T16:58:26.858" v="3988"/>
          <ac:spMkLst>
            <pc:docMk/>
            <pc:sldMk cId="3976708897" sldId="5541"/>
            <ac:spMk id="16" creationId="{A1C57F56-02FD-D944-A061-03B52DBC13BE}"/>
          </ac:spMkLst>
        </pc:spChg>
        <pc:spChg chg="mod">
          <ac:chgData name="Lamb, Ben" userId="88a6f5f3-f9e5-47eb-a109-670a0c68440d" providerId="ADAL" clId="{306D01AF-A76E-3E4F-A971-A1200024FF94}" dt="2021-04-06T17:00:29.647" v="4070" actId="14100"/>
          <ac:spMkLst>
            <pc:docMk/>
            <pc:sldMk cId="3976708897" sldId="5541"/>
            <ac:spMk id="18" creationId="{1EA8C22B-7933-514B-AF6D-5872540E63EA}"/>
          </ac:spMkLst>
        </pc:spChg>
        <pc:spChg chg="mod">
          <ac:chgData name="Lamb, Ben" userId="88a6f5f3-f9e5-47eb-a109-670a0c68440d" providerId="ADAL" clId="{306D01AF-A76E-3E4F-A971-A1200024FF94}" dt="2021-04-06T19:50:50.962" v="4654" actId="20577"/>
          <ac:spMkLst>
            <pc:docMk/>
            <pc:sldMk cId="3976708897" sldId="5541"/>
            <ac:spMk id="19" creationId="{BE3FCE27-3F4E-DF4C-91AF-3CC4F22BC61B}"/>
          </ac:spMkLst>
        </pc:spChg>
        <pc:spChg chg="mod">
          <ac:chgData name="Lamb, Ben" userId="88a6f5f3-f9e5-47eb-a109-670a0c68440d" providerId="ADAL" clId="{306D01AF-A76E-3E4F-A971-A1200024FF94}" dt="2021-04-06T16:58:26.858" v="3988"/>
          <ac:spMkLst>
            <pc:docMk/>
            <pc:sldMk cId="3976708897" sldId="5541"/>
            <ac:spMk id="21" creationId="{C37C23A1-88D0-4C4E-9413-2DFEB1EF4B68}"/>
          </ac:spMkLst>
        </pc:spChg>
        <pc:spChg chg="mod">
          <ac:chgData name="Lamb, Ben" userId="88a6f5f3-f9e5-47eb-a109-670a0c68440d" providerId="ADAL" clId="{306D01AF-A76E-3E4F-A971-A1200024FF94}" dt="2021-04-06T19:51:15.037" v="4662" actId="20577"/>
          <ac:spMkLst>
            <pc:docMk/>
            <pc:sldMk cId="3976708897" sldId="5541"/>
            <ac:spMk id="22" creationId="{65BC089F-8E97-F84E-9DD4-21265FAEADCB}"/>
          </ac:spMkLst>
        </pc:spChg>
        <pc:spChg chg="mod">
          <ac:chgData name="Lamb, Ben" userId="88a6f5f3-f9e5-47eb-a109-670a0c68440d" providerId="ADAL" clId="{306D01AF-A76E-3E4F-A971-A1200024FF94}" dt="2021-04-06T16:58:26.858" v="3988"/>
          <ac:spMkLst>
            <pc:docMk/>
            <pc:sldMk cId="3976708897" sldId="5541"/>
            <ac:spMk id="24" creationId="{DA37C4B8-A43F-EA4F-906D-7891882D60B7}"/>
          </ac:spMkLst>
        </pc:spChg>
        <pc:spChg chg="mod">
          <ac:chgData name="Lamb, Ben" userId="88a6f5f3-f9e5-47eb-a109-670a0c68440d" providerId="ADAL" clId="{306D01AF-A76E-3E4F-A971-A1200024FF94}" dt="2021-04-06T16:58:26.858" v="3988"/>
          <ac:spMkLst>
            <pc:docMk/>
            <pc:sldMk cId="3976708897" sldId="5541"/>
            <ac:spMk id="25" creationId="{2B79D6C7-67C8-AF48-840F-4E06A78A620E}"/>
          </ac:spMkLst>
        </pc:spChg>
        <pc:spChg chg="mod">
          <ac:chgData name="Lamb, Ben" userId="88a6f5f3-f9e5-47eb-a109-670a0c68440d" providerId="ADAL" clId="{306D01AF-A76E-3E4F-A971-A1200024FF94}" dt="2021-04-06T16:58:26.858" v="3988"/>
          <ac:spMkLst>
            <pc:docMk/>
            <pc:sldMk cId="3976708897" sldId="5541"/>
            <ac:spMk id="27" creationId="{4EC3401E-12A7-994D-B596-26ABCBA73590}"/>
          </ac:spMkLst>
        </pc:spChg>
        <pc:spChg chg="mod">
          <ac:chgData name="Lamb, Ben" userId="88a6f5f3-f9e5-47eb-a109-670a0c68440d" providerId="ADAL" clId="{306D01AF-A76E-3E4F-A971-A1200024FF94}" dt="2021-04-06T16:58:26.858" v="3988"/>
          <ac:spMkLst>
            <pc:docMk/>
            <pc:sldMk cId="3976708897" sldId="5541"/>
            <ac:spMk id="28" creationId="{28739C1E-E863-CE4B-BE20-F52D3234187C}"/>
          </ac:spMkLst>
        </pc:spChg>
        <pc:spChg chg="mod">
          <ac:chgData name="Lamb, Ben" userId="88a6f5f3-f9e5-47eb-a109-670a0c68440d" providerId="ADAL" clId="{306D01AF-A76E-3E4F-A971-A1200024FF94}" dt="2021-04-06T16:58:51.756" v="4030" actId="20577"/>
          <ac:spMkLst>
            <pc:docMk/>
            <pc:sldMk cId="3976708897" sldId="5541"/>
            <ac:spMk id="30" creationId="{846A6619-D76D-2F4F-986B-D24F3681F296}"/>
          </ac:spMkLst>
        </pc:spChg>
        <pc:spChg chg="mod">
          <ac:chgData name="Lamb, Ben" userId="88a6f5f3-f9e5-47eb-a109-670a0c68440d" providerId="ADAL" clId="{306D01AF-A76E-3E4F-A971-A1200024FF94}" dt="2021-04-06T16:58:41.574" v="4018"/>
          <ac:spMkLst>
            <pc:docMk/>
            <pc:sldMk cId="3976708897" sldId="5541"/>
            <ac:spMk id="31" creationId="{02191755-3C4C-EB49-89AD-944437D01951}"/>
          </ac:spMkLst>
        </pc:spChg>
        <pc:spChg chg="mod">
          <ac:chgData name="Lamb, Ben" userId="88a6f5f3-f9e5-47eb-a109-670a0c68440d" providerId="ADAL" clId="{306D01AF-A76E-3E4F-A971-A1200024FF94}" dt="2021-04-06T16:58:54.716" v="4031"/>
          <ac:spMkLst>
            <pc:docMk/>
            <pc:sldMk cId="3976708897" sldId="5541"/>
            <ac:spMk id="33" creationId="{DFE594F5-F5A3-CB49-9535-98D0628402F3}"/>
          </ac:spMkLst>
        </pc:spChg>
        <pc:spChg chg="mod">
          <ac:chgData name="Lamb, Ben" userId="88a6f5f3-f9e5-47eb-a109-670a0c68440d" providerId="ADAL" clId="{306D01AF-A76E-3E4F-A971-A1200024FF94}" dt="2021-04-06T16:58:54.716" v="4031"/>
          <ac:spMkLst>
            <pc:docMk/>
            <pc:sldMk cId="3976708897" sldId="5541"/>
            <ac:spMk id="34" creationId="{800CCDC8-AB92-4A41-94AC-552D410E5665}"/>
          </ac:spMkLst>
        </pc:spChg>
        <pc:spChg chg="mod">
          <ac:chgData name="Lamb, Ben" userId="88a6f5f3-f9e5-47eb-a109-670a0c68440d" providerId="ADAL" clId="{306D01AF-A76E-3E4F-A971-A1200024FF94}" dt="2021-04-06T16:59:10.565" v="4035"/>
          <ac:spMkLst>
            <pc:docMk/>
            <pc:sldMk cId="3976708897" sldId="5541"/>
            <ac:spMk id="36" creationId="{6756CE13-9AEE-B24F-9BEB-3229F31AB1F0}"/>
          </ac:spMkLst>
        </pc:spChg>
        <pc:spChg chg="mod">
          <ac:chgData name="Lamb, Ben" userId="88a6f5f3-f9e5-47eb-a109-670a0c68440d" providerId="ADAL" clId="{306D01AF-A76E-3E4F-A971-A1200024FF94}" dt="2021-04-06T16:59:10.565" v="4035"/>
          <ac:spMkLst>
            <pc:docMk/>
            <pc:sldMk cId="3976708897" sldId="5541"/>
            <ac:spMk id="37" creationId="{7A632FE0-D76C-D845-91B2-1CEED3031D60}"/>
          </ac:spMkLst>
        </pc:spChg>
        <pc:spChg chg="del mod topLvl">
          <ac:chgData name="Lamb, Ben" userId="88a6f5f3-f9e5-47eb-a109-670a0c68440d" providerId="ADAL" clId="{306D01AF-A76E-3E4F-A971-A1200024FF94}" dt="2021-04-06T17:05:44.704" v="4075" actId="478"/>
          <ac:spMkLst>
            <pc:docMk/>
            <pc:sldMk cId="3976708897" sldId="5541"/>
            <ac:spMk id="39" creationId="{DC767A09-BAC8-274B-86F6-07020700D4CE}"/>
          </ac:spMkLst>
        </pc:spChg>
        <pc:spChg chg="mod topLvl">
          <ac:chgData name="Lamb, Ben" userId="88a6f5f3-f9e5-47eb-a109-670a0c68440d" providerId="ADAL" clId="{306D01AF-A76E-3E4F-A971-A1200024FF94}" dt="2021-04-06T17:06:22.825" v="4177" actId="1076"/>
          <ac:spMkLst>
            <pc:docMk/>
            <pc:sldMk cId="3976708897" sldId="5541"/>
            <ac:spMk id="40" creationId="{757D1FD2-0BF3-8C49-AE1D-F1DE3D659A25}"/>
          </ac:spMkLst>
        </pc:spChg>
        <pc:spChg chg="mod">
          <ac:chgData name="Lamb, Ben" userId="88a6f5f3-f9e5-47eb-a109-670a0c68440d" providerId="ADAL" clId="{306D01AF-A76E-3E4F-A971-A1200024FF94}" dt="2021-04-06T18:47:35.876" v="4264"/>
          <ac:spMkLst>
            <pc:docMk/>
            <pc:sldMk cId="3976708897" sldId="5541"/>
            <ac:spMk id="42" creationId="{B9573751-27E9-3448-9ABB-960C560E168F}"/>
          </ac:spMkLst>
        </pc:spChg>
        <pc:spChg chg="mod">
          <ac:chgData name="Lamb, Ben" userId="88a6f5f3-f9e5-47eb-a109-670a0c68440d" providerId="ADAL" clId="{306D01AF-A76E-3E4F-A971-A1200024FF94}" dt="2021-04-06T18:47:35.876" v="4264"/>
          <ac:spMkLst>
            <pc:docMk/>
            <pc:sldMk cId="3976708897" sldId="5541"/>
            <ac:spMk id="43" creationId="{FF9974CF-1FF9-3A44-B39B-57CC3AA890AD}"/>
          </ac:spMkLst>
        </pc:spChg>
        <pc:spChg chg="mod">
          <ac:chgData name="Lamb, Ben" userId="88a6f5f3-f9e5-47eb-a109-670a0c68440d" providerId="ADAL" clId="{306D01AF-A76E-3E4F-A971-A1200024FF94}" dt="2021-04-06T19:47:21.500" v="4298" actId="20577"/>
          <ac:spMkLst>
            <pc:docMk/>
            <pc:sldMk cId="3976708897" sldId="5541"/>
            <ac:spMk id="45" creationId="{708AC13A-3586-4C48-B56E-482811E30E23}"/>
          </ac:spMkLst>
        </pc:spChg>
        <pc:spChg chg="mod">
          <ac:chgData name="Lamb, Ben" userId="88a6f5f3-f9e5-47eb-a109-670a0c68440d" providerId="ADAL" clId="{306D01AF-A76E-3E4F-A971-A1200024FF94}" dt="2021-04-06T19:48:05.296" v="4340" actId="20577"/>
          <ac:spMkLst>
            <pc:docMk/>
            <pc:sldMk cId="3976708897" sldId="5541"/>
            <ac:spMk id="46" creationId="{6892E0EE-290D-D74F-99EA-B33104D8B84C}"/>
          </ac:spMkLst>
        </pc:spChg>
        <pc:grpChg chg="add del mod">
          <ac:chgData name="Lamb, Ben" userId="88a6f5f3-f9e5-47eb-a109-670a0c68440d" providerId="ADAL" clId="{306D01AF-A76E-3E4F-A971-A1200024FF94}" dt="2021-04-06T18:47:37.811" v="4266" actId="478"/>
          <ac:grpSpMkLst>
            <pc:docMk/>
            <pc:sldMk cId="3976708897" sldId="5541"/>
            <ac:grpSpMk id="11" creationId="{ED057D7F-2F33-5B4F-BB42-A4ECB54E4F3B}"/>
          </ac:grpSpMkLst>
        </pc:grpChg>
        <pc:grpChg chg="add mod">
          <ac:chgData name="Lamb, Ben" userId="88a6f5f3-f9e5-47eb-a109-670a0c68440d" providerId="ADAL" clId="{306D01AF-A76E-3E4F-A971-A1200024FF94}" dt="2021-04-06T19:52:05.268" v="4667" actId="1076"/>
          <ac:grpSpMkLst>
            <pc:docMk/>
            <pc:sldMk cId="3976708897" sldId="5541"/>
            <ac:grpSpMk id="14" creationId="{51F997C5-6AFD-C941-BF20-B74BBD775F0D}"/>
          </ac:grpSpMkLst>
        </pc:grpChg>
        <pc:grpChg chg="add mod">
          <ac:chgData name="Lamb, Ben" userId="88a6f5f3-f9e5-47eb-a109-670a0c68440d" providerId="ADAL" clId="{306D01AF-A76E-3E4F-A971-A1200024FF94}" dt="2021-04-06T19:50:56.764" v="4655" actId="1076"/>
          <ac:grpSpMkLst>
            <pc:docMk/>
            <pc:sldMk cId="3976708897" sldId="5541"/>
            <ac:grpSpMk id="17" creationId="{0ED5E893-D1DA-384E-A53D-29B6E59E2CB4}"/>
          </ac:grpSpMkLst>
        </pc:grpChg>
        <pc:grpChg chg="add mod">
          <ac:chgData name="Lamb, Ben" userId="88a6f5f3-f9e5-47eb-a109-670a0c68440d" providerId="ADAL" clId="{306D01AF-A76E-3E4F-A971-A1200024FF94}" dt="2021-04-06T19:51:24.731" v="4663" actId="1076"/>
          <ac:grpSpMkLst>
            <pc:docMk/>
            <pc:sldMk cId="3976708897" sldId="5541"/>
            <ac:grpSpMk id="20" creationId="{30FDA194-81A5-074C-8CA2-5E858B824269}"/>
          </ac:grpSpMkLst>
        </pc:grpChg>
        <pc:grpChg chg="add mod">
          <ac:chgData name="Lamb, Ben" userId="88a6f5f3-f9e5-47eb-a109-670a0c68440d" providerId="ADAL" clId="{306D01AF-A76E-3E4F-A971-A1200024FF94}" dt="2021-04-06T19:52:23.211" v="4669" actId="1076"/>
          <ac:grpSpMkLst>
            <pc:docMk/>
            <pc:sldMk cId="3976708897" sldId="5541"/>
            <ac:grpSpMk id="23" creationId="{3BD1D5FD-B93A-194D-90FD-97BD2A218889}"/>
          </ac:grpSpMkLst>
        </pc:grpChg>
        <pc:grpChg chg="add del mod">
          <ac:chgData name="Lamb, Ben" userId="88a6f5f3-f9e5-47eb-a109-670a0c68440d" providerId="ADAL" clId="{306D01AF-A76E-3E4F-A971-A1200024FF94}" dt="2021-04-06T16:59:27.238" v="4040" actId="478"/>
          <ac:grpSpMkLst>
            <pc:docMk/>
            <pc:sldMk cId="3976708897" sldId="5541"/>
            <ac:grpSpMk id="26" creationId="{2AB3D046-C622-3446-93F4-A889393A11CD}"/>
          </ac:grpSpMkLst>
        </pc:grpChg>
        <pc:grpChg chg="add del mod">
          <ac:chgData name="Lamb, Ben" userId="88a6f5f3-f9e5-47eb-a109-670a0c68440d" providerId="ADAL" clId="{306D01AF-A76E-3E4F-A971-A1200024FF94}" dt="2021-04-06T18:47:40.152" v="4267" actId="478"/>
          <ac:grpSpMkLst>
            <pc:docMk/>
            <pc:sldMk cId="3976708897" sldId="5541"/>
            <ac:grpSpMk id="29" creationId="{612D925A-F105-304D-BC84-C4097E094ADD}"/>
          </ac:grpSpMkLst>
        </pc:grpChg>
        <pc:grpChg chg="add del mod">
          <ac:chgData name="Lamb, Ben" userId="88a6f5f3-f9e5-47eb-a109-670a0c68440d" providerId="ADAL" clId="{306D01AF-A76E-3E4F-A971-A1200024FF94}" dt="2021-04-06T16:59:04.001" v="4033" actId="478"/>
          <ac:grpSpMkLst>
            <pc:docMk/>
            <pc:sldMk cId="3976708897" sldId="5541"/>
            <ac:grpSpMk id="32" creationId="{0FB34D95-EF2D-4C4B-93D0-B48315BB62D7}"/>
          </ac:grpSpMkLst>
        </pc:grpChg>
        <pc:grpChg chg="add del mod">
          <ac:chgData name="Lamb, Ben" userId="88a6f5f3-f9e5-47eb-a109-670a0c68440d" providerId="ADAL" clId="{306D01AF-A76E-3E4F-A971-A1200024FF94}" dt="2021-04-06T16:59:19.010" v="4037" actId="478"/>
          <ac:grpSpMkLst>
            <pc:docMk/>
            <pc:sldMk cId="3976708897" sldId="5541"/>
            <ac:grpSpMk id="35" creationId="{5153E811-5050-A948-8EEF-5D51F63401C7}"/>
          </ac:grpSpMkLst>
        </pc:grpChg>
        <pc:grpChg chg="add del mod">
          <ac:chgData name="Lamb, Ben" userId="88a6f5f3-f9e5-47eb-a109-670a0c68440d" providerId="ADAL" clId="{306D01AF-A76E-3E4F-A971-A1200024FF94}" dt="2021-04-06T17:05:44.704" v="4075" actId="478"/>
          <ac:grpSpMkLst>
            <pc:docMk/>
            <pc:sldMk cId="3976708897" sldId="5541"/>
            <ac:grpSpMk id="38" creationId="{3956D26B-3B3F-0B4F-B62E-A2A0D69D6A7E}"/>
          </ac:grpSpMkLst>
        </pc:grpChg>
        <pc:grpChg chg="add mod">
          <ac:chgData name="Lamb, Ben" userId="88a6f5f3-f9e5-47eb-a109-670a0c68440d" providerId="ADAL" clId="{306D01AF-A76E-3E4F-A971-A1200024FF94}" dt="2021-04-06T19:52:08.733" v="4668" actId="1076"/>
          <ac:grpSpMkLst>
            <pc:docMk/>
            <pc:sldMk cId="3976708897" sldId="5541"/>
            <ac:grpSpMk id="41" creationId="{270BBF14-35BC-2049-B75E-0D75A0A0AFA2}"/>
          </ac:grpSpMkLst>
        </pc:grpChg>
        <pc:grpChg chg="add mod">
          <ac:chgData name="Lamb, Ben" userId="88a6f5f3-f9e5-47eb-a109-670a0c68440d" providerId="ADAL" clId="{306D01AF-A76E-3E4F-A971-A1200024FF94}" dt="2021-04-06T19:48:39.511" v="4345" actId="1076"/>
          <ac:grpSpMkLst>
            <pc:docMk/>
            <pc:sldMk cId="3976708897" sldId="5541"/>
            <ac:grpSpMk id="44" creationId="{5A318269-81B8-8941-BCC8-CCE20C68108F}"/>
          </ac:grpSpMkLst>
        </pc:grpChg>
        <pc:graphicFrameChg chg="del">
          <ac:chgData name="Lamb, Ben" userId="88a6f5f3-f9e5-47eb-a109-670a0c68440d" providerId="ADAL" clId="{306D01AF-A76E-3E4F-A971-A1200024FF94}" dt="2021-04-06T16:57:45.844" v="3982" actId="478"/>
          <ac:graphicFrameMkLst>
            <pc:docMk/>
            <pc:sldMk cId="3976708897" sldId="5541"/>
            <ac:graphicFrameMk id="80" creationId="{0DAD8358-9FEF-4C27-A658-8C85C20ED264}"/>
          </ac:graphicFrameMkLst>
        </pc:graphicFrameChg>
        <pc:picChg chg="add mod">
          <ac:chgData name="Lamb, Ben" userId="88a6f5f3-f9e5-47eb-a109-670a0c68440d" providerId="ADAL" clId="{306D01AF-A76E-3E4F-A971-A1200024FF94}" dt="2021-04-06T19:51:56.835" v="4666" actId="1076"/>
          <ac:picMkLst>
            <pc:docMk/>
            <pc:sldMk cId="3976708897" sldId="5541"/>
            <ac:picMk id="7" creationId="{628F1372-C484-AC4E-B693-946405795047}"/>
          </ac:picMkLst>
        </pc:picChg>
        <pc:picChg chg="del">
          <ac:chgData name="Lamb, Ben" userId="88a6f5f3-f9e5-47eb-a109-670a0c68440d" providerId="ADAL" clId="{306D01AF-A76E-3E4F-A971-A1200024FF94}" dt="2021-04-06T16:56:33.800" v="3972" actId="478"/>
          <ac:picMkLst>
            <pc:docMk/>
            <pc:sldMk cId="3976708897" sldId="5541"/>
            <ac:picMk id="10" creationId="{F41CEA09-30ED-431E-BCD5-BB1767734D54}"/>
          </ac:picMkLst>
        </pc:picChg>
        <pc:cxnChg chg="add mod">
          <ac:chgData name="Lamb, Ben" userId="88a6f5f3-f9e5-47eb-a109-670a0c68440d" providerId="ADAL" clId="{306D01AF-A76E-3E4F-A971-A1200024FF94}" dt="2021-04-06T19:53:25.429" v="4674" actId="14100"/>
          <ac:cxnSpMkLst>
            <pc:docMk/>
            <pc:sldMk cId="3976708897" sldId="5541"/>
            <ac:cxnSpMk id="9" creationId="{AC8DBCF2-287E-954B-B0D6-91CA4C7DD841}"/>
          </ac:cxnSpMkLst>
        </pc:cxnChg>
      </pc:sldChg>
      <pc:sldChg chg="addSp modSp mod">
        <pc:chgData name="Lamb, Ben" userId="88a6f5f3-f9e5-47eb-a109-670a0c68440d" providerId="ADAL" clId="{306D01AF-A76E-3E4F-A971-A1200024FF94}" dt="2021-04-07T01:48:59.033" v="9840" actId="20577"/>
        <pc:sldMkLst>
          <pc:docMk/>
          <pc:sldMk cId="2854242103" sldId="5542"/>
        </pc:sldMkLst>
        <pc:spChg chg="mod">
          <ac:chgData name="Lamb, Ben" userId="88a6f5f3-f9e5-47eb-a109-670a0c68440d" providerId="ADAL" clId="{306D01AF-A76E-3E4F-A971-A1200024FF94}" dt="2021-04-07T00:37:52.243" v="7025" actId="20577"/>
          <ac:spMkLst>
            <pc:docMk/>
            <pc:sldMk cId="2854242103" sldId="5542"/>
            <ac:spMk id="2" creationId="{DB208CFC-53A7-482A-A68A-4A132F661D04}"/>
          </ac:spMkLst>
        </pc:spChg>
        <pc:spChg chg="add mod">
          <ac:chgData name="Lamb, Ben" userId="88a6f5f3-f9e5-47eb-a109-670a0c68440d" providerId="ADAL" clId="{306D01AF-A76E-3E4F-A971-A1200024FF94}" dt="2021-04-06T23:59:32.486" v="5402" actId="404"/>
          <ac:spMkLst>
            <pc:docMk/>
            <pc:sldMk cId="2854242103" sldId="5542"/>
            <ac:spMk id="3" creationId="{4BA29769-27D1-4442-BF99-CC6D2D0C10CB}"/>
          </ac:spMkLst>
        </pc:spChg>
        <pc:spChg chg="mod">
          <ac:chgData name="Lamb, Ben" userId="88a6f5f3-f9e5-47eb-a109-670a0c68440d" providerId="ADAL" clId="{306D01AF-A76E-3E4F-A971-A1200024FF94}" dt="2021-04-07T01:41:17.508" v="9744" actId="20577"/>
          <ac:spMkLst>
            <pc:docMk/>
            <pc:sldMk cId="2854242103" sldId="5542"/>
            <ac:spMk id="4" creationId="{33B888F7-9568-4F5A-BB8C-0D2F164DE5E4}"/>
          </ac:spMkLst>
        </pc:spChg>
        <pc:spChg chg="mod">
          <ac:chgData name="Lamb, Ben" userId="88a6f5f3-f9e5-47eb-a109-670a0c68440d" providerId="ADAL" clId="{306D01AF-A76E-3E4F-A971-A1200024FF94}" dt="2021-04-07T01:48:59.033" v="9840" actId="20577"/>
          <ac:spMkLst>
            <pc:docMk/>
            <pc:sldMk cId="2854242103" sldId="5542"/>
            <ac:spMk id="19" creationId="{BE3FCE27-3F4E-DF4C-91AF-3CC4F22BC61B}"/>
          </ac:spMkLst>
        </pc:spChg>
        <pc:spChg chg="add mod">
          <ac:chgData name="Lamb, Ben" userId="88a6f5f3-f9e5-47eb-a109-670a0c68440d" providerId="ADAL" clId="{306D01AF-A76E-3E4F-A971-A1200024FF94}" dt="2021-04-06T23:59:58.548" v="5412" actId="20577"/>
          <ac:spMkLst>
            <pc:docMk/>
            <pc:sldMk cId="2854242103" sldId="5542"/>
            <ac:spMk id="30" creationId="{6DD94297-970B-6042-B817-3E684DE56F9F}"/>
          </ac:spMkLst>
        </pc:spChg>
        <pc:spChg chg="add mod">
          <ac:chgData name="Lamb, Ben" userId="88a6f5f3-f9e5-47eb-a109-670a0c68440d" providerId="ADAL" clId="{306D01AF-A76E-3E4F-A971-A1200024FF94}" dt="2021-04-07T00:00:06.525" v="5435" actId="20577"/>
          <ac:spMkLst>
            <pc:docMk/>
            <pc:sldMk cId="2854242103" sldId="5542"/>
            <ac:spMk id="31" creationId="{8B4BB9D2-5F88-BD45-BCE8-060CD35D36B7}"/>
          </ac:spMkLst>
        </pc:spChg>
        <pc:spChg chg="add mod">
          <ac:chgData name="Lamb, Ben" userId="88a6f5f3-f9e5-47eb-a109-670a0c68440d" providerId="ADAL" clId="{306D01AF-A76E-3E4F-A971-A1200024FF94}" dt="2021-04-07T00:00:16.392" v="5451" actId="20577"/>
          <ac:spMkLst>
            <pc:docMk/>
            <pc:sldMk cId="2854242103" sldId="5542"/>
            <ac:spMk id="32" creationId="{D1A3A3E3-13E0-FB4D-BFAC-016195C17B88}"/>
          </ac:spMkLst>
        </pc:spChg>
        <pc:spChg chg="add mod">
          <ac:chgData name="Lamb, Ben" userId="88a6f5f3-f9e5-47eb-a109-670a0c68440d" providerId="ADAL" clId="{306D01AF-A76E-3E4F-A971-A1200024FF94}" dt="2021-04-07T00:00:24.728" v="5468" actId="20577"/>
          <ac:spMkLst>
            <pc:docMk/>
            <pc:sldMk cId="2854242103" sldId="5542"/>
            <ac:spMk id="33" creationId="{60693C52-6401-254F-A081-0BD9E094A6DC}"/>
          </ac:spMkLst>
        </pc:spChg>
        <pc:spChg chg="add mod">
          <ac:chgData name="Lamb, Ben" userId="88a6f5f3-f9e5-47eb-a109-670a0c68440d" providerId="ADAL" clId="{306D01AF-A76E-3E4F-A971-A1200024FF94}" dt="2021-04-07T00:00:43.857" v="5492" actId="1036"/>
          <ac:spMkLst>
            <pc:docMk/>
            <pc:sldMk cId="2854242103" sldId="5542"/>
            <ac:spMk id="34" creationId="{B90837BE-8DB7-9145-A844-2B2F7DAA8E94}"/>
          </ac:spMkLst>
        </pc:spChg>
        <pc:spChg chg="add mod">
          <ac:chgData name="Lamb, Ben" userId="88a6f5f3-f9e5-47eb-a109-670a0c68440d" providerId="ADAL" clId="{306D01AF-A76E-3E4F-A971-A1200024FF94}" dt="2021-04-07T00:01:13.016" v="5523" actId="207"/>
          <ac:spMkLst>
            <pc:docMk/>
            <pc:sldMk cId="2854242103" sldId="5542"/>
            <ac:spMk id="35" creationId="{005C773B-D7D2-7148-B37B-8043A7FAB0EE}"/>
          </ac:spMkLst>
        </pc:spChg>
        <pc:spChg chg="mod">
          <ac:chgData name="Lamb, Ben" userId="88a6f5f3-f9e5-47eb-a109-670a0c68440d" providerId="ADAL" clId="{306D01AF-A76E-3E4F-A971-A1200024FF94}" dt="2021-04-07T00:02:18.011" v="5572" actId="1076"/>
          <ac:spMkLst>
            <pc:docMk/>
            <pc:sldMk cId="2854242103" sldId="5542"/>
            <ac:spMk id="40" creationId="{757D1FD2-0BF3-8C49-AE1D-F1DE3D659A25}"/>
          </ac:spMkLst>
        </pc:spChg>
        <pc:grpChg chg="mod">
          <ac:chgData name="Lamb, Ben" userId="88a6f5f3-f9e5-47eb-a109-670a0c68440d" providerId="ADAL" clId="{306D01AF-A76E-3E4F-A971-A1200024FF94}" dt="2021-04-07T00:01:30.466" v="5525" actId="1076"/>
          <ac:grpSpMkLst>
            <pc:docMk/>
            <pc:sldMk cId="2854242103" sldId="5542"/>
            <ac:grpSpMk id="14" creationId="{51F997C5-6AFD-C941-BF20-B74BBD775F0D}"/>
          </ac:grpSpMkLst>
        </pc:grpChg>
        <pc:grpChg chg="mod">
          <ac:chgData name="Lamb, Ben" userId="88a6f5f3-f9e5-47eb-a109-670a0c68440d" providerId="ADAL" clId="{306D01AF-A76E-3E4F-A971-A1200024FF94}" dt="2021-04-07T01:48:43.061" v="9831" actId="1076"/>
          <ac:grpSpMkLst>
            <pc:docMk/>
            <pc:sldMk cId="2854242103" sldId="5542"/>
            <ac:grpSpMk id="20" creationId="{30FDA194-81A5-074C-8CA2-5E858B824269}"/>
          </ac:grpSpMkLst>
        </pc:grpChg>
        <pc:grpChg chg="mod">
          <ac:chgData name="Lamb, Ben" userId="88a6f5f3-f9e5-47eb-a109-670a0c68440d" providerId="ADAL" clId="{306D01AF-A76E-3E4F-A971-A1200024FF94}" dt="2021-04-07T00:03:48.129" v="5573" actId="1076"/>
          <ac:grpSpMkLst>
            <pc:docMk/>
            <pc:sldMk cId="2854242103" sldId="5542"/>
            <ac:grpSpMk id="23" creationId="{3BD1D5FD-B93A-194D-90FD-97BD2A218889}"/>
          </ac:grpSpMkLst>
        </pc:grpChg>
        <pc:grpChg chg="mod">
          <ac:chgData name="Lamb, Ben" userId="88a6f5f3-f9e5-47eb-a109-670a0c68440d" providerId="ADAL" clId="{306D01AF-A76E-3E4F-A971-A1200024FF94}" dt="2021-04-07T01:48:47.482" v="9832" actId="1076"/>
          <ac:grpSpMkLst>
            <pc:docMk/>
            <pc:sldMk cId="2854242103" sldId="5542"/>
            <ac:grpSpMk id="41" creationId="{270BBF14-35BC-2049-B75E-0D75A0A0AFA2}"/>
          </ac:grpSpMkLst>
        </pc:grpChg>
        <pc:picChg chg="mod">
          <ac:chgData name="Lamb, Ben" userId="88a6f5f3-f9e5-47eb-a109-670a0c68440d" providerId="ADAL" clId="{306D01AF-A76E-3E4F-A971-A1200024FF94}" dt="2021-04-07T00:01:36.087" v="5529" actId="1076"/>
          <ac:picMkLst>
            <pc:docMk/>
            <pc:sldMk cId="2854242103" sldId="5542"/>
            <ac:picMk id="12" creationId="{2A3621AC-5FB1-4318-AD27-76DF9B576106}"/>
          </ac:picMkLst>
        </pc:picChg>
      </pc:sldChg>
      <pc:sldChg chg="add del">
        <pc:chgData name="Lamb, Ben" userId="88a6f5f3-f9e5-47eb-a109-670a0c68440d" providerId="ADAL" clId="{306D01AF-A76E-3E4F-A971-A1200024FF94}" dt="2021-04-07T01:26:42.729" v="8595" actId="2696"/>
        <pc:sldMkLst>
          <pc:docMk/>
          <pc:sldMk cId="1013421018" sldId="5543"/>
        </pc:sldMkLst>
      </pc:sldChg>
      <pc:sldChg chg="addSp delSp modSp new mod">
        <pc:chgData name="Lamb, Ben" userId="88a6f5f3-f9e5-47eb-a109-670a0c68440d" providerId="ADAL" clId="{306D01AF-A76E-3E4F-A971-A1200024FF94}" dt="2021-04-07T01:40:59.427" v="9713" actId="20577"/>
        <pc:sldMkLst>
          <pc:docMk/>
          <pc:sldMk cId="158396239" sldId="5544"/>
        </pc:sldMkLst>
        <pc:spChg chg="mod">
          <ac:chgData name="Lamb, Ben" userId="88a6f5f3-f9e5-47eb-a109-670a0c68440d" providerId="ADAL" clId="{306D01AF-A76E-3E4F-A971-A1200024FF94}" dt="2021-04-07T01:16:45.990" v="8284" actId="20577"/>
          <ac:spMkLst>
            <pc:docMk/>
            <pc:sldMk cId="158396239" sldId="5544"/>
            <ac:spMk id="2" creationId="{2A44DE88-07DA-3B43-8656-E90F53234751}"/>
          </ac:spMkLst>
        </pc:spChg>
        <pc:spChg chg="del mod">
          <ac:chgData name="Lamb, Ben" userId="88a6f5f3-f9e5-47eb-a109-670a0c68440d" providerId="ADAL" clId="{306D01AF-A76E-3E4F-A971-A1200024FF94}" dt="2021-04-07T01:27:26.310" v="8597" actId="21"/>
          <ac:spMkLst>
            <pc:docMk/>
            <pc:sldMk cId="158396239" sldId="5544"/>
            <ac:spMk id="3" creationId="{E71876E7-4A45-754F-9DFB-FBE0EFDC6135}"/>
          </ac:spMkLst>
        </pc:spChg>
        <pc:spChg chg="mod">
          <ac:chgData name="Lamb, Ben" userId="88a6f5f3-f9e5-47eb-a109-670a0c68440d" providerId="ADAL" clId="{306D01AF-A76E-3E4F-A971-A1200024FF94}" dt="2021-04-07T01:40:59.427" v="9713" actId="20577"/>
          <ac:spMkLst>
            <pc:docMk/>
            <pc:sldMk cId="158396239" sldId="5544"/>
            <ac:spMk id="4" creationId="{611951F8-A1BE-2340-8ACC-F8E004456CD3}"/>
          </ac:spMkLst>
        </pc:spChg>
        <pc:spChg chg="add mod">
          <ac:chgData name="Lamb, Ben" userId="88a6f5f3-f9e5-47eb-a109-670a0c68440d" providerId="ADAL" clId="{306D01AF-A76E-3E4F-A971-A1200024FF94}" dt="2021-04-07T01:40:28.727" v="9699" actId="313"/>
          <ac:spMkLst>
            <pc:docMk/>
            <pc:sldMk cId="158396239" sldId="5544"/>
            <ac:spMk id="6" creationId="{AD227F3E-DA83-E148-A39A-4CADEC6B4881}"/>
          </ac:spMkLst>
        </pc:spChg>
        <pc:spChg chg="add mod">
          <ac:chgData name="Lamb, Ben" userId="88a6f5f3-f9e5-47eb-a109-670a0c68440d" providerId="ADAL" clId="{306D01AF-A76E-3E4F-A971-A1200024FF94}" dt="2021-04-07T01:34:16.125" v="9303" actId="14100"/>
          <ac:spMkLst>
            <pc:docMk/>
            <pc:sldMk cId="158396239" sldId="5544"/>
            <ac:spMk id="7" creationId="{F5B886BB-FB8D-9D46-BACD-FAF01DD17AE1}"/>
          </ac:spMkLst>
        </pc:spChg>
      </pc:sldChg>
      <pc:sldChg chg="modSp add del mod">
        <pc:chgData name="Lamb, Ben" userId="88a6f5f3-f9e5-47eb-a109-670a0c68440d" providerId="ADAL" clId="{306D01AF-A76E-3E4F-A971-A1200024FF94}" dt="2021-04-08T18:14:17.404" v="9947" actId="2696"/>
        <pc:sldMkLst>
          <pc:docMk/>
          <pc:sldMk cId="2647082755" sldId="5545"/>
        </pc:sldMkLst>
        <pc:spChg chg="mod">
          <ac:chgData name="Lamb, Ben" userId="88a6f5f3-f9e5-47eb-a109-670a0c68440d" providerId="ADAL" clId="{306D01AF-A76E-3E4F-A971-A1200024FF94}" dt="2021-04-08T17:31:35.291" v="9912" actId="20577"/>
          <ac:spMkLst>
            <pc:docMk/>
            <pc:sldMk cId="2647082755" sldId="5545"/>
            <ac:spMk id="2" creationId="{DB45C7EB-B53D-654C-86B1-1973D9E15B9E}"/>
          </ac:spMkLst>
        </pc:spChg>
        <pc:graphicFrameChg chg="mod">
          <ac:chgData name="Lamb, Ben" userId="88a6f5f3-f9e5-47eb-a109-670a0c68440d" providerId="ADAL" clId="{306D01AF-A76E-3E4F-A971-A1200024FF94}" dt="2021-04-08T17:48:44.542" v="9913" actId="1076"/>
          <ac:graphicFrameMkLst>
            <pc:docMk/>
            <pc:sldMk cId="2647082755" sldId="5545"/>
            <ac:graphicFrameMk id="13" creationId="{9D1B81F5-9828-7C44-9CA5-BE7B131166E0}"/>
          </ac:graphicFrameMkLst>
        </pc:graphicFrameChg>
        <pc:picChg chg="mod">
          <ac:chgData name="Lamb, Ben" userId="88a6f5f3-f9e5-47eb-a109-670a0c68440d" providerId="ADAL" clId="{306D01AF-A76E-3E4F-A971-A1200024FF94}" dt="2021-04-08T17:48:48.658" v="9915" actId="14100"/>
          <ac:picMkLst>
            <pc:docMk/>
            <pc:sldMk cId="2647082755" sldId="5545"/>
            <ac:picMk id="11" creationId="{2C99AAFA-127C-984A-805F-4FCADBE5812F}"/>
          </ac:picMkLst>
        </pc:picChg>
      </pc:sldChg>
      <pc:sldChg chg="addSp delSp modSp new mod">
        <pc:chgData name="Lamb, Ben" userId="88a6f5f3-f9e5-47eb-a109-670a0c68440d" providerId="ADAL" clId="{306D01AF-A76E-3E4F-A971-A1200024FF94}" dt="2021-04-26T18:18:46.223" v="9981" actId="20577"/>
        <pc:sldMkLst>
          <pc:docMk/>
          <pc:sldMk cId="4292986100" sldId="5545"/>
        </pc:sldMkLst>
        <pc:spChg chg="mod">
          <ac:chgData name="Lamb, Ben" userId="88a6f5f3-f9e5-47eb-a109-670a0c68440d" providerId="ADAL" clId="{306D01AF-A76E-3E4F-A971-A1200024FF94}" dt="2021-04-26T18:18:30.495" v="9972" actId="20577"/>
          <ac:spMkLst>
            <pc:docMk/>
            <pc:sldMk cId="4292986100" sldId="5545"/>
            <ac:spMk id="2" creationId="{CF78C3B4-AE7D-2E46-B131-0133A0F9605B}"/>
          </ac:spMkLst>
        </pc:spChg>
        <pc:spChg chg="del">
          <ac:chgData name="Lamb, Ben" userId="88a6f5f3-f9e5-47eb-a109-670a0c68440d" providerId="ADAL" clId="{306D01AF-A76E-3E4F-A971-A1200024FF94}" dt="2021-04-26T18:18:27.693" v="9962" actId="478"/>
          <ac:spMkLst>
            <pc:docMk/>
            <pc:sldMk cId="4292986100" sldId="5545"/>
            <ac:spMk id="3" creationId="{6450669E-ADC0-8F4A-8EC2-3D0C1D960088}"/>
          </ac:spMkLst>
        </pc:spChg>
        <pc:graphicFrameChg chg="add mod modGraphic">
          <ac:chgData name="Lamb, Ben" userId="88a6f5f3-f9e5-47eb-a109-670a0c68440d" providerId="ADAL" clId="{306D01AF-A76E-3E4F-A971-A1200024FF94}" dt="2021-04-26T18:18:46.223" v="9981" actId="20577"/>
          <ac:graphicFrameMkLst>
            <pc:docMk/>
            <pc:sldMk cId="4292986100" sldId="5545"/>
            <ac:graphicFrameMk id="5" creationId="{48E63D83-01B4-0B44-A2DA-F2899E02992D}"/>
          </ac:graphicFrameMkLst>
        </pc:graphicFrameChg>
      </pc:sldChg>
      <pc:sldChg chg="addSp modSp new mod">
        <pc:chgData name="Lamb, Ben" userId="88a6f5f3-f9e5-47eb-a109-670a0c68440d" providerId="ADAL" clId="{306D01AF-A76E-3E4F-A971-A1200024FF94}" dt="2021-04-26T20:16:44.142" v="11708" actId="20577"/>
        <pc:sldMkLst>
          <pc:docMk/>
          <pc:sldMk cId="1738986692" sldId="5546"/>
        </pc:sldMkLst>
        <pc:spChg chg="mod">
          <ac:chgData name="Lamb, Ben" userId="88a6f5f3-f9e5-47eb-a109-670a0c68440d" providerId="ADAL" clId="{306D01AF-A76E-3E4F-A971-A1200024FF94}" dt="2021-04-26T19:48:48.015" v="11463" actId="14100"/>
          <ac:spMkLst>
            <pc:docMk/>
            <pc:sldMk cId="1738986692" sldId="5546"/>
            <ac:spMk id="3" creationId="{D7A34A9A-F7CA-B044-AF86-9DA488BDF86E}"/>
          </ac:spMkLst>
        </pc:spChg>
        <pc:spChg chg="add mod">
          <ac:chgData name="Lamb, Ben" userId="88a6f5f3-f9e5-47eb-a109-670a0c68440d" providerId="ADAL" clId="{306D01AF-A76E-3E4F-A971-A1200024FF94}" dt="2021-04-26T20:16:44.142" v="11708" actId="20577"/>
          <ac:spMkLst>
            <pc:docMk/>
            <pc:sldMk cId="1738986692" sldId="5546"/>
            <ac:spMk id="5" creationId="{C2A1B784-D489-B949-9151-D198178CBEA6}"/>
          </ac:spMkLst>
        </pc:spChg>
      </pc:sldChg>
      <pc:sldMasterChg chg="addSp modSp mod">
        <pc:chgData name="Lamb, Ben" userId="88a6f5f3-f9e5-47eb-a109-670a0c68440d" providerId="ADAL" clId="{306D01AF-A76E-3E4F-A971-A1200024FF94}" dt="2021-04-06T20:02:21.917" v="4728" actId="207"/>
        <pc:sldMasterMkLst>
          <pc:docMk/>
          <pc:sldMasterMk cId="926841448" sldId="2147483733"/>
        </pc:sldMasterMkLst>
        <pc:spChg chg="add mod">
          <ac:chgData name="Lamb, Ben" userId="88a6f5f3-f9e5-47eb-a109-670a0c68440d" providerId="ADAL" clId="{306D01AF-A76E-3E4F-A971-A1200024FF94}" dt="2021-04-06T20:02:21.917" v="4728" actId="207"/>
          <ac:spMkLst>
            <pc:docMk/>
            <pc:sldMasterMk cId="926841448" sldId="2147483733"/>
            <ac:spMk id="5" creationId="{4A53D9CE-4E71-3648-9C9E-9B5D83D2EF35}"/>
          </ac:spMkLst>
        </pc:spChg>
      </pc:sldMasterChg>
    </pc:docChg>
  </pc:docChgLst>
  <pc:docChgLst>
    <pc:chgData name="Lamb, Ben" userId="88a6f5f3-f9e5-47eb-a109-670a0c68440d" providerId="ADAL" clId="{50B5ACC7-48A8-1C49-B1E6-079ADDA83899}"/>
    <pc:docChg chg="custSel addSld modSld">
      <pc:chgData name="Lamb, Ben" userId="88a6f5f3-f9e5-47eb-a109-670a0c68440d" providerId="ADAL" clId="{50B5ACC7-48A8-1C49-B1E6-079ADDA83899}" dt="2021-03-23T17:16:02.334" v="1661" actId="20577"/>
      <pc:docMkLst>
        <pc:docMk/>
      </pc:docMkLst>
      <pc:sldChg chg="modSp mod">
        <pc:chgData name="Lamb, Ben" userId="88a6f5f3-f9e5-47eb-a109-670a0c68440d" providerId="ADAL" clId="{50B5ACC7-48A8-1C49-B1E6-079ADDA83899}" dt="2021-03-23T17:07:55.555" v="594" actId="20577"/>
        <pc:sldMkLst>
          <pc:docMk/>
          <pc:sldMk cId="109857222" sldId="256"/>
        </pc:sldMkLst>
        <pc:spChg chg="mod">
          <ac:chgData name="Lamb, Ben" userId="88a6f5f3-f9e5-47eb-a109-670a0c68440d" providerId="ADAL" clId="{50B5ACC7-48A8-1C49-B1E6-079ADDA83899}" dt="2021-03-23T17:07:55.555" v="594" actId="20577"/>
          <ac:spMkLst>
            <pc:docMk/>
            <pc:sldMk cId="109857222" sldId="256"/>
            <ac:spMk id="3" creationId="{00000000-0000-0000-0000-000000000000}"/>
          </ac:spMkLst>
        </pc:spChg>
      </pc:sldChg>
      <pc:sldChg chg="modSp mod">
        <pc:chgData name="Lamb, Ben" userId="88a6f5f3-f9e5-47eb-a109-670a0c68440d" providerId="ADAL" clId="{50B5ACC7-48A8-1C49-B1E6-079ADDA83899}" dt="2021-03-23T17:02:59.881" v="196" actId="20577"/>
        <pc:sldMkLst>
          <pc:docMk/>
          <pc:sldMk cId="2364546764" sldId="257"/>
        </pc:sldMkLst>
        <pc:spChg chg="mod">
          <ac:chgData name="Lamb, Ben" userId="88a6f5f3-f9e5-47eb-a109-670a0c68440d" providerId="ADAL" clId="{50B5ACC7-48A8-1C49-B1E6-079ADDA83899}" dt="2021-03-23T17:02:59.881" v="196" actId="20577"/>
          <ac:spMkLst>
            <pc:docMk/>
            <pc:sldMk cId="2364546764" sldId="257"/>
            <ac:spMk id="3" creationId="{56305F7F-B15F-4260-A5C2-A47F64F85F05}"/>
          </ac:spMkLst>
        </pc:spChg>
      </pc:sldChg>
      <pc:sldChg chg="modSp mod">
        <pc:chgData name="Lamb, Ben" userId="88a6f5f3-f9e5-47eb-a109-670a0c68440d" providerId="ADAL" clId="{50B5ACC7-48A8-1C49-B1E6-079ADDA83899}" dt="2021-03-23T17:14:00.450" v="1469" actId="20577"/>
        <pc:sldMkLst>
          <pc:docMk/>
          <pc:sldMk cId="3111907793" sldId="258"/>
        </pc:sldMkLst>
        <pc:spChg chg="mod">
          <ac:chgData name="Lamb, Ben" userId="88a6f5f3-f9e5-47eb-a109-670a0c68440d" providerId="ADAL" clId="{50B5ACC7-48A8-1C49-B1E6-079ADDA83899}" dt="2021-03-23T17:14:00.450" v="1469" actId="20577"/>
          <ac:spMkLst>
            <pc:docMk/>
            <pc:sldMk cId="3111907793" sldId="258"/>
            <ac:spMk id="3" creationId="{E764C15A-980C-4504-9BDC-4996EA1FED46}"/>
          </ac:spMkLst>
        </pc:spChg>
      </pc:sldChg>
      <pc:sldChg chg="modSp mod">
        <pc:chgData name="Lamb, Ben" userId="88a6f5f3-f9e5-47eb-a109-670a0c68440d" providerId="ADAL" clId="{50B5ACC7-48A8-1C49-B1E6-079ADDA83899}" dt="2021-03-23T17:07:32.131" v="579" actId="27636"/>
        <pc:sldMkLst>
          <pc:docMk/>
          <pc:sldMk cId="3383281862" sldId="260"/>
        </pc:sldMkLst>
        <pc:spChg chg="mod">
          <ac:chgData name="Lamb, Ben" userId="88a6f5f3-f9e5-47eb-a109-670a0c68440d" providerId="ADAL" clId="{50B5ACC7-48A8-1C49-B1E6-079ADDA83899}" dt="2021-03-23T17:07:32.131" v="579" actId="27636"/>
          <ac:spMkLst>
            <pc:docMk/>
            <pc:sldMk cId="3383281862" sldId="260"/>
            <ac:spMk id="3" creationId="{FCAAF10E-1C27-4D0E-BBF1-77B67261FAAD}"/>
          </ac:spMkLst>
        </pc:spChg>
        <pc:spChg chg="mod">
          <ac:chgData name="Lamb, Ben" userId="88a6f5f3-f9e5-47eb-a109-670a0c68440d" providerId="ADAL" clId="{50B5ACC7-48A8-1C49-B1E6-079ADDA83899}" dt="2021-03-23T17:07:32.129" v="578" actId="27636"/>
          <ac:spMkLst>
            <pc:docMk/>
            <pc:sldMk cId="3383281862" sldId="260"/>
            <ac:spMk id="4" creationId="{411D8D10-9715-422E-94DE-41E1C2659267}"/>
          </ac:spMkLst>
        </pc:spChg>
      </pc:sldChg>
      <pc:sldChg chg="modSp mod">
        <pc:chgData name="Lamb, Ben" userId="88a6f5f3-f9e5-47eb-a109-670a0c68440d" providerId="ADAL" clId="{50B5ACC7-48A8-1C49-B1E6-079ADDA83899}" dt="2021-03-23T17:04:12.765" v="222" actId="20577"/>
        <pc:sldMkLst>
          <pc:docMk/>
          <pc:sldMk cId="2963837874" sldId="261"/>
        </pc:sldMkLst>
        <pc:spChg chg="mod">
          <ac:chgData name="Lamb, Ben" userId="88a6f5f3-f9e5-47eb-a109-670a0c68440d" providerId="ADAL" clId="{50B5ACC7-48A8-1C49-B1E6-079ADDA83899}" dt="2021-03-23T17:04:12.765" v="222" actId="20577"/>
          <ac:spMkLst>
            <pc:docMk/>
            <pc:sldMk cId="2963837874" sldId="261"/>
            <ac:spMk id="2" creationId="{AD644E64-F954-4288-A504-12E14B683D66}"/>
          </ac:spMkLst>
        </pc:spChg>
      </pc:sldChg>
      <pc:sldChg chg="modSp new mod">
        <pc:chgData name="Lamb, Ben" userId="88a6f5f3-f9e5-47eb-a109-670a0c68440d" providerId="ADAL" clId="{50B5ACC7-48A8-1C49-B1E6-079ADDA83899}" dt="2021-03-23T17:05:35.187" v="385" actId="20577"/>
        <pc:sldMkLst>
          <pc:docMk/>
          <pc:sldMk cId="3197646421" sldId="262"/>
        </pc:sldMkLst>
        <pc:spChg chg="mod">
          <ac:chgData name="Lamb, Ben" userId="88a6f5f3-f9e5-47eb-a109-670a0c68440d" providerId="ADAL" clId="{50B5ACC7-48A8-1C49-B1E6-079ADDA83899}" dt="2021-03-23T17:04:36.869" v="250" actId="20577"/>
          <ac:spMkLst>
            <pc:docMk/>
            <pc:sldMk cId="3197646421" sldId="262"/>
            <ac:spMk id="2" creationId="{D9760897-CEF9-224B-A21E-B924D239D1DE}"/>
          </ac:spMkLst>
        </pc:spChg>
        <pc:spChg chg="mod">
          <ac:chgData name="Lamb, Ben" userId="88a6f5f3-f9e5-47eb-a109-670a0c68440d" providerId="ADAL" clId="{50B5ACC7-48A8-1C49-B1E6-079ADDA83899}" dt="2021-03-23T17:05:35.187" v="385" actId="20577"/>
          <ac:spMkLst>
            <pc:docMk/>
            <pc:sldMk cId="3197646421" sldId="262"/>
            <ac:spMk id="3" creationId="{C9B6EAC8-8DD8-364E-8E21-045D5775C13F}"/>
          </ac:spMkLst>
        </pc:spChg>
      </pc:sldChg>
      <pc:sldChg chg="modSp new mod">
        <pc:chgData name="Lamb, Ben" userId="88a6f5f3-f9e5-47eb-a109-670a0c68440d" providerId="ADAL" clId="{50B5ACC7-48A8-1C49-B1E6-079ADDA83899}" dt="2021-03-23T17:16:02.334" v="1661" actId="20577"/>
        <pc:sldMkLst>
          <pc:docMk/>
          <pc:sldMk cId="1323045198" sldId="263"/>
        </pc:sldMkLst>
        <pc:spChg chg="mod">
          <ac:chgData name="Lamb, Ben" userId="88a6f5f3-f9e5-47eb-a109-670a0c68440d" providerId="ADAL" clId="{50B5ACC7-48A8-1C49-B1E6-079ADDA83899}" dt="2021-03-23T17:08:42.914" v="604" actId="20577"/>
          <ac:spMkLst>
            <pc:docMk/>
            <pc:sldMk cId="1323045198" sldId="263"/>
            <ac:spMk id="2" creationId="{66A4732F-406D-C348-B424-F85CCDC1933C}"/>
          </ac:spMkLst>
        </pc:spChg>
        <pc:spChg chg="mod">
          <ac:chgData name="Lamb, Ben" userId="88a6f5f3-f9e5-47eb-a109-670a0c68440d" providerId="ADAL" clId="{50B5ACC7-48A8-1C49-B1E6-079ADDA83899}" dt="2021-03-23T17:16:02.334" v="1661" actId="20577"/>
          <ac:spMkLst>
            <pc:docMk/>
            <pc:sldMk cId="1323045198" sldId="263"/>
            <ac:spMk id="3" creationId="{3DC77AFF-FB82-984B-BC4F-BF1ADE134EDB}"/>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4-01T15:52:59.447" idx="2">
    <p:pos x="10" y="10"/>
    <p:text>Need to flesh out and add labels
</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3-30T17:29:32.447" idx="1">
    <p:pos x="1513" y="991"/>
    <p:text>Could add labels for pain points</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3-30T17:29:32.447" idx="3">
    <p:pos x="1513" y="991"/>
    <p:text>Could add labels for pain points</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3E1079-D517-9D4A-9070-F31CB6FC3C1E}" type="datetimeFigureOut">
              <a:rPr lang="en-US" smtClean="0"/>
              <a:t>7/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DF2E8D-F85F-E846-8DFA-C409E9835754}" type="slidenum">
              <a:rPr lang="en-US" smtClean="0"/>
              <a:t>‹#›</a:t>
            </a:fld>
            <a:endParaRPr lang="en-US"/>
          </a:p>
        </p:txBody>
      </p:sp>
    </p:spTree>
    <p:extLst>
      <p:ext uri="{BB962C8B-B14F-4D97-AF65-F5344CB8AC3E}">
        <p14:creationId xmlns:p14="http://schemas.microsoft.com/office/powerpoint/2010/main" val="1554136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25000"/>
          </a:p>
        </p:txBody>
      </p:sp>
      <p:sp>
        <p:nvSpPr>
          <p:cNvPr id="4" name="Slide Number Placeholder 3"/>
          <p:cNvSpPr>
            <a:spLocks noGrp="1"/>
          </p:cNvSpPr>
          <p:nvPr>
            <p:ph type="sldNum" sz="quarter" idx="10"/>
          </p:nvPr>
        </p:nvSpPr>
        <p:spPr/>
        <p:txBody>
          <a:bodyPr/>
          <a:lstStyle/>
          <a:p>
            <a:fld id="{08A34052-12FB-4B01-8A2E-D87AD7371E95}" type="slidenum">
              <a:rPr lang="en-US" smtClean="0"/>
              <a:t>1</a:t>
            </a:fld>
            <a:endParaRPr lang="en-US"/>
          </a:p>
        </p:txBody>
      </p:sp>
    </p:spTree>
    <p:extLst>
      <p:ext uri="{BB962C8B-B14F-4D97-AF65-F5344CB8AC3E}">
        <p14:creationId xmlns:p14="http://schemas.microsoft.com/office/powerpoint/2010/main" val="13630618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14</a:t>
            </a:fld>
            <a:endParaRPr lang="en-US"/>
          </a:p>
        </p:txBody>
      </p:sp>
    </p:spTree>
    <p:extLst>
      <p:ext uri="{BB962C8B-B14F-4D97-AF65-F5344CB8AC3E}">
        <p14:creationId xmlns:p14="http://schemas.microsoft.com/office/powerpoint/2010/main" val="446960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17</a:t>
            </a:fld>
            <a:endParaRPr lang="en-US"/>
          </a:p>
        </p:txBody>
      </p:sp>
    </p:spTree>
    <p:extLst>
      <p:ext uri="{BB962C8B-B14F-4D97-AF65-F5344CB8AC3E}">
        <p14:creationId xmlns:p14="http://schemas.microsoft.com/office/powerpoint/2010/main" val="2612477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19</a:t>
            </a:fld>
            <a:endParaRPr lang="en-US"/>
          </a:p>
        </p:txBody>
      </p:sp>
    </p:spTree>
    <p:extLst>
      <p:ext uri="{BB962C8B-B14F-4D97-AF65-F5344CB8AC3E}">
        <p14:creationId xmlns:p14="http://schemas.microsoft.com/office/powerpoint/2010/main" val="2751198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20</a:t>
            </a:fld>
            <a:endParaRPr lang="en-US"/>
          </a:p>
        </p:txBody>
      </p:sp>
    </p:spTree>
    <p:extLst>
      <p:ext uri="{BB962C8B-B14F-4D97-AF65-F5344CB8AC3E}">
        <p14:creationId xmlns:p14="http://schemas.microsoft.com/office/powerpoint/2010/main" val="32651665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21</a:t>
            </a:fld>
            <a:endParaRPr lang="en-US"/>
          </a:p>
        </p:txBody>
      </p:sp>
    </p:spTree>
    <p:extLst>
      <p:ext uri="{BB962C8B-B14F-4D97-AF65-F5344CB8AC3E}">
        <p14:creationId xmlns:p14="http://schemas.microsoft.com/office/powerpoint/2010/main" val="19546597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22</a:t>
            </a:fld>
            <a:endParaRPr lang="en-US"/>
          </a:p>
        </p:txBody>
      </p:sp>
    </p:spTree>
    <p:extLst>
      <p:ext uri="{BB962C8B-B14F-4D97-AF65-F5344CB8AC3E}">
        <p14:creationId xmlns:p14="http://schemas.microsoft.com/office/powerpoint/2010/main" val="1095777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23</a:t>
            </a:fld>
            <a:endParaRPr lang="en-US"/>
          </a:p>
        </p:txBody>
      </p:sp>
    </p:spTree>
    <p:extLst>
      <p:ext uri="{BB962C8B-B14F-4D97-AF65-F5344CB8AC3E}">
        <p14:creationId xmlns:p14="http://schemas.microsoft.com/office/powerpoint/2010/main" val="1797864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26</a:t>
            </a:fld>
            <a:endParaRPr lang="en-US"/>
          </a:p>
        </p:txBody>
      </p:sp>
    </p:spTree>
    <p:extLst>
      <p:ext uri="{BB962C8B-B14F-4D97-AF65-F5344CB8AC3E}">
        <p14:creationId xmlns:p14="http://schemas.microsoft.com/office/powerpoint/2010/main" val="21976097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rrent state</a:t>
            </a:r>
          </a:p>
        </p:txBody>
      </p:sp>
      <p:sp>
        <p:nvSpPr>
          <p:cNvPr id="4" name="Slide Number Placeholder 3"/>
          <p:cNvSpPr>
            <a:spLocks noGrp="1"/>
          </p:cNvSpPr>
          <p:nvPr>
            <p:ph type="sldNum" sz="quarter" idx="10"/>
          </p:nvPr>
        </p:nvSpPr>
        <p:spPr/>
        <p:txBody>
          <a:bodyPr/>
          <a:lstStyle/>
          <a:p>
            <a:fld id="{6340AB4C-F464-4123-9F18-85533569F96F}" type="slidenum">
              <a:rPr lang="en-US" smtClean="0"/>
              <a:t>34</a:t>
            </a:fld>
            <a:endParaRPr lang="en-US"/>
          </a:p>
        </p:txBody>
      </p:sp>
    </p:spTree>
    <p:extLst>
      <p:ext uri="{BB962C8B-B14F-4D97-AF65-F5344CB8AC3E}">
        <p14:creationId xmlns:p14="http://schemas.microsoft.com/office/powerpoint/2010/main" val="34096539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rrent state</a:t>
            </a:r>
          </a:p>
        </p:txBody>
      </p:sp>
      <p:sp>
        <p:nvSpPr>
          <p:cNvPr id="4" name="Slide Number Placeholder 3"/>
          <p:cNvSpPr>
            <a:spLocks noGrp="1"/>
          </p:cNvSpPr>
          <p:nvPr>
            <p:ph type="sldNum" sz="quarter" idx="10"/>
          </p:nvPr>
        </p:nvSpPr>
        <p:spPr/>
        <p:txBody>
          <a:bodyPr/>
          <a:lstStyle/>
          <a:p>
            <a:fld id="{6340AB4C-F464-4123-9F18-85533569F96F}" type="slidenum">
              <a:rPr lang="en-US" smtClean="0"/>
              <a:t>35</a:t>
            </a:fld>
            <a:endParaRPr lang="en-US"/>
          </a:p>
        </p:txBody>
      </p:sp>
    </p:spTree>
    <p:extLst>
      <p:ext uri="{BB962C8B-B14F-4D97-AF65-F5344CB8AC3E}">
        <p14:creationId xmlns:p14="http://schemas.microsoft.com/office/powerpoint/2010/main" val="846450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600"/>
              </a:spcBef>
              <a:spcAft>
                <a:spcPts val="600"/>
              </a:spcAft>
              <a:buFont typeface="Wingdings" panose="05000000000000000000" pitchFamily="2" charset="2"/>
              <a:buChar char="§"/>
            </a:pPr>
            <a:r>
              <a:rPr lang="en-US" sz="1200"/>
              <a:t>Takeaway outcomes and taskforce:</a:t>
            </a:r>
          </a:p>
          <a:p>
            <a:pPr marL="742950" lvl="1" indent="-285750">
              <a:spcBef>
                <a:spcPts val="600"/>
              </a:spcBef>
              <a:spcAft>
                <a:spcPts val="600"/>
              </a:spcAft>
              <a:buFont typeface="Wingdings" panose="05000000000000000000" pitchFamily="2" charset="2"/>
              <a:buChar char="§"/>
            </a:pPr>
            <a:r>
              <a:rPr lang="en-US" sz="1200"/>
              <a:t>Delivering web applications and analytics</a:t>
            </a:r>
          </a:p>
          <a:p>
            <a:pPr marL="742950" lvl="1" indent="-285750">
              <a:spcBef>
                <a:spcPts val="600"/>
              </a:spcBef>
              <a:spcAft>
                <a:spcPts val="600"/>
              </a:spcAft>
              <a:buFont typeface="Wingdings" panose="05000000000000000000" pitchFamily="2" charset="2"/>
              <a:buChar char="§"/>
            </a:pPr>
            <a:r>
              <a:rPr lang="en-US" sz="1200"/>
              <a:t>Building data lake ingestion and storage services</a:t>
            </a:r>
          </a:p>
          <a:p>
            <a:pPr marL="742950" lvl="1" indent="-285750">
              <a:spcBef>
                <a:spcPts val="600"/>
              </a:spcBef>
              <a:spcAft>
                <a:spcPts val="600"/>
              </a:spcAft>
              <a:buFont typeface="Wingdings" panose="05000000000000000000" pitchFamily="2" charset="2"/>
              <a:buChar char="§"/>
            </a:pPr>
            <a:r>
              <a:rPr lang="en-US" sz="1200"/>
              <a:t>Building analytics workbench</a:t>
            </a:r>
          </a:p>
          <a:p>
            <a:pPr marL="285750" indent="-285750">
              <a:spcBef>
                <a:spcPts val="600"/>
              </a:spcBef>
              <a:spcAft>
                <a:spcPts val="600"/>
              </a:spcAft>
              <a:buFont typeface="Wingdings" panose="05000000000000000000" pitchFamily="2" charset="2"/>
              <a:buChar char="§"/>
            </a:pPr>
            <a:endParaRPr lang="en-US" sz="1200"/>
          </a:p>
          <a:p>
            <a:pPr marL="285750" indent="-285750">
              <a:spcBef>
                <a:spcPts val="600"/>
              </a:spcBef>
              <a:spcAft>
                <a:spcPts val="600"/>
              </a:spcAft>
              <a:buFont typeface="Wingdings" panose="05000000000000000000" pitchFamily="2" charset="2"/>
              <a:buChar char="§"/>
            </a:pPr>
            <a:r>
              <a:rPr lang="en-US" sz="1200"/>
              <a:t>Other desired outcomes, operationally:</a:t>
            </a:r>
          </a:p>
          <a:p>
            <a:pPr marL="742950" lvl="1" indent="-285750">
              <a:spcBef>
                <a:spcPts val="600"/>
              </a:spcBef>
              <a:spcAft>
                <a:spcPts val="600"/>
              </a:spcAft>
              <a:buFont typeface="Wingdings" panose="05000000000000000000" pitchFamily="2" charset="2"/>
              <a:buChar char="§"/>
            </a:pPr>
            <a:r>
              <a:rPr lang="en-US" sz="1200"/>
              <a:t>Stabilize operations within </a:t>
            </a:r>
            <a:r>
              <a:rPr lang="en-US" sz="1200" i="1"/>
              <a:t>infrastructure </a:t>
            </a:r>
            <a:r>
              <a:rPr lang="en-US" sz="1200"/>
              <a:t>to </a:t>
            </a:r>
            <a:r>
              <a:rPr lang="en-US" sz="1200" b="1"/>
              <a:t>improve output quality </a:t>
            </a:r>
            <a:r>
              <a:rPr lang="en-US" sz="1200"/>
              <a:t>and </a:t>
            </a:r>
            <a:r>
              <a:rPr lang="en-US" sz="1200" b="1"/>
              <a:t>reduce solution downtime</a:t>
            </a:r>
            <a:endParaRPr lang="en-US" sz="1200"/>
          </a:p>
          <a:p>
            <a:pPr marL="742950" lvl="1" indent="-285750">
              <a:spcBef>
                <a:spcPts val="600"/>
              </a:spcBef>
              <a:spcAft>
                <a:spcPts val="600"/>
              </a:spcAft>
              <a:buFont typeface="Wingdings" panose="05000000000000000000" pitchFamily="2" charset="2"/>
              <a:buChar char="§"/>
            </a:pPr>
            <a:r>
              <a:rPr lang="en-US" sz="1200" b="1"/>
              <a:t>Optimize resource time allocation </a:t>
            </a:r>
            <a:r>
              <a:rPr lang="en-US" sz="1200"/>
              <a:t>to allow resources to dedicate more time to production priorities</a:t>
            </a:r>
          </a:p>
          <a:p>
            <a:pPr marL="742950" lvl="1" indent="-285750">
              <a:spcBef>
                <a:spcPts val="600"/>
              </a:spcBef>
              <a:spcAft>
                <a:spcPts val="600"/>
              </a:spcAft>
              <a:buFont typeface="Wingdings" panose="05000000000000000000" pitchFamily="2" charset="2"/>
              <a:buChar char="§"/>
            </a:pPr>
            <a:r>
              <a:rPr lang="en-US" sz="1200"/>
              <a:t>Expand solution functionality and stability through testing and iterations</a:t>
            </a:r>
          </a:p>
          <a:p>
            <a:pPr marL="742950" lvl="1" indent="-285750">
              <a:spcBef>
                <a:spcPts val="600"/>
              </a:spcBef>
              <a:spcAft>
                <a:spcPts val="600"/>
              </a:spcAft>
              <a:buFont typeface="Wingdings" panose="05000000000000000000" pitchFamily="2" charset="2"/>
              <a:buChar char="§"/>
            </a:pPr>
            <a:r>
              <a:rPr lang="en-US" sz="1200" b="1"/>
              <a:t>Automate manual work </a:t>
            </a:r>
            <a:r>
              <a:rPr lang="en-US" sz="1200"/>
              <a:t>across the development lifecycle</a:t>
            </a:r>
          </a:p>
          <a:p>
            <a:pPr marL="742950" lvl="1" indent="-285750">
              <a:spcBef>
                <a:spcPts val="600"/>
              </a:spcBef>
              <a:spcAft>
                <a:spcPts val="600"/>
              </a:spcAft>
              <a:buFont typeface="Wingdings" panose="05000000000000000000" pitchFamily="2" charset="2"/>
              <a:buChar char="§"/>
            </a:pPr>
            <a:r>
              <a:rPr lang="en-US" sz="1200" b="1"/>
              <a:t>Reduce redundancy </a:t>
            </a:r>
            <a:r>
              <a:rPr lang="en-US" sz="1200"/>
              <a:t>across data hosting environment to focus </a:t>
            </a:r>
          </a:p>
          <a:p>
            <a:pPr marL="285750" indent="-285750">
              <a:spcBef>
                <a:spcPts val="600"/>
              </a:spcBef>
              <a:spcAft>
                <a:spcPts val="600"/>
              </a:spcAft>
              <a:buFont typeface="Wingdings" panose="05000000000000000000" pitchFamily="2" charset="2"/>
              <a:buChar char="§"/>
            </a:pPr>
            <a:endParaRPr lang="en-US" sz="1200"/>
          </a:p>
        </p:txBody>
      </p:sp>
      <p:sp>
        <p:nvSpPr>
          <p:cNvPr id="4" name="Slide Number Placeholder 3"/>
          <p:cNvSpPr>
            <a:spLocks noGrp="1"/>
          </p:cNvSpPr>
          <p:nvPr>
            <p:ph type="sldNum" sz="quarter" idx="10"/>
          </p:nvPr>
        </p:nvSpPr>
        <p:spPr/>
        <p:txBody>
          <a:bodyPr/>
          <a:lstStyle/>
          <a:p>
            <a:fld id="{5689E7E8-36E4-467C-8300-85BCF6933FBA}" type="slidenum">
              <a:rPr lang="en-US" smtClean="0"/>
              <a:t>3</a:t>
            </a:fld>
            <a:endParaRPr lang="en-US"/>
          </a:p>
        </p:txBody>
      </p:sp>
    </p:spTree>
    <p:extLst>
      <p:ext uri="{BB962C8B-B14F-4D97-AF65-F5344CB8AC3E}">
        <p14:creationId xmlns:p14="http://schemas.microsoft.com/office/powerpoint/2010/main" val="18869988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Make analytics more accessible</a:t>
            </a:r>
          </a:p>
          <a:p>
            <a:pPr marL="171450" indent="-171450">
              <a:buFontTx/>
              <a:buChar char="-"/>
            </a:pPr>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37</a:t>
            </a:fld>
            <a:endParaRPr lang="en-US"/>
          </a:p>
        </p:txBody>
      </p:sp>
    </p:spTree>
    <p:extLst>
      <p:ext uri="{BB962C8B-B14F-4D97-AF65-F5344CB8AC3E}">
        <p14:creationId xmlns:p14="http://schemas.microsoft.com/office/powerpoint/2010/main" val="2517965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38</a:t>
            </a:fld>
            <a:endParaRPr lang="en-US"/>
          </a:p>
        </p:txBody>
      </p:sp>
    </p:spTree>
    <p:extLst>
      <p:ext uri="{BB962C8B-B14F-4D97-AF65-F5344CB8AC3E}">
        <p14:creationId xmlns:p14="http://schemas.microsoft.com/office/powerpoint/2010/main" val="3712136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5</a:t>
            </a:fld>
            <a:endParaRPr lang="en-US"/>
          </a:p>
        </p:txBody>
      </p:sp>
    </p:spTree>
    <p:extLst>
      <p:ext uri="{BB962C8B-B14F-4D97-AF65-F5344CB8AC3E}">
        <p14:creationId xmlns:p14="http://schemas.microsoft.com/office/powerpoint/2010/main" val="2929921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6</a:t>
            </a:fld>
            <a:endParaRPr lang="en-US"/>
          </a:p>
        </p:txBody>
      </p:sp>
    </p:spTree>
    <p:extLst>
      <p:ext uri="{BB962C8B-B14F-4D97-AF65-F5344CB8AC3E}">
        <p14:creationId xmlns:p14="http://schemas.microsoft.com/office/powerpoint/2010/main" val="1121832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DF2E8D-F85F-E846-8DFA-C409E9835754}" type="slidenum">
              <a:rPr lang="en-US" smtClean="0"/>
              <a:t>7</a:t>
            </a:fld>
            <a:endParaRPr lang="en-US"/>
          </a:p>
        </p:txBody>
      </p:sp>
    </p:spTree>
    <p:extLst>
      <p:ext uri="{BB962C8B-B14F-4D97-AF65-F5344CB8AC3E}">
        <p14:creationId xmlns:p14="http://schemas.microsoft.com/office/powerpoint/2010/main" val="3236506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rrent state</a:t>
            </a:r>
          </a:p>
        </p:txBody>
      </p:sp>
      <p:sp>
        <p:nvSpPr>
          <p:cNvPr id="4" name="Slide Number Placeholder 3"/>
          <p:cNvSpPr>
            <a:spLocks noGrp="1"/>
          </p:cNvSpPr>
          <p:nvPr>
            <p:ph type="sldNum" sz="quarter" idx="10"/>
          </p:nvPr>
        </p:nvSpPr>
        <p:spPr/>
        <p:txBody>
          <a:bodyPr/>
          <a:lstStyle/>
          <a:p>
            <a:fld id="{6340AB4C-F464-4123-9F18-85533569F96F}" type="slidenum">
              <a:rPr lang="en-US" smtClean="0"/>
              <a:t>8</a:t>
            </a:fld>
            <a:endParaRPr lang="en-US"/>
          </a:p>
        </p:txBody>
      </p:sp>
    </p:spTree>
    <p:extLst>
      <p:ext uri="{BB962C8B-B14F-4D97-AF65-F5344CB8AC3E}">
        <p14:creationId xmlns:p14="http://schemas.microsoft.com/office/powerpoint/2010/main" val="1882418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E46B3F-FA70-4E4D-81B6-AC8B84E01930}" type="slidenum">
              <a:rPr lang="en-US" smtClean="0"/>
              <a:t>9</a:t>
            </a:fld>
            <a:endParaRPr lang="en-US"/>
          </a:p>
        </p:txBody>
      </p:sp>
    </p:spTree>
    <p:extLst>
      <p:ext uri="{BB962C8B-B14F-4D97-AF65-F5344CB8AC3E}">
        <p14:creationId xmlns:p14="http://schemas.microsoft.com/office/powerpoint/2010/main" val="1519101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E46B3F-FA70-4E4D-81B6-AC8B84E01930}" type="slidenum">
              <a:rPr lang="en-US" smtClean="0"/>
              <a:t>10</a:t>
            </a:fld>
            <a:endParaRPr lang="en-US"/>
          </a:p>
        </p:txBody>
      </p:sp>
    </p:spTree>
    <p:extLst>
      <p:ext uri="{BB962C8B-B14F-4D97-AF65-F5344CB8AC3E}">
        <p14:creationId xmlns:p14="http://schemas.microsoft.com/office/powerpoint/2010/main" val="1258340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0BE93B-B4D6-4E29-B321-64772F551831}" type="slidenum">
              <a:rPr lang="en-US" smtClean="0"/>
              <a:t>12</a:t>
            </a:fld>
            <a:endParaRPr lang="en-US"/>
          </a:p>
        </p:txBody>
      </p:sp>
    </p:spTree>
    <p:extLst>
      <p:ext uri="{BB962C8B-B14F-4D97-AF65-F5344CB8AC3E}">
        <p14:creationId xmlns:p14="http://schemas.microsoft.com/office/powerpoint/2010/main" val="26332480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0509595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2415549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71284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751838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51AE6C69-C9F2-1844-8ED5-33B14D770F41}"/>
              </a:ext>
            </a:extLst>
          </p:cNvPr>
          <p:cNvSpPr>
            <a:spLocks noGrp="1"/>
          </p:cNvSpPr>
          <p:nvPr>
            <p:ph type="title"/>
          </p:nvPr>
        </p:nvSpPr>
        <p:spPr>
          <a:xfrm>
            <a:off x="469900" y="804672"/>
            <a:ext cx="3627438" cy="896112"/>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45CC406-52D4-0544-88D9-96309627E873}"/>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336987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61531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92298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60644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8720403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a:t>PICTURE</a:t>
            </a:r>
          </a:p>
        </p:txBody>
      </p:sp>
      <p:sp>
        <p:nvSpPr>
          <p:cNvPr id="41" name="Text Placeholder 4"/>
          <p:cNvSpPr>
            <a:spLocks noGrp="1"/>
          </p:cNvSpPr>
          <p:nvPr>
            <p:ph type="body" sz="quarter" idx="18" hasCustomPrompt="1"/>
          </p:nvPr>
        </p:nvSpPr>
        <p:spPr>
          <a:xfrm>
            <a:off x="5402264" y="1264981"/>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a:t>2-5 Word Tagline</a:t>
            </a:r>
          </a:p>
        </p:txBody>
      </p:sp>
      <p:sp>
        <p:nvSpPr>
          <p:cNvPr id="88" name="Text Placeholder 116"/>
          <p:cNvSpPr>
            <a:spLocks noGrp="1"/>
          </p:cNvSpPr>
          <p:nvPr>
            <p:ph type="body" sz="quarter" idx="25" hasCustomPrompt="1"/>
          </p:nvPr>
        </p:nvSpPr>
        <p:spPr>
          <a:xfrm>
            <a:off x="5402263" y="3498179"/>
            <a:ext cx="3462337" cy="219678"/>
          </a:xfrm>
          <a:prstGeom prst="rect">
            <a:avLst/>
          </a:prstGeom>
        </p:spPr>
        <p:txBody>
          <a:bodyPr/>
          <a:lstStyle>
            <a:lvl1pPr marL="0" indent="0">
              <a:buNone/>
              <a:defRPr sz="1000" b="1" spc="0"/>
            </a:lvl1pPr>
          </a:lstStyle>
          <a:p>
            <a:r>
              <a:rPr lang="en-US"/>
              <a:t>Solution</a:t>
            </a:r>
          </a:p>
        </p:txBody>
      </p:sp>
      <p:sp>
        <p:nvSpPr>
          <p:cNvPr id="89" name="Text Placeholder 117"/>
          <p:cNvSpPr>
            <a:spLocks noGrp="1"/>
          </p:cNvSpPr>
          <p:nvPr>
            <p:ph type="body" sz="quarter" idx="26" hasCustomPrompt="1"/>
          </p:nvPr>
        </p:nvSpPr>
        <p:spPr>
          <a:xfrm>
            <a:off x="5400674" y="4952456"/>
            <a:ext cx="3463925" cy="208097"/>
          </a:xfrm>
          <a:prstGeom prst="rect">
            <a:avLst/>
          </a:prstGeom>
        </p:spPr>
        <p:txBody>
          <a:bodyPr/>
          <a:lstStyle>
            <a:lvl1pPr marL="0" indent="0">
              <a:buNone/>
              <a:defRPr sz="1000" b="1" spc="0"/>
            </a:lvl1pPr>
          </a:lstStyle>
          <a:p>
            <a:r>
              <a:rPr lang="en-US"/>
              <a:t>Impact</a:t>
            </a:r>
          </a:p>
        </p:txBody>
      </p:sp>
      <p:sp>
        <p:nvSpPr>
          <p:cNvPr id="90" name="Text Placeholder 121"/>
          <p:cNvSpPr>
            <a:spLocks noGrp="1"/>
          </p:cNvSpPr>
          <p:nvPr>
            <p:ph type="body" sz="quarter" idx="31" hasCustomPrompt="1"/>
          </p:nvPr>
        </p:nvSpPr>
        <p:spPr>
          <a:xfrm>
            <a:off x="5400675" y="2051475"/>
            <a:ext cx="3463925" cy="228600"/>
          </a:xfrm>
          <a:prstGeom prst="rect">
            <a:avLst/>
          </a:prstGeom>
        </p:spPr>
        <p:txBody>
          <a:bodyPr/>
          <a:lstStyle>
            <a:lvl1pPr marL="0" indent="0">
              <a:buNone/>
              <a:defRPr sz="1000" b="1" spc="0"/>
            </a:lvl1pPr>
          </a:lstStyle>
          <a:p>
            <a:r>
              <a:rPr lang="en-US"/>
              <a:t>Issue</a:t>
            </a:r>
          </a:p>
        </p:txBody>
      </p:sp>
      <p:sp>
        <p:nvSpPr>
          <p:cNvPr id="3" name="Text Placeholder 2"/>
          <p:cNvSpPr>
            <a:spLocks noGrp="1"/>
          </p:cNvSpPr>
          <p:nvPr>
            <p:ph type="body" sz="quarter" idx="39" hasCustomPrompt="1"/>
          </p:nvPr>
        </p:nvSpPr>
        <p:spPr>
          <a:xfrm>
            <a:off x="5400675" y="2280075"/>
            <a:ext cx="5402005" cy="967957"/>
          </a:xfrm>
          <a:prstGeom prst="rect">
            <a:avLst/>
          </a:prstGeom>
        </p:spPr>
        <p:txBody>
          <a:bodyPr wrap="square" bIns="182880">
            <a:spAutoFit/>
          </a:bodyPr>
          <a:lstStyle>
            <a:lvl1pPr marL="0" indent="0">
              <a:lnSpc>
                <a:spcPct val="130000"/>
              </a:lnSpc>
              <a:buNone/>
              <a:defRPr lang="en-US" sz="1000" b="0" i="0" smtClean="0">
                <a:effectLst/>
              </a:defRPr>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5" name="Text Placeholder 2"/>
          <p:cNvSpPr>
            <a:spLocks noGrp="1"/>
          </p:cNvSpPr>
          <p:nvPr>
            <p:ph type="body" sz="quarter" idx="40" hasCustomPrompt="1"/>
          </p:nvPr>
        </p:nvSpPr>
        <p:spPr>
          <a:xfrm>
            <a:off x="5400675" y="3732176"/>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9" name="Text Placeholder 2"/>
          <p:cNvSpPr>
            <a:spLocks noGrp="1"/>
          </p:cNvSpPr>
          <p:nvPr>
            <p:ph type="body" sz="quarter" idx="41" hasCustomPrompt="1"/>
          </p:nvPr>
        </p:nvSpPr>
        <p:spPr>
          <a:xfrm>
            <a:off x="5400675" y="5160553"/>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Tree>
    <p:extLst>
      <p:ext uri="{BB962C8B-B14F-4D97-AF65-F5344CB8AC3E}">
        <p14:creationId xmlns:p14="http://schemas.microsoft.com/office/powerpoint/2010/main" val="33090500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publication contains general information only, and none of the member firms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19 Deloitte Development LLC. </a:t>
            </a:r>
            <a:br>
              <a:rPr kumimoji="0" lang="en-US" sz="800" b="0" i="0" u="none" strike="noStrike" kern="1200" cap="none" spc="0" normalizeH="0" baseline="0" noProof="0">
                <a:ln>
                  <a:noFill/>
                </a:ln>
                <a:solidFill>
                  <a:schemeClr val="bg1"/>
                </a:solidFill>
                <a:effectLst/>
                <a:uLnTx/>
                <a:uFillTx/>
                <a:latin typeface="+mn-lt"/>
                <a:ea typeface="+mn-ea"/>
                <a:cs typeface="+mn-cs"/>
              </a:rPr>
            </a:br>
            <a:r>
              <a:rPr kumimoji="0" lang="en-US" sz="800" b="0" i="0" u="none" strike="noStrike" kern="1200" cap="none" spc="0" normalizeH="0" baseline="0" noProof="0">
                <a:ln>
                  <a:noFill/>
                </a:ln>
                <a:solidFill>
                  <a:schemeClr val="bg1"/>
                </a:solidFill>
                <a:effectLst/>
                <a:uLnTx/>
                <a:uFillTx/>
                <a:latin typeface="+mn-lt"/>
                <a:ea typeface="+mn-ea"/>
                <a:cs typeface="+mn-cs"/>
              </a:rPr>
              <a:t>All rights reserved. Member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a:t>
            </a:r>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0834243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 name="Group 1">
            <a:extLst>
              <a:ext uri="{FF2B5EF4-FFF2-40B4-BE49-F238E27FC236}">
                <a16:creationId xmlns:a16="http://schemas.microsoft.com/office/drawing/2014/main" id="{68A7555D-9EA2-0842-88A7-4A9429A2B606}"/>
              </a:ext>
            </a:extLst>
          </p:cNvPr>
          <p:cNvGrpSpPr/>
          <p:nvPr/>
        </p:nvGrpSpPr>
        <p:grpSpPr>
          <a:xfrm>
            <a:off x="469900" y="457761"/>
            <a:ext cx="1998000" cy="374400"/>
            <a:chOff x="469900" y="457761"/>
            <a:chExt cx="1998000" cy="374400"/>
          </a:xfrm>
        </p:grpSpPr>
        <p:sp>
          <p:nvSpPr>
            <p:cNvPr id="23" name="Oval 5"/>
            <p:cNvSpPr>
              <a:spLocks noChangeArrowheads="1"/>
            </p:cNvSpPr>
            <p:nvPr/>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9208452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16195830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69900" y="402587"/>
            <a:ext cx="11252200" cy="334102"/>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400">
              <a:lnSpc>
                <a:spcPct val="80000"/>
              </a:lnSpc>
              <a:spcBef>
                <a:spcPts val="400"/>
              </a:spcBef>
              <a:spcAft>
                <a:spcPts val="400"/>
              </a:spcAft>
            </a:pPr>
            <a:r>
              <a:rPr lang="en-US"/>
              <a:t>Click to edit Master title style</a:t>
            </a:r>
          </a:p>
        </p:txBody>
      </p:sp>
    </p:spTree>
    <p:extLst>
      <p:ext uri="{BB962C8B-B14F-4D97-AF65-F5344CB8AC3E}">
        <p14:creationId xmlns:p14="http://schemas.microsoft.com/office/powerpoint/2010/main" val="8886428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0133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Key Issues - Grey">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460375" y="228600"/>
            <a:ext cx="11272838" cy="535531"/>
          </a:xfrm>
          <a:prstGeom prst="rect">
            <a:avLst/>
          </a:prstGeom>
          <a:noFill/>
          <a:ln>
            <a:noFill/>
          </a:ln>
        </p:spPr>
        <p:txBody>
          <a:bodyPr wrap="square" lIns="91425" tIns="91425" rIns="91425" bIns="91425" anchor="t" anchorCtr="0"/>
          <a:lstStyle>
            <a:lvl1pPr marL="0" marR="0" lvl="0" indent="0" algn="l" rtl="0">
              <a:lnSpc>
                <a:spcPct val="90000"/>
              </a:lnSpc>
              <a:spcBef>
                <a:spcPts val="0"/>
              </a:spcBef>
              <a:spcAft>
                <a:spcPts val="0"/>
              </a:spcAft>
              <a:buNone/>
              <a:defRPr sz="3200" b="1" i="0" u="none" strike="noStrike" cap="none">
                <a:solidFill>
                  <a:srgbClr val="00529B"/>
                </a:solidFill>
                <a:latin typeface="Arial"/>
                <a:ea typeface="Arial"/>
                <a:cs typeface="Arial"/>
                <a:sym typeface="Arial"/>
              </a:defRPr>
            </a:lvl1pPr>
            <a:lvl2pPr marL="0" marR="0" lvl="1" indent="0" algn="l" rtl="0">
              <a:spcBef>
                <a:spcPts val="0"/>
              </a:spcBef>
              <a:spcAft>
                <a:spcPts val="0"/>
              </a:spcAft>
              <a:buNone/>
              <a:defRPr sz="3200" b="1" i="0" u="none" strike="noStrike" cap="none">
                <a:solidFill>
                  <a:srgbClr val="00529B"/>
                </a:solidFill>
                <a:latin typeface="Arial"/>
                <a:ea typeface="Arial"/>
                <a:cs typeface="Arial"/>
                <a:sym typeface="Arial"/>
              </a:defRPr>
            </a:lvl2pPr>
            <a:lvl3pPr marL="0" marR="0" lvl="2" indent="0" algn="l" rtl="0">
              <a:spcBef>
                <a:spcPts val="0"/>
              </a:spcBef>
              <a:spcAft>
                <a:spcPts val="0"/>
              </a:spcAft>
              <a:buNone/>
              <a:defRPr sz="3200" b="1" i="0" u="none" strike="noStrike" cap="none">
                <a:solidFill>
                  <a:srgbClr val="00529B"/>
                </a:solidFill>
                <a:latin typeface="Arial"/>
                <a:ea typeface="Arial"/>
                <a:cs typeface="Arial"/>
                <a:sym typeface="Arial"/>
              </a:defRPr>
            </a:lvl3pPr>
            <a:lvl4pPr marL="0" marR="0" lvl="3" indent="0" algn="l" rtl="0">
              <a:spcBef>
                <a:spcPts val="0"/>
              </a:spcBef>
              <a:spcAft>
                <a:spcPts val="0"/>
              </a:spcAft>
              <a:buNone/>
              <a:defRPr sz="3200" b="1" i="0" u="none" strike="noStrike" cap="none">
                <a:solidFill>
                  <a:srgbClr val="00529B"/>
                </a:solidFill>
                <a:latin typeface="Arial"/>
                <a:ea typeface="Arial"/>
                <a:cs typeface="Arial"/>
                <a:sym typeface="Arial"/>
              </a:defRPr>
            </a:lvl4pPr>
            <a:lvl5pPr marL="0" marR="0" lvl="4" indent="0" algn="l" rtl="0">
              <a:spcBef>
                <a:spcPts val="0"/>
              </a:spcBef>
              <a:spcAft>
                <a:spcPts val="0"/>
              </a:spcAft>
              <a:buNone/>
              <a:defRPr sz="3200" b="1" i="0" u="none" strike="noStrike" cap="none">
                <a:solidFill>
                  <a:srgbClr val="00529B"/>
                </a:solidFill>
                <a:latin typeface="Arial"/>
                <a:ea typeface="Arial"/>
                <a:cs typeface="Arial"/>
                <a:sym typeface="Arial"/>
              </a:defRPr>
            </a:lvl5pPr>
            <a:lvl6pPr marL="457178" marR="0" lvl="5" indent="-12678" algn="l" rtl="0">
              <a:spcBef>
                <a:spcPts val="0"/>
              </a:spcBef>
              <a:spcAft>
                <a:spcPts val="0"/>
              </a:spcAft>
              <a:buNone/>
              <a:defRPr sz="3200" b="1" i="0" u="none" strike="noStrike" cap="none">
                <a:solidFill>
                  <a:srgbClr val="00529B"/>
                </a:solidFill>
                <a:latin typeface="Arial"/>
                <a:ea typeface="Arial"/>
                <a:cs typeface="Arial"/>
                <a:sym typeface="Arial"/>
              </a:defRPr>
            </a:lvl6pPr>
            <a:lvl7pPr marL="914354" marR="0" lvl="6" indent="-12653" algn="l" rtl="0">
              <a:spcBef>
                <a:spcPts val="0"/>
              </a:spcBef>
              <a:spcAft>
                <a:spcPts val="0"/>
              </a:spcAft>
              <a:buNone/>
              <a:defRPr sz="3200" b="1" i="0" u="none" strike="noStrike" cap="none">
                <a:solidFill>
                  <a:srgbClr val="00529B"/>
                </a:solidFill>
                <a:latin typeface="Arial"/>
                <a:ea typeface="Arial"/>
                <a:cs typeface="Arial"/>
                <a:sym typeface="Arial"/>
              </a:defRPr>
            </a:lvl7pPr>
            <a:lvl8pPr marL="1371532" marR="0" lvl="7" indent="-12631" algn="l" rtl="0">
              <a:spcBef>
                <a:spcPts val="0"/>
              </a:spcBef>
              <a:spcAft>
                <a:spcPts val="0"/>
              </a:spcAft>
              <a:buNone/>
              <a:defRPr sz="3200" b="1" i="0" u="none" strike="noStrike" cap="none">
                <a:solidFill>
                  <a:srgbClr val="00529B"/>
                </a:solidFill>
                <a:latin typeface="Arial"/>
                <a:ea typeface="Arial"/>
                <a:cs typeface="Arial"/>
                <a:sym typeface="Arial"/>
              </a:defRPr>
            </a:lvl8pPr>
            <a:lvl9pPr marL="1828708" marR="0" lvl="8" indent="-12608" algn="l" rtl="0">
              <a:spcBef>
                <a:spcPts val="0"/>
              </a:spcBef>
              <a:spcAft>
                <a:spcPts val="0"/>
              </a:spcAft>
              <a:buNone/>
              <a:defRPr sz="3200" b="1" i="0" u="none" strike="noStrike" cap="none">
                <a:solidFill>
                  <a:srgbClr val="00529B"/>
                </a:solidFill>
                <a:latin typeface="Arial"/>
                <a:ea typeface="Arial"/>
                <a:cs typeface="Arial"/>
                <a:sym typeface="Arial"/>
              </a:defRPr>
            </a:lvl9pPr>
          </a:lstStyle>
          <a:p>
            <a:r>
              <a:rPr lang="en-US"/>
              <a:t>Click to edit Master title style</a:t>
            </a:r>
            <a:endParaRPr/>
          </a:p>
        </p:txBody>
      </p:sp>
      <p:sp>
        <p:nvSpPr>
          <p:cNvPr id="46" name="Shape 46"/>
          <p:cNvSpPr txBox="1">
            <a:spLocks noGrp="1"/>
          </p:cNvSpPr>
          <p:nvPr>
            <p:ph type="body" idx="1"/>
          </p:nvPr>
        </p:nvSpPr>
        <p:spPr>
          <a:xfrm>
            <a:off x="460375" y="1325562"/>
            <a:ext cx="11272838" cy="4679950"/>
          </a:xfrm>
          <a:prstGeom prst="rect">
            <a:avLst/>
          </a:prstGeom>
          <a:noFill/>
          <a:ln>
            <a:noFill/>
          </a:ln>
        </p:spPr>
        <p:txBody>
          <a:bodyPr wrap="square" lIns="91425" tIns="91425" rIns="91425" bIns="91425" anchor="t" anchorCtr="0"/>
          <a:lstStyle>
            <a:lvl1pPr marL="411480" marR="0" lvl="0" indent="-251460" algn="l" rtl="0">
              <a:lnSpc>
                <a:spcPct val="100000"/>
              </a:lnSpc>
              <a:spcBef>
                <a:spcPts val="0"/>
              </a:spcBef>
              <a:spcAft>
                <a:spcPts val="1200"/>
              </a:spcAft>
              <a:buClr>
                <a:srgbClr val="919191"/>
              </a:buClr>
              <a:buSzPct val="90000"/>
              <a:buFont typeface="Arial"/>
              <a:buAutoNum type="arabicPeriod"/>
              <a:defRPr sz="2800" b="0" i="0" u="none" strike="noStrike" cap="none">
                <a:solidFill>
                  <a:srgbClr val="919191"/>
                </a:solidFill>
                <a:latin typeface="Arial"/>
                <a:ea typeface="Arial"/>
                <a:cs typeface="Arial"/>
                <a:sym typeface="Arial"/>
              </a:defRPr>
            </a:lvl1pPr>
            <a:lvl2pPr marL="777240" marR="0" lvl="1" indent="-144780" algn="l" rtl="0">
              <a:lnSpc>
                <a:spcPct val="100000"/>
              </a:lnSpc>
              <a:spcBef>
                <a:spcPts val="0"/>
              </a:spcBef>
              <a:spcAft>
                <a:spcPts val="1200"/>
              </a:spcAft>
              <a:buClr>
                <a:srgbClr val="919191"/>
              </a:buClr>
              <a:buSzPct val="90000"/>
              <a:buFont typeface="Arial"/>
              <a:buChar char="–"/>
              <a:defRPr sz="2400" b="0" i="0" u="none" strike="noStrike" cap="none">
                <a:solidFill>
                  <a:srgbClr val="919191"/>
                </a:solidFill>
                <a:latin typeface="Arial"/>
                <a:ea typeface="Arial"/>
                <a:cs typeface="Arial"/>
                <a:sym typeface="Arial"/>
              </a:defRPr>
            </a:lvl2pPr>
            <a:lvl3pPr marL="1051560" marR="0" lvl="2" indent="-151130" algn="l" rtl="0">
              <a:lnSpc>
                <a:spcPct val="100000"/>
              </a:lnSpc>
              <a:spcBef>
                <a:spcPts val="0"/>
              </a:spcBef>
              <a:spcAft>
                <a:spcPts val="1200"/>
              </a:spcAft>
              <a:buClr>
                <a:srgbClr val="919191"/>
              </a:buClr>
              <a:buSzPct val="90000"/>
              <a:buFont typeface="Noto Sans Symbols"/>
              <a:buChar char="▪"/>
              <a:defRPr sz="2200" b="0" i="0" u="none" strike="noStrike" cap="none">
                <a:solidFill>
                  <a:srgbClr val="919191"/>
                </a:solidFill>
                <a:latin typeface="Arial"/>
                <a:ea typeface="Arial"/>
                <a:cs typeface="Arial"/>
                <a:sym typeface="Arial"/>
              </a:defRPr>
            </a:lvl3pPr>
            <a:lvl4pPr marL="1371600" marR="0" lvl="3" indent="-153669" algn="l" rtl="0">
              <a:lnSpc>
                <a:spcPct val="100000"/>
              </a:lnSpc>
              <a:spcBef>
                <a:spcPts val="0"/>
              </a:spcBef>
              <a:spcAft>
                <a:spcPts val="1200"/>
              </a:spcAft>
              <a:buClr>
                <a:srgbClr val="919191"/>
              </a:buClr>
              <a:buSzPct val="90000"/>
              <a:buFont typeface="Arial"/>
              <a:buChar char="–"/>
              <a:defRPr sz="2200" b="0" i="0" u="none" strike="noStrike" cap="none">
                <a:solidFill>
                  <a:srgbClr val="919191"/>
                </a:solidFill>
                <a:latin typeface="Arial"/>
                <a:ea typeface="Arial"/>
                <a:cs typeface="Arial"/>
                <a:sym typeface="Arial"/>
              </a:defRPr>
            </a:lvl4pPr>
            <a:lvl5pPr marL="1645920" marR="0" lvl="4" indent="-148590" algn="l" rtl="0">
              <a:lnSpc>
                <a:spcPct val="100000"/>
              </a:lnSpc>
              <a:spcBef>
                <a:spcPts val="0"/>
              </a:spcBef>
              <a:spcAft>
                <a:spcPts val="1200"/>
              </a:spcAft>
              <a:buClr>
                <a:srgbClr val="919191"/>
              </a:buClr>
              <a:buSzPct val="90000"/>
              <a:buFont typeface="Noto Sans Symbols"/>
              <a:buChar char="▪"/>
              <a:defRPr sz="2200" b="0" i="0" u="none" strike="noStrike" cap="none">
                <a:solidFill>
                  <a:srgbClr val="919191"/>
                </a:solidFill>
                <a:latin typeface="Arial"/>
                <a:ea typeface="Arial"/>
                <a:cs typeface="Arial"/>
                <a:sym typeface="Arial"/>
              </a:defRPr>
            </a:lvl5pPr>
            <a:lvl6pPr marL="1954115" marR="0" lvl="5" indent="-49115" algn="l" rtl="0">
              <a:lnSpc>
                <a:spcPct val="90000"/>
              </a:lnSpc>
              <a:spcBef>
                <a:spcPts val="600"/>
              </a:spcBef>
              <a:spcAft>
                <a:spcPts val="200"/>
              </a:spcAft>
              <a:buClr>
                <a:schemeClr val="dk1"/>
              </a:buClr>
              <a:buSzPct val="100000"/>
              <a:buFont typeface="Times"/>
              <a:buChar char="•"/>
              <a:defRPr sz="2000" b="0" i="0" u="none" strike="noStrike" cap="none">
                <a:solidFill>
                  <a:schemeClr val="dk1"/>
                </a:solidFill>
                <a:latin typeface="Arial"/>
                <a:ea typeface="Arial"/>
                <a:cs typeface="Arial"/>
                <a:sym typeface="Arial"/>
              </a:defRPr>
            </a:lvl6pPr>
            <a:lvl7pPr marL="2411293" marR="0" lvl="6" indent="-49092" algn="l" rtl="0">
              <a:lnSpc>
                <a:spcPct val="90000"/>
              </a:lnSpc>
              <a:spcBef>
                <a:spcPts val="600"/>
              </a:spcBef>
              <a:spcAft>
                <a:spcPts val="200"/>
              </a:spcAft>
              <a:buClr>
                <a:schemeClr val="dk1"/>
              </a:buClr>
              <a:buSzPct val="100000"/>
              <a:buFont typeface="Times"/>
              <a:buChar char="•"/>
              <a:defRPr sz="2000" b="0" i="0" u="none" strike="noStrike" cap="none">
                <a:solidFill>
                  <a:schemeClr val="dk1"/>
                </a:solidFill>
                <a:latin typeface="Arial"/>
                <a:ea typeface="Arial"/>
                <a:cs typeface="Arial"/>
                <a:sym typeface="Arial"/>
              </a:defRPr>
            </a:lvl7pPr>
            <a:lvl8pPr marL="2868471" marR="0" lvl="7" indent="-49071" algn="l" rtl="0">
              <a:lnSpc>
                <a:spcPct val="90000"/>
              </a:lnSpc>
              <a:spcBef>
                <a:spcPts val="600"/>
              </a:spcBef>
              <a:spcAft>
                <a:spcPts val="200"/>
              </a:spcAft>
              <a:buClr>
                <a:schemeClr val="dk1"/>
              </a:buClr>
              <a:buSzPct val="100000"/>
              <a:buFont typeface="Times"/>
              <a:buChar char="•"/>
              <a:defRPr sz="2000" b="0" i="0" u="none" strike="noStrike" cap="none">
                <a:solidFill>
                  <a:schemeClr val="dk1"/>
                </a:solidFill>
                <a:latin typeface="Arial"/>
                <a:ea typeface="Arial"/>
                <a:cs typeface="Arial"/>
                <a:sym typeface="Arial"/>
              </a:defRPr>
            </a:lvl8pPr>
            <a:lvl9pPr marL="3325648" marR="0" lvl="8" indent="-49048" algn="l" rtl="0">
              <a:lnSpc>
                <a:spcPct val="90000"/>
              </a:lnSpc>
              <a:spcBef>
                <a:spcPts val="600"/>
              </a:spcBef>
              <a:spcAft>
                <a:spcPts val="200"/>
              </a:spcAft>
              <a:buClr>
                <a:schemeClr val="dk1"/>
              </a:buClr>
              <a:buSzPct val="100000"/>
              <a:buFont typeface="Times"/>
              <a:buChar char="•"/>
              <a:defRPr sz="2000" b="0" i="0" u="none" strike="noStrike" cap="none">
                <a:solidFill>
                  <a:schemeClr val="dk1"/>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943110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77590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 name="Group 1">
            <a:extLst>
              <a:ext uri="{FF2B5EF4-FFF2-40B4-BE49-F238E27FC236}">
                <a16:creationId xmlns:a16="http://schemas.microsoft.com/office/drawing/2014/main" id="{68A7555D-9EA2-0842-88A7-4A9429A2B606}"/>
              </a:ext>
            </a:extLst>
          </p:cNvPr>
          <p:cNvGrpSpPr/>
          <p:nvPr/>
        </p:nvGrpSpPr>
        <p:grpSpPr>
          <a:xfrm>
            <a:off x="469900" y="457761"/>
            <a:ext cx="1998000" cy="374400"/>
            <a:chOff x="469900" y="457761"/>
            <a:chExt cx="1998000" cy="374400"/>
          </a:xfrm>
        </p:grpSpPr>
        <p:sp>
          <p:nvSpPr>
            <p:cNvPr id="23" name="Oval 5"/>
            <p:cNvSpPr>
              <a:spLocks noChangeArrowheads="1"/>
            </p:cNvSpPr>
            <p:nvPr/>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92639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5130411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562048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0041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Subhead Black">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734F336-8A58-3045-BBDB-4EFB786C64A3}"/>
              </a:ext>
            </a:extLst>
          </p:cNvPr>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9" name="TextBox 8">
            <a:extLst>
              <a:ext uri="{FF2B5EF4-FFF2-40B4-BE49-F238E27FC236}">
                <a16:creationId xmlns:a16="http://schemas.microsoft.com/office/drawing/2014/main" id="{BB580837-1B95-1546-8ADC-A69000EBEE54}"/>
              </a:ext>
            </a:extLst>
          </p:cNvPr>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 Placeholder 8">
            <a:extLst>
              <a:ext uri="{FF2B5EF4-FFF2-40B4-BE49-F238E27FC236}">
                <a16:creationId xmlns:a16="http://schemas.microsoft.com/office/drawing/2014/main" id="{9F62AF77-09F9-B142-AECB-399BB0864EBC}"/>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Click to edit Master text styles</a:t>
            </a:r>
          </a:p>
        </p:txBody>
      </p:sp>
      <p:sp>
        <p:nvSpPr>
          <p:cNvPr id="11" name="Title Placeholder 1">
            <a:extLst>
              <a:ext uri="{FF2B5EF4-FFF2-40B4-BE49-F238E27FC236}">
                <a16:creationId xmlns:a16="http://schemas.microsoft.com/office/drawing/2014/main" id="{B3DC9768-1510-D04E-91BD-90B8972E5FFB}"/>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040293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430082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ubhead, Breadcrumb Black">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84B7CE5-2C43-2E43-B1D6-00E6C3A52DE1}"/>
              </a:ext>
            </a:extLst>
          </p:cNvPr>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8" name="TextBox 7">
            <a:extLst>
              <a:ext uri="{FF2B5EF4-FFF2-40B4-BE49-F238E27FC236}">
                <a16:creationId xmlns:a16="http://schemas.microsoft.com/office/drawing/2014/main" id="{26469753-9AFC-4942-AE3D-D45AE76D82B7}"/>
              </a:ext>
            </a:extLst>
          </p:cNvPr>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 Placeholder 8">
            <a:extLst>
              <a:ext uri="{FF2B5EF4-FFF2-40B4-BE49-F238E27FC236}">
                <a16:creationId xmlns:a16="http://schemas.microsoft.com/office/drawing/2014/main" id="{11438D94-9E78-DB46-8005-9BB6843830D6}"/>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Click to edit Master text styles</a:t>
            </a:r>
          </a:p>
        </p:txBody>
      </p:sp>
      <p:sp>
        <p:nvSpPr>
          <p:cNvPr id="13" name="Title Placeholder 1">
            <a:extLst>
              <a:ext uri="{FF2B5EF4-FFF2-40B4-BE49-F238E27FC236}">
                <a16:creationId xmlns:a16="http://schemas.microsoft.com/office/drawing/2014/main" id="{B33C2647-05D6-0F44-9218-9A454AE01A2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15" name="Text Placeholder 4">
            <a:extLst>
              <a:ext uri="{FF2B5EF4-FFF2-40B4-BE49-F238E27FC236}">
                <a16:creationId xmlns:a16="http://schemas.microsoft.com/office/drawing/2014/main" id="{D9D54F89-B56E-E943-9A3E-84F79DBDDBB0}"/>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8304703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Blank Blac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C5EA50-4B35-CC42-AD64-79966F3696BA}"/>
              </a:ext>
            </a:extLst>
          </p:cNvPr>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4" name="TextBox 3">
            <a:extLst>
              <a:ext uri="{FF2B5EF4-FFF2-40B4-BE49-F238E27FC236}">
                <a16:creationId xmlns:a16="http://schemas.microsoft.com/office/drawing/2014/main" id="{89874F89-BB35-1141-9BBC-DE91CF6CB30D}"/>
              </a:ext>
            </a:extLst>
          </p:cNvPr>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780432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5756911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37022423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396910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01102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51AE6C69-C9F2-1844-8ED5-33B14D770F41}"/>
              </a:ext>
            </a:extLst>
          </p:cNvPr>
          <p:cNvSpPr>
            <a:spLocks noGrp="1"/>
          </p:cNvSpPr>
          <p:nvPr>
            <p:ph type="title"/>
          </p:nvPr>
        </p:nvSpPr>
        <p:spPr>
          <a:xfrm>
            <a:off x="469900" y="804672"/>
            <a:ext cx="3627438" cy="896112"/>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45CC406-52D4-0544-88D9-96309627E873}"/>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488584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496293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726102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43546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816630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9409733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_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publication contains general information only, and none of the member firms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19 Deloitte Development LLC. </a:t>
            </a:r>
            <a:br>
              <a:rPr kumimoji="0" lang="en-US" sz="800" b="0" i="0" u="none" strike="noStrike" kern="1200" cap="none" spc="0" normalizeH="0" baseline="0" noProof="0">
                <a:ln>
                  <a:noFill/>
                </a:ln>
                <a:solidFill>
                  <a:schemeClr val="bg1"/>
                </a:solidFill>
                <a:effectLst/>
                <a:uLnTx/>
                <a:uFillTx/>
                <a:latin typeface="+mn-lt"/>
                <a:ea typeface="+mn-ea"/>
                <a:cs typeface="+mn-cs"/>
              </a:rPr>
            </a:br>
            <a:r>
              <a:rPr kumimoji="0" lang="en-US" sz="800" b="0" i="0" u="none" strike="noStrike" kern="1200" cap="none" spc="0" normalizeH="0" baseline="0" noProof="0">
                <a:ln>
                  <a:noFill/>
                </a:ln>
                <a:solidFill>
                  <a:schemeClr val="bg1"/>
                </a:solidFill>
                <a:effectLst/>
                <a:uLnTx/>
                <a:uFillTx/>
                <a:latin typeface="+mn-lt"/>
                <a:ea typeface="+mn-ea"/>
                <a:cs typeface="+mn-cs"/>
              </a:rPr>
              <a:t>All rights reserved. Member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a:t>
            </a:r>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0067324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36295447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00" b="0" i="0">
                <a:solidFill>
                  <a:schemeClr val="tx1"/>
                </a:solidFill>
                <a:latin typeface="Open Sans Light"/>
                <a:cs typeface="Open Sans Light"/>
              </a:defRPr>
            </a:lvl1pPr>
          </a:lstStyle>
          <a:p>
            <a:r>
              <a:rPr lang="en-US"/>
              <a:t>Click to edit Master title style</a:t>
            </a:r>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pPr lvl="0"/>
            <a:r>
              <a:rPr lang="en-US"/>
              <a:t>Click to edit Master text styles</a:t>
            </a: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lang="en-US"/>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846CE7D5-CF57-46EF-B807-FDD0502418D4}" type="datetimeFigureOut">
              <a:rPr lang="en-US" smtClean="0"/>
              <a:t>7/20/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2150467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10437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7/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651489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240849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56231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13464348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0"/>
            <a:ext cx="12181169" cy="5143498"/>
          </a:xfrm>
          <a:prstGeom prst="rect">
            <a:avLst/>
          </a:prstGeom>
        </p:spPr>
      </p:pic>
      <p:sp>
        <p:nvSpPr>
          <p:cNvPr id="8" name="Title 1"/>
          <p:cNvSpPr>
            <a:spLocks noGrp="1"/>
          </p:cNvSpPr>
          <p:nvPr>
            <p:ph type="title" hasCustomPrompt="1"/>
          </p:nvPr>
        </p:nvSpPr>
        <p:spPr>
          <a:xfrm>
            <a:off x="1429531" y="279657"/>
            <a:ext cx="10509359" cy="729336"/>
          </a:xfrm>
          <a:prstGeom prst="rect">
            <a:avLst/>
          </a:prstGeom>
        </p:spPr>
        <p:txBody>
          <a:bodyPr anchor="t"/>
          <a:lstStyle>
            <a:lvl1pPr>
              <a:defRPr sz="2800" cap="all" baseline="0">
                <a:solidFill>
                  <a:schemeClr val="bg2"/>
                </a:solidFill>
              </a:defRPr>
            </a:lvl1pPr>
          </a:lstStyle>
          <a:p>
            <a:r>
              <a:rPr lang="en-GB"/>
              <a:t>CLICK TO EDIT MASTER TITLE STYLE</a:t>
            </a:r>
            <a:endParaRPr lang="en-US"/>
          </a:p>
        </p:txBody>
      </p:sp>
      <p:sp>
        <p:nvSpPr>
          <p:cNvPr id="11" name="Content Placeholder 2"/>
          <p:cNvSpPr>
            <a:spLocks noGrp="1"/>
          </p:cNvSpPr>
          <p:nvPr>
            <p:ph idx="1"/>
          </p:nvPr>
        </p:nvSpPr>
        <p:spPr>
          <a:xfrm>
            <a:off x="286871" y="1452283"/>
            <a:ext cx="11652019" cy="4279769"/>
          </a:xfrm>
          <a:prstGeom prst="rect">
            <a:avLst/>
          </a:prstGeom>
        </p:spPr>
        <p:txBody>
          <a:bodyPr/>
          <a:lstStyle>
            <a:lvl1pPr marL="0" indent="0">
              <a:buClr>
                <a:schemeClr val="tx1">
                  <a:lumMod val="75000"/>
                  <a:lumOff val="25000"/>
                </a:schemeClr>
              </a:buClr>
              <a:buSzPct val="85000"/>
              <a:buFont typeface="Arial" panose="020B0604020202020204" pitchFamily="34" charset="0"/>
              <a:buNone/>
              <a:defRPr sz="2600" baseline="0">
                <a:solidFill>
                  <a:schemeClr val="bg2"/>
                </a:solidFill>
              </a:defRPr>
            </a:lvl1pPr>
            <a:lvl2pPr marL="742950" indent="-285750">
              <a:buClr>
                <a:schemeClr val="tx1">
                  <a:lumMod val="75000"/>
                  <a:lumOff val="25000"/>
                </a:schemeClr>
              </a:buClr>
              <a:buSzPct val="85000"/>
              <a:buFont typeface="Arial" panose="020B0604020202020204" pitchFamily="34" charset="0"/>
              <a:buChar char="•"/>
              <a:defRPr sz="2400" baseline="0">
                <a:solidFill>
                  <a:schemeClr val="bg2"/>
                </a:solidFill>
              </a:defRPr>
            </a:lvl2pPr>
            <a:lvl3pPr marL="1143000" indent="-228600">
              <a:buClr>
                <a:schemeClr val="tx1">
                  <a:lumMod val="75000"/>
                  <a:lumOff val="25000"/>
                </a:schemeClr>
              </a:buClr>
              <a:buSzPct val="85000"/>
              <a:buFont typeface="Arial" panose="020B0604020202020204" pitchFamily="34" charset="0"/>
              <a:buChar char="•"/>
              <a:defRPr sz="2000" baseline="0">
                <a:solidFill>
                  <a:schemeClr val="bg2"/>
                </a:solidFill>
              </a:defRPr>
            </a:lvl3pPr>
            <a:lvl4pPr marL="1600200" indent="-228600">
              <a:buClr>
                <a:schemeClr val="tx1">
                  <a:lumMod val="75000"/>
                  <a:lumOff val="25000"/>
                </a:schemeClr>
              </a:buClr>
              <a:buSzPct val="85000"/>
              <a:buFont typeface="Arial" panose="020B0604020202020204" pitchFamily="34" charset="0"/>
              <a:buChar char="•"/>
              <a:defRPr sz="1800" baseline="0">
                <a:solidFill>
                  <a:schemeClr val="bg2"/>
                </a:solidFill>
              </a:defRPr>
            </a:lvl4pPr>
            <a:lvl5pPr marL="2057400" indent="-228600">
              <a:buClr>
                <a:schemeClr val="tx1">
                  <a:lumMod val="75000"/>
                  <a:lumOff val="25000"/>
                </a:schemeClr>
              </a:buClr>
              <a:buSzPct val="100000"/>
              <a:buFont typeface="Arial" panose="020B0604020202020204" pitchFamily="34" charset="0"/>
              <a:buChar char="•"/>
              <a:defRPr sz="1600" baseline="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
          <p:cNvSpPr>
            <a:spLocks noGrp="1"/>
          </p:cNvSpPr>
          <p:nvPr>
            <p:ph type="sldNum" idx="4294967295"/>
          </p:nvPr>
        </p:nvSpPr>
        <p:spPr>
          <a:xfrm>
            <a:off x="7367410" y="6344422"/>
            <a:ext cx="2844797" cy="365125"/>
          </a:xfrm>
          <a:prstGeom prst="rect">
            <a:avLst/>
          </a:prstGeom>
        </p:spPr>
        <p:txBody>
          <a:bodyPr/>
          <a:lstStyle>
            <a:lvl1pPr>
              <a:defRPr/>
            </a:lvl1pPr>
          </a:lstStyle>
          <a:p>
            <a:pPr algn="r">
              <a:buClr>
                <a:srgbClr val="00467F"/>
              </a:buClr>
              <a:buSzPct val="25000"/>
              <a:buFont typeface="Trebuchet MS"/>
              <a:buNone/>
            </a:pPr>
            <a:r>
              <a:rPr lang="en-US" sz="1200">
                <a:solidFill>
                  <a:srgbClr val="00467F"/>
                </a:solidFill>
                <a:ea typeface="Trebuchet MS"/>
                <a:cs typeface="Trebuchet MS"/>
                <a:sym typeface="Trebuchet MS"/>
              </a:rPr>
              <a:t>&lt;#&gt;</a:t>
            </a:r>
          </a:p>
        </p:txBody>
      </p:sp>
    </p:spTree>
    <p:extLst>
      <p:ext uri="{BB962C8B-B14F-4D97-AF65-F5344CB8AC3E}">
        <p14:creationId xmlns:p14="http://schemas.microsoft.com/office/powerpoint/2010/main" val="2182753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2243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8021257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9580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957467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3_Divider ">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CF6A37-5D00-439D-947C-93B27E4309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38">
            <a:extLst>
              <a:ext uri="{FF2B5EF4-FFF2-40B4-BE49-F238E27FC236}">
                <a16:creationId xmlns:a16="http://schemas.microsoft.com/office/drawing/2014/main" id="{EB4D3A46-E5D0-486F-BCFC-0B3C08B5EFC7}"/>
              </a:ext>
            </a:extLst>
          </p:cNvPr>
          <p:cNvSpPr/>
          <p:nvPr/>
        </p:nvSpPr>
        <p:spPr>
          <a:xfrm flipH="1">
            <a:off x="0" y="0"/>
            <a:ext cx="12192000" cy="5241956"/>
          </a:xfrm>
          <a:prstGeom prst="rect">
            <a:avLst/>
          </a:prstGeom>
          <a:gradFill>
            <a:gsLst>
              <a:gs pos="100000">
                <a:schemeClr val="tx1">
                  <a:alpha val="25000"/>
                </a:schemeClr>
              </a:gs>
              <a:gs pos="12000">
                <a:schemeClr val="tx1">
                  <a:alpha val="0"/>
                </a:schemeClr>
              </a:gs>
              <a:gs pos="72000">
                <a:schemeClr val="tx1">
                  <a:alpha val="6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Box 10"/>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13" name="文本占位符 12"/>
          <p:cNvSpPr>
            <a:spLocks noGrp="1"/>
          </p:cNvSpPr>
          <p:nvPr>
            <p:ph type="body" sz="quarter" idx="10"/>
          </p:nvPr>
        </p:nvSpPr>
        <p:spPr>
          <a:xfrm>
            <a:off x="469900" y="1700213"/>
            <a:ext cx="9348788" cy="2449512"/>
          </a:xfrm>
        </p:spPr>
        <p:txBody>
          <a:bodyPr/>
          <a:lstStyle>
            <a:lvl1pPr>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a:t>Click to edit Master text styles</a:t>
            </a:r>
          </a:p>
        </p:txBody>
      </p:sp>
    </p:spTree>
    <p:extLst>
      <p:ext uri="{BB962C8B-B14F-4D97-AF65-F5344CB8AC3E}">
        <p14:creationId xmlns:p14="http://schemas.microsoft.com/office/powerpoint/2010/main" val="29613187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37388770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 name="Footer Placeholder 1">
            <a:extLst>
              <a:ext uri="{FF2B5EF4-FFF2-40B4-BE49-F238E27FC236}">
                <a16:creationId xmlns:a16="http://schemas.microsoft.com/office/drawing/2014/main" id="{F931F780-7561-4388-B04D-762BC8BDAFCC}"/>
              </a:ext>
            </a:extLst>
          </p:cNvPr>
          <p:cNvSpPr>
            <a:spLocks noGrp="1"/>
          </p:cNvSpPr>
          <p:nvPr>
            <p:ph type="ftr" sz="quarter" idx="10"/>
          </p:nvPr>
        </p:nvSpPr>
        <p:spPr/>
        <p:txBody>
          <a:bodyPr/>
          <a:lstStyle/>
          <a:p>
            <a:pPr>
              <a:spcBef>
                <a:spcPts val="800"/>
              </a:spcBef>
              <a:buSzPct val="100000"/>
              <a:buFont typeface="Arial"/>
              <a:buNone/>
            </a:pPr>
            <a:r>
              <a:rPr lang="en-US"/>
              <a:t> </a:t>
            </a:r>
          </a:p>
        </p:txBody>
      </p:sp>
      <p:sp>
        <p:nvSpPr>
          <p:cNvPr id="3" name="Slide Number Placeholder 2">
            <a:extLst>
              <a:ext uri="{FF2B5EF4-FFF2-40B4-BE49-F238E27FC236}">
                <a16:creationId xmlns:a16="http://schemas.microsoft.com/office/drawing/2014/main" id="{89EAFA1A-0B46-4834-AECC-EFA9943922D8}"/>
              </a:ext>
            </a:extLst>
          </p:cNvPr>
          <p:cNvSpPr>
            <a:spLocks noGrp="1"/>
          </p:cNvSpPr>
          <p:nvPr>
            <p:ph type="sldNum" sz="quarter" idx="11"/>
          </p:nvPr>
        </p:nvSpPr>
        <p:spPr/>
        <p:txBody>
          <a:bodyPr/>
          <a:lstStyle/>
          <a:p>
            <a:pPr algn="r">
              <a:spcBef>
                <a:spcPts val="800"/>
              </a:spcBef>
              <a:buSzPct val="100000"/>
              <a:buFont typeface="Arial"/>
              <a:buNone/>
            </a:pPr>
            <a:r>
              <a:rPr lang="en-US"/>
              <a:t> </a:t>
            </a:r>
          </a:p>
        </p:txBody>
      </p:sp>
    </p:spTree>
    <p:extLst>
      <p:ext uri="{BB962C8B-B14F-4D97-AF65-F5344CB8AC3E}">
        <p14:creationId xmlns:p14="http://schemas.microsoft.com/office/powerpoint/2010/main" val="5116580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7_Title, subtitle &amp; 1 column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5" imgW="622" imgH="623" progId="TCLayout.ActiveDocument.1">
                  <p:embed/>
                </p:oleObj>
              </mc:Choice>
              <mc:Fallback>
                <p:oleObj name="think-cell Slide" r:id="rId5" imgW="622" imgH="62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GB" sz="2000" b="0" i="0" baseline="0" noProof="0">
              <a:solidFill>
                <a:schemeClr val="bg1"/>
              </a:solidFill>
              <a:latin typeface="Verdana" panose="020B0604030504040204" pitchFamily="34" charset="0"/>
              <a:ea typeface="+mj-ea"/>
              <a:cs typeface="+mj-cs"/>
              <a:sym typeface="Verdana" panose="020B0604030504040204" pitchFamily="34" charset="0"/>
            </a:endParaRP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rgbClr val="636363"/>
                </a:solidFill>
              </a:defRPr>
            </a:lvl1pPr>
          </a:lstStyle>
          <a:p>
            <a:r>
              <a:rPr lang="en-US" noProof="0"/>
              <a:t>Click to edit Master title style</a:t>
            </a:r>
            <a:endParaRPr lang="en-GB"/>
          </a:p>
        </p:txBody>
      </p:sp>
      <p:sp>
        <p:nvSpPr>
          <p:cNvPr id="8" name="Text Placeholder 18"/>
          <p:cNvSpPr>
            <a:spLocks noGrp="1"/>
          </p:cNvSpPr>
          <p:nvPr>
            <p:ph idx="1"/>
          </p:nvPr>
        </p:nvSpPr>
        <p:spPr>
          <a:xfrm>
            <a:off x="469900" y="1056640"/>
            <a:ext cx="11252200" cy="5242561"/>
          </a:xfrm>
          <a:prstGeom prst="rect">
            <a:avLst/>
          </a:prstGeom>
        </p:spPr>
        <p:txBody>
          <a:bodyPr vert="horz" lIns="0" tIns="0" rIns="0" bIns="0" rtlCol="0">
            <a:noAutofit/>
          </a:bodyPr>
          <a:lstStyle>
            <a:lvl1pPr>
              <a:defRPr>
                <a:solidFill>
                  <a:srgbClr val="636363"/>
                </a:solidFill>
              </a:defRPr>
            </a:lvl1pPr>
            <a:lvl2pPr>
              <a:defRPr>
                <a:solidFill>
                  <a:srgbClr val="636363"/>
                </a:solidFill>
              </a:defRPr>
            </a:lvl2pPr>
            <a:lvl3pPr>
              <a:defRPr>
                <a:solidFill>
                  <a:srgbClr val="636363"/>
                </a:solidFill>
              </a:defRPr>
            </a:lvl3pPr>
            <a:lvl4pPr>
              <a:defRPr>
                <a:solidFill>
                  <a:srgbClr val="636363"/>
                </a:solidFill>
              </a:defRPr>
            </a:lvl4pPr>
            <a:lvl5pPr>
              <a:defRPr>
                <a:solidFill>
                  <a:srgbClr val="636363"/>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a:p>
        </p:txBody>
      </p:sp>
      <p:sp>
        <p:nvSpPr>
          <p:cNvPr id="2" name="Footer Placeholder 1"/>
          <p:cNvSpPr>
            <a:spLocks noGrp="1"/>
          </p:cNvSpPr>
          <p:nvPr>
            <p:ph type="ftr" sz="quarter" idx="14"/>
          </p:nvPr>
        </p:nvSpPr>
        <p:spPr/>
        <p:txBody>
          <a:bodyPr/>
          <a:lstStyle>
            <a:lvl1pPr>
              <a:defRPr>
                <a:solidFill>
                  <a:srgbClr val="636363"/>
                </a:solidFill>
              </a:defRPr>
            </a:lvl1pPr>
          </a:lstStyle>
          <a:p>
            <a:endParaRPr lang="en-GB"/>
          </a:p>
        </p:txBody>
      </p:sp>
    </p:spTree>
    <p:extLst>
      <p:ext uri="{BB962C8B-B14F-4D97-AF65-F5344CB8AC3E}">
        <p14:creationId xmlns:p14="http://schemas.microsoft.com/office/powerpoint/2010/main" val="265085781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569555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469900" y="1665289"/>
            <a:ext cx="11252200" cy="4234580"/>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826559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874361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head Black">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734F336-8A58-3045-BBDB-4EFB786C64A3}"/>
              </a:ext>
            </a:extLst>
          </p:cNvPr>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9" name="TextBox 8">
            <a:extLst>
              <a:ext uri="{FF2B5EF4-FFF2-40B4-BE49-F238E27FC236}">
                <a16:creationId xmlns:a16="http://schemas.microsoft.com/office/drawing/2014/main" id="{BB580837-1B95-1546-8ADC-A69000EBEE54}"/>
              </a:ext>
            </a:extLst>
          </p:cNvPr>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 Placeholder 8">
            <a:extLst>
              <a:ext uri="{FF2B5EF4-FFF2-40B4-BE49-F238E27FC236}">
                <a16:creationId xmlns:a16="http://schemas.microsoft.com/office/drawing/2014/main" id="{9F62AF77-09F9-B142-AECB-399BB0864EBC}"/>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Click to edit Master text styles</a:t>
            </a:r>
          </a:p>
        </p:txBody>
      </p:sp>
      <p:sp>
        <p:nvSpPr>
          <p:cNvPr id="11" name="Title Placeholder 1">
            <a:extLst>
              <a:ext uri="{FF2B5EF4-FFF2-40B4-BE49-F238E27FC236}">
                <a16:creationId xmlns:a16="http://schemas.microsoft.com/office/drawing/2014/main" id="{B3DC9768-1510-D04E-91BD-90B8972E5FFB}"/>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0722430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6071994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927448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842158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7462787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024389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2"/>
            </p:custDataLst>
            <p:extLst>
              <p:ext uri="{D42A27DB-BD31-4B8C-83A1-F6EECF244321}">
                <p14:modId xmlns:p14="http://schemas.microsoft.com/office/powerpoint/2010/main" val="732600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2452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263377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p:custDataLst>
              <p:tags r:id="rId2"/>
            </p:custDataLst>
            <p:extLst>
              <p:ext uri="{D42A27DB-BD31-4B8C-83A1-F6EECF244321}">
                <p14:modId xmlns:p14="http://schemas.microsoft.com/office/powerpoint/2010/main" val="495157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41802766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8958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p:custDataLst>
              <p:tags r:id="rId2"/>
            </p:custDataLst>
            <p:extLst>
              <p:ext uri="{D42A27DB-BD31-4B8C-83A1-F6EECF244321}">
                <p14:modId xmlns:p14="http://schemas.microsoft.com/office/powerpoint/2010/main" val="181952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78464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head, Breadcrumb Black">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84B7CE5-2C43-2E43-B1D6-00E6C3A52DE1}"/>
              </a:ext>
            </a:extLst>
          </p:cNvPr>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8" name="TextBox 7">
            <a:extLst>
              <a:ext uri="{FF2B5EF4-FFF2-40B4-BE49-F238E27FC236}">
                <a16:creationId xmlns:a16="http://schemas.microsoft.com/office/drawing/2014/main" id="{26469753-9AFC-4942-AE3D-D45AE76D82B7}"/>
              </a:ext>
            </a:extLst>
          </p:cNvPr>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 Placeholder 8">
            <a:extLst>
              <a:ext uri="{FF2B5EF4-FFF2-40B4-BE49-F238E27FC236}">
                <a16:creationId xmlns:a16="http://schemas.microsoft.com/office/drawing/2014/main" id="{11438D94-9E78-DB46-8005-9BB6843830D6}"/>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Click to edit Master text styles</a:t>
            </a:r>
          </a:p>
        </p:txBody>
      </p:sp>
      <p:sp>
        <p:nvSpPr>
          <p:cNvPr id="13" name="Title Placeholder 1">
            <a:extLst>
              <a:ext uri="{FF2B5EF4-FFF2-40B4-BE49-F238E27FC236}">
                <a16:creationId xmlns:a16="http://schemas.microsoft.com/office/drawing/2014/main" id="{B33C2647-05D6-0F44-9218-9A454AE01A2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15" name="Text Placeholder 4">
            <a:extLst>
              <a:ext uri="{FF2B5EF4-FFF2-40B4-BE49-F238E27FC236}">
                <a16:creationId xmlns:a16="http://schemas.microsoft.com/office/drawing/2014/main" id="{D9D54F89-B56E-E943-9A3E-84F79DBDDBB0}"/>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7838643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139023065"/>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5341059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3439871603"/>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377973012"/>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4604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48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274261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219853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7/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759443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5684791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4912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3378610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3844699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oleObject" Target="../embeddings/oleObject3.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3.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theme" Target="../theme/theme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50" imgW="270" imgH="270" progId="TCLayout.ActiveDocument.1">
                  <p:embed/>
                </p:oleObj>
              </mc:Choice>
              <mc:Fallback>
                <p:oleObj name="think-cell Slide" r:id="rId50" imgW="270" imgH="270" progId="TCLayout.ActiveDocument.1">
                  <p:embed/>
                  <p:pic>
                    <p:nvPicPr>
                      <p:cNvPr id="4" name="Object 3" hidden="1"/>
                      <p:cNvPicPr/>
                      <p:nvPr/>
                    </p:nvPicPr>
                    <p:blipFill>
                      <a:blip r:embed="rId5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538798"/>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Box 10"/>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tx1"/>
                </a:solidFill>
              </a:rPr>
              <a:t>Copyright © 2019 Deloitte Development LLC. All rights reserved.  </a:t>
            </a:r>
            <a:r>
              <a:rPr kumimoji="0" lang="en-US" sz="650" b="0" i="0" u="none" strike="noStrike" kern="1200" cap="none" spc="0" normalizeH="0" baseline="0" noProof="0">
                <a:ln>
                  <a:noFill/>
                </a:ln>
                <a:solidFill>
                  <a:prstClr val="black"/>
                </a:solidFill>
                <a:effectLst/>
                <a:uLnTx/>
                <a:uFillTx/>
                <a:latin typeface="+mn-lt"/>
                <a:ea typeface="+mn-ea"/>
                <a:cs typeface="+mn-cs"/>
              </a:rPr>
              <a:t>| </a:t>
            </a:r>
            <a:endParaRPr lang="en-US" sz="650" noProof="0">
              <a:solidFill>
                <a:schemeClr val="tx1"/>
              </a:solidFill>
            </a:endParaRPr>
          </a:p>
        </p:txBody>
      </p:sp>
      <p:sp>
        <p:nvSpPr>
          <p:cNvPr id="12" name="TextBox 1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7589910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7" r:id="rId44"/>
    <p:sldLayoutId id="2147483718" r:id="rId45"/>
    <p:sldLayoutId id="2147483732" r:id="rId46"/>
  </p:sldLayoutIdLst>
  <p:txStyles>
    <p:title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2" orient="horz" pos="6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9153"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538798"/>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Box 10"/>
          <p:cNvSpPr txBox="1"/>
          <p:nvPr/>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tx1"/>
                </a:solidFill>
              </a:rPr>
              <a:t>Copyright © 2019 Deloitte Development LLC. All rights reserved.  </a:t>
            </a:r>
            <a:r>
              <a:rPr kumimoji="0" lang="en-US" sz="650" b="0" i="0" u="none" strike="noStrike" kern="1200" cap="none" spc="0" normalizeH="0" baseline="0" noProof="0">
                <a:ln>
                  <a:noFill/>
                </a:ln>
                <a:solidFill>
                  <a:prstClr val="black"/>
                </a:solidFill>
                <a:effectLst/>
                <a:uLnTx/>
                <a:uFillTx/>
                <a:latin typeface="+mn-lt"/>
                <a:ea typeface="+mn-ea"/>
                <a:cs typeface="+mn-cs"/>
              </a:rPr>
              <a:t>| </a:t>
            </a:r>
            <a:endParaRPr lang="en-US" sz="650" noProof="0">
              <a:solidFill>
                <a:schemeClr val="tx1"/>
              </a:solidFill>
            </a:endParaRPr>
          </a:p>
        </p:txBody>
      </p:sp>
      <p:sp>
        <p:nvSpPr>
          <p:cNvPr id="12" name="TextBox 1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72967679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transition>
    <p:fade/>
  </p:transition>
  <p:hf hdr="0" dt="0"/>
  <p:txStyles>
    <p:title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2" orient="horz" pos="6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
        <p:nvSpPr>
          <p:cNvPr id="5" name="TextBox 4">
            <a:extLst>
              <a:ext uri="{FF2B5EF4-FFF2-40B4-BE49-F238E27FC236}">
                <a16:creationId xmlns:a16="http://schemas.microsoft.com/office/drawing/2014/main" id="{4A53D9CE-4E71-3648-9C9E-9B5D83D2EF35}"/>
              </a:ext>
            </a:extLst>
          </p:cNvPr>
          <p:cNvSpPr txBox="1"/>
          <p:nvPr userDrawn="1"/>
        </p:nvSpPr>
        <p:spPr>
          <a:xfrm>
            <a:off x="9542834" y="0"/>
            <a:ext cx="2649166" cy="369332"/>
          </a:xfrm>
          <a:prstGeom prst="rect">
            <a:avLst/>
          </a:prstGeom>
          <a:noFill/>
        </p:spPr>
        <p:txBody>
          <a:bodyPr wrap="square" rtlCol="0">
            <a:spAutoFit/>
          </a:bodyPr>
          <a:lstStyle/>
          <a:p>
            <a:r>
              <a:rPr lang="en-US" sz="1800">
                <a:solidFill>
                  <a:srgbClr val="C00000"/>
                </a:solidFill>
              </a:rPr>
              <a:t>Draft (Discussion Only)</a:t>
            </a:r>
          </a:p>
        </p:txBody>
      </p:sp>
    </p:spTree>
    <p:extLst>
      <p:ext uri="{BB962C8B-B14F-4D97-AF65-F5344CB8AC3E}">
        <p14:creationId xmlns:p14="http://schemas.microsoft.com/office/powerpoint/2010/main" val="92684144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3" Type="http://schemas.openxmlformats.org/officeDocument/2006/relationships/image" Target="../media/image12.tiff"/><Relationship Id="rId7" Type="http://schemas.openxmlformats.org/officeDocument/2006/relationships/comments" Target="../comments/comment2.xml"/><Relationship Id="rId2" Type="http://schemas.openxmlformats.org/officeDocument/2006/relationships/notesSlide" Target="../notesSlides/notesSlide14.xml"/><Relationship Id="rId1" Type="http://schemas.openxmlformats.org/officeDocument/2006/relationships/slideLayout" Target="../slideLayouts/slideLayout80.xml"/><Relationship Id="rId6" Type="http://schemas.openxmlformats.org/officeDocument/2006/relationships/image" Target="../media/image15.tiff"/><Relationship Id="rId5" Type="http://schemas.openxmlformats.org/officeDocument/2006/relationships/image" Target="../media/image14.tiff"/><Relationship Id="rId4" Type="http://schemas.openxmlformats.org/officeDocument/2006/relationships/image" Target="../media/image13.tiff"/></Relationships>
</file>

<file path=ppt/slides/_rels/slide22.xml.rels><?xml version="1.0" encoding="UTF-8" standalone="yes"?>
<Relationships xmlns="http://schemas.openxmlformats.org/package/2006/relationships"><Relationship Id="rId3" Type="http://schemas.openxmlformats.org/officeDocument/2006/relationships/image" Target="../media/image12.tiff"/><Relationship Id="rId7" Type="http://schemas.openxmlformats.org/officeDocument/2006/relationships/comments" Target="../comments/comment3.xml"/><Relationship Id="rId2" Type="http://schemas.openxmlformats.org/officeDocument/2006/relationships/notesSlide" Target="../notesSlides/notesSlide15.xml"/><Relationship Id="rId1" Type="http://schemas.openxmlformats.org/officeDocument/2006/relationships/slideLayout" Target="../slideLayouts/slideLayout80.xml"/><Relationship Id="rId6" Type="http://schemas.openxmlformats.org/officeDocument/2006/relationships/image" Target="../media/image15.tiff"/><Relationship Id="rId5" Type="http://schemas.openxmlformats.org/officeDocument/2006/relationships/image" Target="../media/image14.tiff"/><Relationship Id="rId4" Type="http://schemas.openxmlformats.org/officeDocument/2006/relationships/image" Target="../media/image13.tiff"/></Relationships>
</file>

<file path=ppt/slides/_rels/slide23.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16.xml"/><Relationship Id="rId1" Type="http://schemas.openxmlformats.org/officeDocument/2006/relationships/slideLayout" Target="../slideLayouts/slideLayout8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4.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tags" Target="../tags/tag17.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8.xml"/><Relationship Id="rId4"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9.xml"/><Relationship Id="rId4"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9.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0.xml"/><Relationship Id="rId4" Type="http://schemas.openxmlformats.org/officeDocument/2006/relationships/slideLayout" Target="../slideLayouts/slideLayout6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3.xml"/><Relationship Id="rId7" Type="http://schemas.openxmlformats.org/officeDocument/2006/relationships/oleObject" Target="../embeddings/oleObject9.bin"/><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1.png"/><Relationship Id="rId5" Type="http://schemas.openxmlformats.org/officeDocument/2006/relationships/notesSlide" Target="../notesSlides/notesSlide6.xml"/><Relationship Id="rId4"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subTitle" idx="1"/>
          </p:nvPr>
        </p:nvSpPr>
        <p:spPr/>
        <p:txBody>
          <a:bodyPr/>
          <a:lstStyle/>
          <a:p>
            <a:r>
              <a:rPr lang="en-US">
                <a:cs typeface="Calibri Light"/>
              </a:rPr>
              <a:t>Data Insight Platform</a:t>
            </a:r>
            <a:endParaRPr lang="en-US"/>
          </a:p>
        </p:txBody>
      </p:sp>
      <p:sp>
        <p:nvSpPr>
          <p:cNvPr id="5" name="Text Placeholder 4"/>
          <p:cNvSpPr>
            <a:spLocks noGrp="1"/>
          </p:cNvSpPr>
          <p:nvPr>
            <p:ph type="body" sz="quarter" idx="10"/>
          </p:nvPr>
        </p:nvSpPr>
        <p:spPr/>
        <p:txBody>
          <a:bodyPr vert="horz" lIns="0" tIns="0" rIns="0" bIns="0" rtlCol="0" anchor="t">
            <a:noAutofit/>
          </a:bodyPr>
          <a:lstStyle/>
          <a:p>
            <a:r>
              <a:rPr lang="en-US" sz="1100"/>
              <a:t>Sprint 0 Planning &amp; Roadmap (</a:t>
            </a:r>
            <a:r>
              <a:rPr lang="en-US" sz="1100">
                <a:solidFill>
                  <a:srgbClr val="FF0000"/>
                </a:solidFill>
              </a:rPr>
              <a:t>Discussion Only</a:t>
            </a:r>
            <a:r>
              <a:rPr lang="en-US" sz="1100"/>
              <a:t>)</a:t>
            </a:r>
          </a:p>
        </p:txBody>
      </p:sp>
      <p:pic>
        <p:nvPicPr>
          <p:cNvPr id="8" name="Picture Placeholder 7">
            <a:extLst>
              <a:ext uri="{FF2B5EF4-FFF2-40B4-BE49-F238E27FC236}">
                <a16:creationId xmlns:a16="http://schemas.microsoft.com/office/drawing/2014/main" id="{5EB7A028-93B6-E04B-9CCD-69EB7628661C}"/>
              </a:ext>
            </a:extLst>
          </p:cNvPr>
          <p:cNvPicPr>
            <a:picLocks noGrp="1" noChangeAspect="1"/>
          </p:cNvPicPr>
          <p:nvPr>
            <p:ph type="pic" sz="quarter" idx="11"/>
          </p:nvPr>
        </p:nvPicPr>
        <p:blipFill>
          <a:blip r:embed="rId3">
            <a:extLst>
              <a:ext uri="{28A0092B-C50C-407E-A947-70E740481C1C}">
                <a14:useLocalDpi xmlns:a14="http://schemas.microsoft.com/office/drawing/2010/main"/>
              </a:ext>
            </a:extLst>
          </a:blip>
          <a:srcRect l="21874" r="21874"/>
          <a:stretch>
            <a:fillRect/>
          </a:stretch>
        </p:blipFill>
        <p:spPr/>
      </p:pic>
      <p:sp>
        <p:nvSpPr>
          <p:cNvPr id="7" name="Text Placeholder 5">
            <a:extLst>
              <a:ext uri="{FF2B5EF4-FFF2-40B4-BE49-F238E27FC236}">
                <a16:creationId xmlns:a16="http://schemas.microsoft.com/office/drawing/2014/main" id="{DA62577D-46FF-4F64-A63C-A5C7DE51AD4D}"/>
              </a:ext>
            </a:extLst>
          </p:cNvPr>
          <p:cNvSpPr txBox="1">
            <a:spLocks/>
          </p:cNvSpPr>
          <p:nvPr/>
        </p:nvSpPr>
        <p:spPr bwMode="gray">
          <a:xfrm>
            <a:off x="475199" y="5580483"/>
            <a:ext cx="5592011" cy="505645"/>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n-US"/>
              <a:t>NCCDPHP</a:t>
            </a:r>
          </a:p>
        </p:txBody>
      </p:sp>
    </p:spTree>
    <p:extLst>
      <p:ext uri="{BB962C8B-B14F-4D97-AF65-F5344CB8AC3E}">
        <p14:creationId xmlns:p14="http://schemas.microsoft.com/office/powerpoint/2010/main" val="911343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5C7EB-B53D-654C-86B1-1973D9E15B9E}"/>
              </a:ext>
            </a:extLst>
          </p:cNvPr>
          <p:cNvSpPr>
            <a:spLocks noGrp="1"/>
          </p:cNvSpPr>
          <p:nvPr>
            <p:ph type="title"/>
          </p:nvPr>
        </p:nvSpPr>
        <p:spPr>
          <a:xfrm>
            <a:off x="620111" y="197175"/>
            <a:ext cx="10363200" cy="594360"/>
          </a:xfrm>
        </p:spPr>
        <p:txBody>
          <a:bodyPr/>
          <a:lstStyle/>
          <a:p>
            <a:r>
              <a:rPr lang="en-US" sz="3200"/>
              <a:t>NCCDPHP Data Insights Platform: Primary Use Cases (</a:t>
            </a:r>
            <a:r>
              <a:rPr lang="en-US" sz="3200">
                <a:solidFill>
                  <a:srgbClr val="C00000"/>
                </a:solidFill>
              </a:rPr>
              <a:t>TBD</a:t>
            </a:r>
            <a:r>
              <a:rPr lang="en-US" sz="3200"/>
              <a:t>)</a:t>
            </a:r>
            <a:endParaRPr lang="en-US" sz="3200">
              <a:solidFill>
                <a:srgbClr val="C00000"/>
              </a:solidFill>
            </a:endParaRPr>
          </a:p>
        </p:txBody>
      </p:sp>
      <p:graphicFrame>
        <p:nvGraphicFramePr>
          <p:cNvPr id="5" name="Content Placeholder 5">
            <a:extLst>
              <a:ext uri="{FF2B5EF4-FFF2-40B4-BE49-F238E27FC236}">
                <a16:creationId xmlns:a16="http://schemas.microsoft.com/office/drawing/2014/main" id="{7D613193-E20C-7247-81E6-7FCBD44BCCE8}"/>
              </a:ext>
            </a:extLst>
          </p:cNvPr>
          <p:cNvGraphicFramePr>
            <a:graphicFrameLocks/>
          </p:cNvGraphicFramePr>
          <p:nvPr>
            <p:extLst>
              <p:ext uri="{D42A27DB-BD31-4B8C-83A1-F6EECF244321}">
                <p14:modId xmlns:p14="http://schemas.microsoft.com/office/powerpoint/2010/main" val="2044206151"/>
              </p:ext>
            </p:extLst>
          </p:nvPr>
        </p:nvGraphicFramePr>
        <p:xfrm>
          <a:off x="620111" y="814585"/>
          <a:ext cx="10951778" cy="5593453"/>
        </p:xfrm>
        <a:graphic>
          <a:graphicData uri="http://schemas.openxmlformats.org/drawingml/2006/table">
            <a:tbl>
              <a:tblPr firstRow="1" bandRow="1"/>
              <a:tblGrid>
                <a:gridCol w="1083806">
                  <a:extLst>
                    <a:ext uri="{9D8B030D-6E8A-4147-A177-3AD203B41FA5}">
                      <a16:colId xmlns:a16="http://schemas.microsoft.com/office/drawing/2014/main" val="1564037556"/>
                    </a:ext>
                  </a:extLst>
                </a:gridCol>
                <a:gridCol w="1644662">
                  <a:extLst>
                    <a:ext uri="{9D8B030D-6E8A-4147-A177-3AD203B41FA5}">
                      <a16:colId xmlns:a16="http://schemas.microsoft.com/office/drawing/2014/main" val="1299250088"/>
                    </a:ext>
                  </a:extLst>
                </a:gridCol>
                <a:gridCol w="1644662">
                  <a:extLst>
                    <a:ext uri="{9D8B030D-6E8A-4147-A177-3AD203B41FA5}">
                      <a16:colId xmlns:a16="http://schemas.microsoft.com/office/drawing/2014/main" val="715174388"/>
                    </a:ext>
                  </a:extLst>
                </a:gridCol>
                <a:gridCol w="1644662">
                  <a:extLst>
                    <a:ext uri="{9D8B030D-6E8A-4147-A177-3AD203B41FA5}">
                      <a16:colId xmlns:a16="http://schemas.microsoft.com/office/drawing/2014/main" val="1058392396"/>
                    </a:ext>
                  </a:extLst>
                </a:gridCol>
                <a:gridCol w="1644662">
                  <a:extLst>
                    <a:ext uri="{9D8B030D-6E8A-4147-A177-3AD203B41FA5}">
                      <a16:colId xmlns:a16="http://schemas.microsoft.com/office/drawing/2014/main" val="376956385"/>
                    </a:ext>
                  </a:extLst>
                </a:gridCol>
                <a:gridCol w="1644662">
                  <a:extLst>
                    <a:ext uri="{9D8B030D-6E8A-4147-A177-3AD203B41FA5}">
                      <a16:colId xmlns:a16="http://schemas.microsoft.com/office/drawing/2014/main" val="3620660852"/>
                    </a:ext>
                  </a:extLst>
                </a:gridCol>
                <a:gridCol w="1644662">
                  <a:extLst>
                    <a:ext uri="{9D8B030D-6E8A-4147-A177-3AD203B41FA5}">
                      <a16:colId xmlns:a16="http://schemas.microsoft.com/office/drawing/2014/main" val="568556457"/>
                    </a:ext>
                  </a:extLst>
                </a:gridCol>
              </a:tblGrid>
              <a:tr h="232907">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endParaRPr lang="en-US" sz="1000" b="0" i="0" kern="0">
                        <a:solidFill>
                          <a:schemeClr val="tx1"/>
                        </a:solidFill>
                        <a:latin typeface="Open Sans" panose="020B0606030504020204"/>
                        <a:ea typeface="Open Sans" panose="020B0606030504020204" pitchFamily="34" charset="0"/>
                        <a:cs typeface="Open Sans" panose="020B0606030504020204" pitchFamily="34" charset="0"/>
                      </a:endParaRPr>
                    </a:p>
                  </a:txBody>
                  <a:tcPr marL="45720" marR="45720" anchor="ctr">
                    <a:lnL w="12700" cmpd="sng">
                      <a:noFill/>
                      <a:prstDash val="soli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a:ln>
                            <a:noFill/>
                          </a:ln>
                          <a:solidFill>
                            <a:schemeClr val="tx1"/>
                          </a:solidFill>
                          <a:effectLst/>
                          <a:latin typeface="Open Sans"/>
                          <a:ea typeface="Open Sans" panose="020B0606030504020204" pitchFamily="34" charset="0"/>
                          <a:cs typeface="Open Sans" panose="020B0606030504020204" pitchFamily="34" charset="0"/>
                        </a:rPr>
                        <a:t>Use Case Placeholder</a:t>
                      </a:r>
                    </a:p>
                  </a:txBody>
                  <a:tcPr marL="45720" marR="4572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tc>
                  <a:txBody>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US" sz="1000" b="1" i="0" u="none" strike="noStrike" cap="none" normalizeH="0" baseline="0">
                          <a:ln>
                            <a:noFill/>
                          </a:ln>
                          <a:solidFill>
                            <a:schemeClr val="tx1"/>
                          </a:solidFill>
                          <a:effectLst/>
                          <a:latin typeface="+mn-lt"/>
                          <a:ea typeface="Open Sans" panose="020B0606030504020204" pitchFamily="34" charset="0"/>
                          <a:cs typeface="Open Sans" panose="020B0606030504020204" pitchFamily="34" charset="0"/>
                        </a:rPr>
                        <a:t>Use Case Placeholder</a:t>
                      </a:r>
                    </a:p>
                  </a:txBody>
                  <a:tcPr marL="45720" marR="4572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tc>
                  <a:txBody>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US" sz="1000" b="1" i="0" u="none" strike="noStrike" cap="none" normalizeH="0" baseline="0">
                          <a:ln>
                            <a:noFill/>
                          </a:ln>
                          <a:solidFill>
                            <a:schemeClr val="tx1"/>
                          </a:solidFill>
                          <a:effectLst/>
                          <a:latin typeface="+mn-lt"/>
                          <a:ea typeface="Open Sans" panose="020B0606030504020204" pitchFamily="34" charset="0"/>
                          <a:cs typeface="Open Sans" panose="020B0606030504020204" pitchFamily="34" charset="0"/>
                        </a:rPr>
                        <a:t>Use Case Placeholder</a:t>
                      </a:r>
                    </a:p>
                  </a:txBody>
                  <a:tcPr marL="45720" marR="4572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tc>
                  <a:txBody>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US" sz="1000" b="1" i="0" u="none" strike="noStrike" cap="none" normalizeH="0" baseline="0">
                          <a:ln>
                            <a:noFill/>
                          </a:ln>
                          <a:solidFill>
                            <a:schemeClr val="tx1"/>
                          </a:solidFill>
                          <a:effectLst/>
                          <a:latin typeface="+mn-lt"/>
                          <a:ea typeface="Open Sans" panose="020B0606030504020204" pitchFamily="34" charset="0"/>
                          <a:cs typeface="Open Sans" panose="020B0606030504020204" pitchFamily="34" charset="0"/>
                        </a:rPr>
                        <a:t>Use Case Placeholder</a:t>
                      </a:r>
                    </a:p>
                  </a:txBody>
                  <a:tcPr marL="45720" marR="4572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tc>
                  <a:txBody>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US" sz="1000" b="1" i="0" u="none" strike="noStrike" cap="none" normalizeH="0" baseline="0">
                          <a:ln>
                            <a:noFill/>
                          </a:ln>
                          <a:solidFill>
                            <a:schemeClr val="tx1"/>
                          </a:solidFill>
                          <a:effectLst/>
                          <a:latin typeface="+mn-lt"/>
                          <a:ea typeface="Open Sans" panose="020B0606030504020204" pitchFamily="34" charset="0"/>
                          <a:cs typeface="Open Sans" panose="020B0606030504020204" pitchFamily="34" charset="0"/>
                        </a:rPr>
                        <a:t>Use Case Placeholder</a:t>
                      </a:r>
                    </a:p>
                  </a:txBody>
                  <a:tcPr marL="45720" marR="4572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tc>
                  <a:txBody>
                    <a:body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US" sz="1000" b="1" i="0" u="none" strike="noStrike" cap="none" normalizeH="0" baseline="0">
                          <a:ln>
                            <a:noFill/>
                          </a:ln>
                          <a:solidFill>
                            <a:schemeClr val="tx1"/>
                          </a:solidFill>
                          <a:effectLst/>
                          <a:latin typeface="+mn-lt"/>
                          <a:ea typeface="Open Sans" panose="020B0606030504020204" pitchFamily="34" charset="0"/>
                          <a:cs typeface="Open Sans" panose="020B0606030504020204" pitchFamily="34" charset="0"/>
                        </a:rPr>
                        <a:t>Use Case Placeholder</a:t>
                      </a:r>
                    </a:p>
                  </a:txBody>
                  <a:tcPr marL="45720" marR="4572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ED300"/>
                    </a:solidFill>
                  </a:tcPr>
                </a:tc>
                <a:extLst>
                  <a:ext uri="{0D108BD9-81ED-4DB2-BD59-A6C34878D82A}">
                    <a16:rowId xmlns:a16="http://schemas.microsoft.com/office/drawing/2014/main" val="4186485722"/>
                  </a:ext>
                </a:extLst>
              </a:tr>
              <a:tr h="386062">
                <a:tc>
                  <a:txBody>
                    <a:bodyPr/>
                    <a:lstStyle/>
                    <a:p>
                      <a:r>
                        <a:rPr lang="en-US" sz="1000"/>
                        <a:t>Use Case</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se Case 1 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se Case 2 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se Case 3 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se Case 4 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se Case 5 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se Case 6 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0510314"/>
                  </a:ext>
                </a:extLst>
              </a:tr>
              <a:tr h="531693">
                <a:tc>
                  <a:txBody>
                    <a:bodyPr/>
                    <a:lstStyle/>
                    <a:p>
                      <a:r>
                        <a:rPr lang="en-US" sz="1000"/>
                        <a:t>Data Sources</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ource Name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5921117"/>
                  </a:ext>
                </a:extLst>
              </a:tr>
              <a:tr h="542964">
                <a:tc>
                  <a:txBody>
                    <a:bodyPr/>
                    <a:lstStyle/>
                    <a:p>
                      <a:r>
                        <a:rPr lang="en-US" sz="1000"/>
                        <a:t>Frequency</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d-hoc, Annual, Monthl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d-hoc, Annual, Monthl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d-hoc, Annual, Monthl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d-hoc, Annual, Monthl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d-hoc, Annual, Monthl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d-hoc, Annual, Monthly</a:t>
                      </a:r>
                    </a:p>
                    <a:p>
                      <a:pPr marL="171450" lvl="0" indent="-171450" algn="l" eaLnBrk="0" hangingPunct="0">
                        <a:lnSpc>
                          <a:spcPct val="106000"/>
                        </a:lnSpc>
                        <a:spcBef>
                          <a:spcPts val="0"/>
                        </a:spcBef>
                        <a:spcAft>
                          <a:spcPts val="0"/>
                        </a:spcAft>
                        <a:buFont typeface="Arial" panose="020B0604020202020204" pitchFamily="34" charset="0"/>
                        <a:buChar char="•"/>
                        <a:tabLst/>
                      </a:pPr>
                      <a:endPar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5272948"/>
                  </a:ext>
                </a:extLst>
              </a:tr>
              <a:tr h="968589">
                <a:tc>
                  <a:txBody>
                    <a:bodyPr/>
                    <a:lstStyle/>
                    <a:p>
                      <a:r>
                        <a:rPr lang="en-US" sz="1000"/>
                        <a:t>Data Pipeline Orchestration</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atch </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cremental</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On-premises system transfer</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atch </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cremental</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On-premises system transfer</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atch </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cremental</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On-premises system transfer</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atch </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cremental</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On-premises system transfer</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atch </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cremental</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On-premises system transfer</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atch </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cremental</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On-premises system transfer</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7018798"/>
                  </a:ext>
                </a:extLst>
              </a:tr>
              <a:tr h="1405484">
                <a:tc>
                  <a:txBody>
                    <a:bodyPr/>
                    <a:lstStyle/>
                    <a:p>
                      <a:r>
                        <a:rPr lang="en-US" sz="1000"/>
                        <a:t>Storage &amp; Processing</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ructur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emi-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nstructured</a:t>
                      </a:r>
                    </a:p>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ore</a:t>
                      </a:r>
                      <a:r>
                        <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Relational DB</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NoSQL / Documen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analytic DB</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ructur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emi-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nstructured</a:t>
                      </a:r>
                    </a:p>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ore</a:t>
                      </a:r>
                      <a:r>
                        <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Relational DB</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NoSQL / Documen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analytic DB</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ructur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emi-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nstructured</a:t>
                      </a:r>
                    </a:p>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ore</a:t>
                      </a:r>
                      <a:r>
                        <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Relational DB</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NoSQL / Documen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analytic DB</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ructur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emi-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nstructured</a:t>
                      </a:r>
                    </a:p>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ore</a:t>
                      </a:r>
                      <a:r>
                        <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Relational DB</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NoSQL / Documen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analytic DB</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ructur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emi-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nstructured</a:t>
                      </a:r>
                    </a:p>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ore</a:t>
                      </a:r>
                      <a:r>
                        <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Relational DB</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NoSQL / Documen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analytic DB</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ructure:</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emi-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Structured</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Unstructured</a:t>
                      </a:r>
                    </a:p>
                    <a:p>
                      <a:pPr marL="0" marR="0" lvl="0" indent="0" algn="l" defTabSz="914400" rtl="0" eaLnBrk="0" fontAlgn="auto" latinLnBrk="0" hangingPunct="0">
                        <a:lnSpc>
                          <a:spcPct val="106000"/>
                        </a:lnSpc>
                        <a:spcBef>
                          <a:spcPts val="0"/>
                        </a:spcBef>
                        <a:spcAft>
                          <a:spcPts val="0"/>
                        </a:spcAft>
                        <a:buClrTx/>
                        <a:buSzTx/>
                        <a:buFont typeface="Arial" panose="020B0604020202020204" pitchFamily="34" charset="0"/>
                        <a:buNone/>
                        <a:tabLst/>
                        <a:defRPr/>
                      </a:pPr>
                      <a:r>
                        <a:rPr lang="en-US" sz="1000" b="1" i="0">
                          <a:solidFill>
                            <a:schemeClr val="tx1"/>
                          </a:solidFill>
                          <a:latin typeface="Open Sans" panose="020B0606030504020204" pitchFamily="34" charset="0"/>
                          <a:ea typeface="Open Sans" panose="020B0606030504020204" pitchFamily="34" charset="0"/>
                          <a:cs typeface="Open Sans" panose="020B0606030504020204" pitchFamily="34" charset="0"/>
                        </a:rPr>
                        <a:t>Store</a:t>
                      </a:r>
                      <a:r>
                        <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Relational DB</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NoSQL / Document</a:t>
                      </a:r>
                    </a:p>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analytic DB</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746118"/>
                  </a:ext>
                </a:extLst>
              </a:tr>
              <a:tr h="877952">
                <a:tc>
                  <a:txBody>
                    <a:bodyPr/>
                    <a:lstStyle/>
                    <a:p>
                      <a:r>
                        <a:rPr lang="en-US" sz="1000"/>
                        <a:t>Data Services </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catalog</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Power BI / Tableau</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Bricks / Spark / Python / 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catalog</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Power BI / Tableau</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Bricks / Spark / Python / 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catalog</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Power BI / Tableau</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Bricks / Spark / Python / 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catalog</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Power BI / Tableau</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Bricks / Spark / Python / 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catalog</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Power BI / Tableau</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Bricks / Spark / Python / 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catalog</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Power BI / Tableau</a:t>
                      </a:r>
                    </a:p>
                    <a:p>
                      <a:pPr marL="171450" lvl="0" indent="-171450" algn="l" eaLnBrk="0" hangingPunct="0">
                        <a:lnSpc>
                          <a:spcPct val="106000"/>
                        </a:lnSpc>
                        <a:spcBef>
                          <a:spcPts val="0"/>
                        </a:spcBef>
                        <a:spcAft>
                          <a:spcPts val="0"/>
                        </a:spcAft>
                        <a:buFont typeface="Arial" panose="020B0604020202020204" pitchFamily="34" charset="0"/>
                        <a:buChar char="•"/>
                        <a:tabLst/>
                      </a:pPr>
                      <a:r>
                        <a:rPr lang="en-US" sz="1000" b="0" i="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Data Bricks / Spark / Python / 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27635603"/>
                  </a:ext>
                </a:extLst>
              </a:tr>
              <a:tr h="611381">
                <a:tc>
                  <a:txBody>
                    <a:bodyPr/>
                    <a:lstStyle/>
                    <a:p>
                      <a:r>
                        <a:rPr lang="en-US" sz="1000"/>
                        <a:t>Systems, Subscribers, User</a:t>
                      </a:r>
                    </a:p>
                  </a:txBody>
                  <a:tcPr>
                    <a:lnL w="12700" cmpd="sng">
                      <a:noFill/>
                      <a:prstDash val="soli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endPar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eaLnBrk="0" hangingPunct="0">
                        <a:lnSpc>
                          <a:spcPct val="106000"/>
                        </a:lnSpc>
                        <a:spcBef>
                          <a:spcPts val="0"/>
                        </a:spcBef>
                        <a:spcAft>
                          <a:spcPts val="0"/>
                        </a:spcAft>
                        <a:buFont typeface="Arial" panose="020B0604020202020204" pitchFamily="34" charset="0"/>
                        <a:buChar char="•"/>
                        <a:tabLst/>
                      </a:pPr>
                      <a:endParaRPr lang="en-US" sz="1000" b="0" i="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endParaRPr lang="en-US" sz="10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endParaRPr lang="en-US" sz="10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endParaRPr lang="en-US" sz="10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0" fontAlgn="auto" latinLnBrk="0" hangingPunct="0">
                        <a:lnSpc>
                          <a:spcPct val="106000"/>
                        </a:lnSpc>
                        <a:spcBef>
                          <a:spcPts val="0"/>
                        </a:spcBef>
                        <a:spcAft>
                          <a:spcPts val="0"/>
                        </a:spcAft>
                        <a:buClrTx/>
                        <a:buSzTx/>
                        <a:buFont typeface="Arial" panose="020B0604020202020204" pitchFamily="34" charset="0"/>
                        <a:buChar char="•"/>
                        <a:tabLst/>
                        <a:defRPr/>
                      </a:pPr>
                      <a:endParaRPr lang="en-US" sz="10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6450363"/>
                  </a:ext>
                </a:extLst>
              </a:tr>
            </a:tbl>
          </a:graphicData>
        </a:graphic>
      </p:graphicFrame>
    </p:spTree>
    <p:extLst>
      <p:ext uri="{BB962C8B-B14F-4D97-AF65-F5344CB8AC3E}">
        <p14:creationId xmlns:p14="http://schemas.microsoft.com/office/powerpoint/2010/main" val="3873525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58A71B-8072-904B-9AE0-3E522A5AD61C}"/>
              </a:ext>
            </a:extLst>
          </p:cNvPr>
          <p:cNvSpPr>
            <a:spLocks noGrp="1"/>
          </p:cNvSpPr>
          <p:nvPr>
            <p:ph type="title"/>
          </p:nvPr>
        </p:nvSpPr>
        <p:spPr/>
        <p:txBody>
          <a:bodyPr/>
          <a:lstStyle/>
          <a:p>
            <a:r>
              <a:rPr lang="en-US"/>
              <a:t>Risks &amp; Mitigation</a:t>
            </a:r>
          </a:p>
        </p:txBody>
      </p:sp>
      <p:graphicFrame>
        <p:nvGraphicFramePr>
          <p:cNvPr id="4" name="Table 4">
            <a:extLst>
              <a:ext uri="{FF2B5EF4-FFF2-40B4-BE49-F238E27FC236}">
                <a16:creationId xmlns:a16="http://schemas.microsoft.com/office/drawing/2014/main" id="{48E39330-C988-374D-8AE9-7781D1583DB0}"/>
              </a:ext>
            </a:extLst>
          </p:cNvPr>
          <p:cNvGraphicFramePr>
            <a:graphicFrameLocks noGrp="1"/>
          </p:cNvGraphicFramePr>
          <p:nvPr>
            <p:extLst>
              <p:ext uri="{D42A27DB-BD31-4B8C-83A1-F6EECF244321}">
                <p14:modId xmlns:p14="http://schemas.microsoft.com/office/powerpoint/2010/main" val="3139109944"/>
              </p:ext>
            </p:extLst>
          </p:nvPr>
        </p:nvGraphicFramePr>
        <p:xfrm>
          <a:off x="914400" y="1535721"/>
          <a:ext cx="9476534" cy="4287520"/>
        </p:xfrm>
        <a:graphic>
          <a:graphicData uri="http://schemas.openxmlformats.org/drawingml/2006/table">
            <a:tbl>
              <a:tblPr firstRow="1" bandRow="1">
                <a:tableStyleId>{F5AB1C69-6EDB-4FF4-983F-18BD219EF322}</a:tableStyleId>
              </a:tblPr>
              <a:tblGrid>
                <a:gridCol w="4738267">
                  <a:extLst>
                    <a:ext uri="{9D8B030D-6E8A-4147-A177-3AD203B41FA5}">
                      <a16:colId xmlns:a16="http://schemas.microsoft.com/office/drawing/2014/main" val="4109210095"/>
                    </a:ext>
                  </a:extLst>
                </a:gridCol>
                <a:gridCol w="4738267">
                  <a:extLst>
                    <a:ext uri="{9D8B030D-6E8A-4147-A177-3AD203B41FA5}">
                      <a16:colId xmlns:a16="http://schemas.microsoft.com/office/drawing/2014/main" val="2872903047"/>
                    </a:ext>
                  </a:extLst>
                </a:gridCol>
              </a:tblGrid>
              <a:tr h="370840">
                <a:tc>
                  <a:txBody>
                    <a:bodyPr/>
                    <a:lstStyle/>
                    <a:p>
                      <a:r>
                        <a:rPr lang="en-US" sz="1400">
                          <a:solidFill>
                            <a:schemeClr val="tx1"/>
                          </a:solidFill>
                        </a:rPr>
                        <a:t>Risks/Concern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rPr>
                        <a:t>Mitigatio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374719091"/>
                  </a:ext>
                </a:extLst>
              </a:tr>
              <a:tr h="370840">
                <a:tc>
                  <a:txBody>
                    <a:bodyPr/>
                    <a:lstStyle/>
                    <a:p>
                      <a:pPr marL="285750" indent="-285750">
                        <a:spcAft>
                          <a:spcPts val="600"/>
                        </a:spcAft>
                        <a:buFont typeface="Arial" panose="020B0604020202020204" pitchFamily="34" charset="0"/>
                        <a:buChar char="•"/>
                      </a:pPr>
                      <a:r>
                        <a:rPr lang="en-US" sz="1200"/>
                        <a:t>​Complex footprint and landscape (Several programs with diverse data pipelines)​</a:t>
                      </a:r>
                    </a:p>
                    <a:p>
                      <a:pPr marL="285750" indent="-285750">
                        <a:spcAft>
                          <a:spcPts val="600"/>
                        </a:spcAft>
                        <a:buFont typeface="Arial" panose="020B0604020202020204" pitchFamily="34" charset="0"/>
                        <a:buChar char="•"/>
                      </a:pPr>
                      <a:r>
                        <a:rPr lang="en-US" sz="1200"/>
                        <a:t>Existing Cloud landscape (multi-Cloud environments) with multiple data hubs in mix​</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a:t>Program Readiness Assessment</a:t>
                      </a:r>
                    </a:p>
                    <a:p>
                      <a:pPr marL="742950" lvl="1" indent="-285750">
                        <a:buFont typeface="Arial" panose="020B0604020202020204" pitchFamily="34" charset="0"/>
                        <a:buChar char="•"/>
                      </a:pPr>
                      <a:r>
                        <a:rPr lang="en-US" sz="1200"/>
                        <a:t>Identify program candidates for pilot adoption</a:t>
                      </a:r>
                    </a:p>
                    <a:p>
                      <a:pPr marL="742950" lvl="1" indent="-285750">
                        <a:buFont typeface="Arial" panose="020B0604020202020204" pitchFamily="34" charset="0"/>
                        <a:buChar char="•"/>
                      </a:pPr>
                      <a:r>
                        <a:rPr lang="en-US" sz="1200"/>
                        <a:t>Impact to existing workflows</a:t>
                      </a:r>
                    </a:p>
                    <a:p>
                      <a:pPr marL="742950" lvl="1" indent="-285750">
                        <a:buFont typeface="Arial" panose="020B0604020202020204" pitchFamily="34" charset="0"/>
                        <a:buChar char="•"/>
                      </a:pPr>
                      <a:r>
                        <a:rPr lang="en-US" sz="1200"/>
                        <a:t>Lake-to-Lake data opportunities.</a:t>
                      </a:r>
                    </a:p>
                    <a:p>
                      <a:pPr marL="742950" lvl="1" indent="-285750">
                        <a:buFont typeface="Arial" panose="020B0604020202020204" pitchFamily="34" charset="0"/>
                        <a:buChar char="•"/>
                      </a:pPr>
                      <a:r>
                        <a:rPr lang="en-US" sz="1200"/>
                        <a:t>Data Compliance/Regulatory Req.</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75538192"/>
                  </a:ext>
                </a:extLst>
              </a:tr>
              <a:tr h="370840">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t>Enterprise Data Hub development and implementation is ongoing</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a:t>Engage and collaborate with OCIO team</a:t>
                      </a:r>
                    </a:p>
                    <a:p>
                      <a:pPr marL="742950" lvl="1" indent="-285750">
                        <a:buFont typeface="Arial" panose="020B0604020202020204" pitchFamily="34" charset="0"/>
                        <a:buChar char="•"/>
                      </a:pPr>
                      <a:r>
                        <a:rPr lang="en-US" sz="1200"/>
                        <a:t>Involve OCIO team early in develop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28837384"/>
                  </a:ext>
                </a:extLst>
              </a:tr>
              <a:tr h="370840">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t>Organization Change Management and adoption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a:t>Organize plan for change management and adoption</a:t>
                      </a:r>
                    </a:p>
                    <a:p>
                      <a:pPr marL="742950" lvl="1" indent="-285750">
                        <a:buFont typeface="Arial" panose="020B0604020202020204" pitchFamily="34" charset="0"/>
                        <a:buChar char="•"/>
                      </a:pPr>
                      <a:r>
                        <a:rPr lang="en-US" sz="1200"/>
                        <a:t>Identify data lake owner/champion</a:t>
                      </a:r>
                    </a:p>
                    <a:p>
                      <a:pPr marL="285750" indent="-285750">
                        <a:buFont typeface="Arial" panose="020B0604020202020204" pitchFamily="34" charset="0"/>
                        <a:buChar char="•"/>
                      </a:pPr>
                      <a:r>
                        <a:rPr lang="en-US" sz="1200"/>
                        <a:t>Develop communication and rollout plan with functional specifics. Roll-out plan should include:</a:t>
                      </a:r>
                    </a:p>
                    <a:p>
                      <a:pPr marL="742950" lvl="1" indent="-285750">
                        <a:buFont typeface="Arial" panose="020B0604020202020204" pitchFamily="34" charset="0"/>
                        <a:buChar char="•"/>
                      </a:pPr>
                      <a:r>
                        <a:rPr lang="en-US" sz="1200"/>
                        <a:t>Implementation Plan</a:t>
                      </a:r>
                    </a:p>
                    <a:p>
                      <a:pPr marL="742950" lvl="1" indent="-285750">
                        <a:buFont typeface="Arial" panose="020B0604020202020204" pitchFamily="34" charset="0"/>
                        <a:buChar char="•"/>
                      </a:pPr>
                      <a:r>
                        <a:rPr lang="en-US" sz="1200"/>
                        <a:t>Onboarding Guidelines</a:t>
                      </a:r>
                    </a:p>
                    <a:p>
                      <a:pPr marL="742950" lvl="1" indent="-285750">
                        <a:buFont typeface="Arial" panose="020B0604020202020204" pitchFamily="34" charset="0"/>
                        <a:buChar char="•"/>
                      </a:pPr>
                      <a:r>
                        <a:rPr lang="en-US" sz="1200"/>
                        <a:t>Use Case Guidelines</a:t>
                      </a:r>
                    </a:p>
                    <a:p>
                      <a:pPr marL="285750" lvl="0" indent="-285750">
                        <a:buFont typeface="Arial" panose="020B0604020202020204" pitchFamily="34" charset="0"/>
                        <a:buChar char="•"/>
                      </a:pPr>
                      <a:endParaRPr lang="en-US" sz="1200"/>
                    </a:p>
                    <a:p>
                      <a:pPr marL="285750" lvl="0" indent="-285750">
                        <a:buFont typeface="Arial" panose="020B0604020202020204" pitchFamily="34" charset="0"/>
                        <a:buChar char="•"/>
                      </a:pPr>
                      <a:endParaRPr lang="en-US" sz="120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8686063"/>
                  </a:ext>
                </a:extLst>
              </a:tr>
              <a:tr h="370840">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t>Organization capability, financial models, resources, and support mode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Outline support and shared responsibility model between programs and enterprise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6471176"/>
                  </a:ext>
                </a:extLst>
              </a:tr>
            </a:tbl>
          </a:graphicData>
        </a:graphic>
      </p:graphicFrame>
    </p:spTree>
    <p:extLst>
      <p:ext uri="{BB962C8B-B14F-4D97-AF65-F5344CB8AC3E}">
        <p14:creationId xmlns:p14="http://schemas.microsoft.com/office/powerpoint/2010/main" val="3249235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5D6AC730-0E09-4719-9B9B-D060500287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think-cell Slide" r:id="rId6" imgW="415" imgH="416" progId="TCLayout.ActiveDocument.1">
                  <p:embed/>
                </p:oleObj>
              </mc:Choice>
              <mc:Fallback>
                <p:oleObj name="think-cell Slide" r:id="rId6" imgW="415" imgH="416" progId="TCLayout.ActiveDocument.1">
                  <p:embed/>
                  <p:pic>
                    <p:nvPicPr>
                      <p:cNvPr id="32" name="Object 31" hidden="1">
                        <a:extLst>
                          <a:ext uri="{FF2B5EF4-FFF2-40B4-BE49-F238E27FC236}">
                            <a16:creationId xmlns:a16="http://schemas.microsoft.com/office/drawing/2014/main" id="{5D6AC730-0E09-4719-9B9B-D060500287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4D611AA4-467E-4A7C-B3B4-F54047469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42" name="Rectangle 41">
            <a:extLst>
              <a:ext uri="{FF2B5EF4-FFF2-40B4-BE49-F238E27FC236}">
                <a16:creationId xmlns:a16="http://schemas.microsoft.com/office/drawing/2014/main" id="{51AA39A4-2420-48A9-A565-49109150BDC3}"/>
              </a:ext>
            </a:extLst>
          </p:cNvPr>
          <p:cNvSpPr/>
          <p:nvPr/>
        </p:nvSpPr>
        <p:spPr>
          <a:xfrm>
            <a:off x="127819" y="6008038"/>
            <a:ext cx="4532671" cy="7565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Content Placeholder 4">
            <a:extLst>
              <a:ext uri="{FF2B5EF4-FFF2-40B4-BE49-F238E27FC236}">
                <a16:creationId xmlns:a16="http://schemas.microsoft.com/office/drawing/2014/main" id="{6D1DDC3A-3C5B-4B8D-8EAF-65EB206AF316}"/>
              </a:ext>
            </a:extLst>
          </p:cNvPr>
          <p:cNvGraphicFramePr>
            <a:graphicFrameLocks/>
          </p:cNvGraphicFramePr>
          <p:nvPr>
            <p:extLst>
              <p:ext uri="{D42A27DB-BD31-4B8C-83A1-F6EECF244321}">
                <p14:modId xmlns:p14="http://schemas.microsoft.com/office/powerpoint/2010/main" val="170735903"/>
              </p:ext>
            </p:extLst>
          </p:nvPr>
        </p:nvGraphicFramePr>
        <p:xfrm>
          <a:off x="554083" y="1098028"/>
          <a:ext cx="10798054" cy="5411006"/>
        </p:xfrm>
        <a:graphic>
          <a:graphicData uri="http://schemas.openxmlformats.org/drawingml/2006/table">
            <a:tbl>
              <a:tblPr firstRow="1" bandRow="1">
                <a:tableStyleId>{5C22544A-7EE6-4342-B048-85BDC9FD1C3A}</a:tableStyleId>
              </a:tblPr>
              <a:tblGrid>
                <a:gridCol w="4373819">
                  <a:extLst>
                    <a:ext uri="{9D8B030D-6E8A-4147-A177-3AD203B41FA5}">
                      <a16:colId xmlns:a16="http://schemas.microsoft.com/office/drawing/2014/main" val="20000"/>
                    </a:ext>
                  </a:extLst>
                </a:gridCol>
                <a:gridCol w="636565">
                  <a:extLst>
                    <a:ext uri="{9D8B030D-6E8A-4147-A177-3AD203B41FA5}">
                      <a16:colId xmlns:a16="http://schemas.microsoft.com/office/drawing/2014/main" val="20001"/>
                    </a:ext>
                  </a:extLst>
                </a:gridCol>
                <a:gridCol w="717367">
                  <a:extLst>
                    <a:ext uri="{9D8B030D-6E8A-4147-A177-3AD203B41FA5}">
                      <a16:colId xmlns:a16="http://schemas.microsoft.com/office/drawing/2014/main" val="20002"/>
                    </a:ext>
                  </a:extLst>
                </a:gridCol>
                <a:gridCol w="724329">
                  <a:extLst>
                    <a:ext uri="{9D8B030D-6E8A-4147-A177-3AD203B41FA5}">
                      <a16:colId xmlns:a16="http://schemas.microsoft.com/office/drawing/2014/main" val="20003"/>
                    </a:ext>
                  </a:extLst>
                </a:gridCol>
                <a:gridCol w="724329">
                  <a:extLst>
                    <a:ext uri="{9D8B030D-6E8A-4147-A177-3AD203B41FA5}">
                      <a16:colId xmlns:a16="http://schemas.microsoft.com/office/drawing/2014/main" val="20004"/>
                    </a:ext>
                  </a:extLst>
                </a:gridCol>
                <a:gridCol w="724329">
                  <a:extLst>
                    <a:ext uri="{9D8B030D-6E8A-4147-A177-3AD203B41FA5}">
                      <a16:colId xmlns:a16="http://schemas.microsoft.com/office/drawing/2014/main" val="20005"/>
                    </a:ext>
                  </a:extLst>
                </a:gridCol>
                <a:gridCol w="724329">
                  <a:extLst>
                    <a:ext uri="{9D8B030D-6E8A-4147-A177-3AD203B41FA5}">
                      <a16:colId xmlns:a16="http://schemas.microsoft.com/office/drawing/2014/main" val="20006"/>
                    </a:ext>
                  </a:extLst>
                </a:gridCol>
                <a:gridCol w="724329">
                  <a:extLst>
                    <a:ext uri="{9D8B030D-6E8A-4147-A177-3AD203B41FA5}">
                      <a16:colId xmlns:a16="http://schemas.microsoft.com/office/drawing/2014/main" val="3873999222"/>
                    </a:ext>
                  </a:extLst>
                </a:gridCol>
                <a:gridCol w="724329">
                  <a:extLst>
                    <a:ext uri="{9D8B030D-6E8A-4147-A177-3AD203B41FA5}">
                      <a16:colId xmlns:a16="http://schemas.microsoft.com/office/drawing/2014/main" val="1330257997"/>
                    </a:ext>
                  </a:extLst>
                </a:gridCol>
                <a:gridCol w="724329">
                  <a:extLst>
                    <a:ext uri="{9D8B030D-6E8A-4147-A177-3AD203B41FA5}">
                      <a16:colId xmlns:a16="http://schemas.microsoft.com/office/drawing/2014/main" val="20685970"/>
                    </a:ext>
                  </a:extLst>
                </a:gridCol>
              </a:tblGrid>
              <a:tr h="247330">
                <a:tc>
                  <a:txBody>
                    <a:body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altLang="ja-JP" sz="1200" b="0" i="0" u="none" strike="noStrike" cap="none" normalizeH="0" baseline="0">
                          <a:ln>
                            <a:noFill/>
                          </a:ln>
                          <a:solidFill>
                            <a:srgbClr val="3C3C3B"/>
                          </a:solidFill>
                          <a:effectLst/>
                          <a:latin typeface="+mn-lt"/>
                          <a:ea typeface="MS PGothic"/>
                          <a:cs typeface="MS PGothic"/>
                        </a:rPr>
                        <a:t>Week</a:t>
                      </a:r>
                    </a:p>
                  </a:txBody>
                  <a:tcPr marL="45720" marR="45720"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1</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2</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3</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4</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5</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6</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7</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8</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Project Prepar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39744"/>
                  </a:ext>
                </a:extLst>
              </a:tr>
              <a:tr h="861075">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Application/Services Restora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Develop and test Database-as-a-Code servic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Preliminary Discussion (o</a:t>
                      </a:r>
                      <a:r>
                        <a:rPr lang="en-US" sz="1000" b="0"/>
                        <a:t>rganize workforce, objectives , and tasks</a:t>
                      </a:r>
                      <a:r>
                        <a:rPr kumimoji="0" lang="en-US" sz="1000" b="0" i="0" u="none" strike="noStrike" kern="1200" cap="none" normalizeH="0" baseline="0">
                          <a:ln>
                            <a:noFill/>
                          </a:ln>
                          <a:solidFill>
                            <a:srgbClr val="3C3C3B"/>
                          </a:solidFill>
                          <a:effectLst/>
                          <a:latin typeface="+mn-lt"/>
                          <a:ea typeface="+mn-ea"/>
                          <a:cs typeface="Arial"/>
                        </a:rPr>
                        <a: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Project Kickoff</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3433810"/>
                  </a:ext>
                </a:extLst>
              </a:tr>
              <a:tr h="253708">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Baseline Objectives &amp;  Evalu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9018">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Establish key client objectives (connect with Tim/Melvin/Jonatha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Stakeholder pod alignmen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Data Lake options evaluations and decis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Web Application requirements &amp; development</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Web Application Short Term Pla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470185"/>
                  </a:ext>
                </a:extLst>
              </a:tr>
              <a:tr h="458848">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hronic Use Case 1 Developmen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hronic Use Case 2 Requirements &amp; Development</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2077009"/>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Data Lake Short Term Pla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4392662"/>
                  </a:ext>
                </a:extLst>
              </a:tr>
              <a:tr h="247330">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Data Lake requirements &amp; primary NCCDPHP use cas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Develop Cloud Platform specific Architecture</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hange management and adoption plan</a:t>
                      </a:r>
                    </a:p>
                    <a:p>
                      <a:pPr marL="572770" marR="0" lvl="1"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ommunication / Roll-out pla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loud Data Lake Development / Testing</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633601"/>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kern="1200" cap="none" normalizeH="0" baseline="0">
                          <a:ln>
                            <a:noFill/>
                          </a:ln>
                          <a:solidFill>
                            <a:srgbClr val="3C3C3B"/>
                          </a:solidFill>
                          <a:effectLst/>
                          <a:latin typeface="+mn-lt"/>
                          <a:ea typeface="+mn-ea"/>
                          <a:cs typeface="Arial"/>
                        </a:rPr>
                        <a:t>Long Term Roadmap</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7460780"/>
                  </a:ext>
                </a:extLst>
              </a:tr>
              <a:tr h="712883">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Program readiness assessmen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Cloud Data Lake Rollou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Analytics Workbench Development</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14193"/>
                  </a:ext>
                </a:extLst>
              </a:tr>
            </a:tbl>
          </a:graphicData>
        </a:graphic>
      </p:graphicFrame>
      <p:sp>
        <p:nvSpPr>
          <p:cNvPr id="9" name="Rectangle 239">
            <a:extLst>
              <a:ext uri="{FF2B5EF4-FFF2-40B4-BE49-F238E27FC236}">
                <a16:creationId xmlns:a16="http://schemas.microsoft.com/office/drawing/2014/main" id="{91D8956D-0B39-42DE-B5F3-C77338A5F669}"/>
              </a:ext>
            </a:extLst>
          </p:cNvPr>
          <p:cNvSpPr>
            <a:spLocks noChangeArrowheads="1"/>
          </p:cNvSpPr>
          <p:nvPr/>
        </p:nvSpPr>
        <p:spPr bwMode="gray">
          <a:xfrm>
            <a:off x="5531757" y="2527788"/>
            <a:ext cx="2157696" cy="227293"/>
          </a:xfrm>
          <a:prstGeom prst="rect">
            <a:avLst/>
          </a:prstGeom>
          <a:solidFill>
            <a:schemeClr val="accent4"/>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0" name="Rectangle 240">
            <a:extLst>
              <a:ext uri="{FF2B5EF4-FFF2-40B4-BE49-F238E27FC236}">
                <a16:creationId xmlns:a16="http://schemas.microsoft.com/office/drawing/2014/main" id="{8924E209-AC41-460D-B4CA-784C95BE3A78}"/>
              </a:ext>
            </a:extLst>
          </p:cNvPr>
          <p:cNvSpPr>
            <a:spLocks noChangeArrowheads="1"/>
          </p:cNvSpPr>
          <p:nvPr/>
        </p:nvSpPr>
        <p:spPr bwMode="gray">
          <a:xfrm>
            <a:off x="6989954" y="4309792"/>
            <a:ext cx="4335171" cy="227293"/>
          </a:xfrm>
          <a:prstGeom prst="rect">
            <a:avLst/>
          </a:prstGeom>
          <a:solidFill>
            <a:schemeClr val="accent4"/>
          </a:solidFill>
          <a:ln w="9525" algn="ctr">
            <a:solidFill>
              <a:schemeClr val="bg1"/>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1" name="Rectangle 240">
            <a:extLst>
              <a:ext uri="{FF2B5EF4-FFF2-40B4-BE49-F238E27FC236}">
                <a16:creationId xmlns:a16="http://schemas.microsoft.com/office/drawing/2014/main" id="{902D44D3-2585-4201-8906-0C1CAE13AEE3}"/>
              </a:ext>
            </a:extLst>
          </p:cNvPr>
          <p:cNvSpPr>
            <a:spLocks noChangeArrowheads="1"/>
          </p:cNvSpPr>
          <p:nvPr/>
        </p:nvSpPr>
        <p:spPr bwMode="gray">
          <a:xfrm>
            <a:off x="10607718" y="5540054"/>
            <a:ext cx="717407" cy="253513"/>
          </a:xfrm>
          <a:prstGeom prst="rect">
            <a:avLst/>
          </a:prstGeom>
          <a:solidFill>
            <a:schemeClr val="accent5"/>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2" name="object 42">
            <a:extLst>
              <a:ext uri="{FF2B5EF4-FFF2-40B4-BE49-F238E27FC236}">
                <a16:creationId xmlns:a16="http://schemas.microsoft.com/office/drawing/2014/main" id="{72757328-8E00-4133-9415-4B1D3AC997CF}"/>
              </a:ext>
            </a:extLst>
          </p:cNvPr>
          <p:cNvSpPr txBox="1"/>
          <p:nvPr/>
        </p:nvSpPr>
        <p:spPr>
          <a:xfrm>
            <a:off x="10732847" y="3220293"/>
            <a:ext cx="1089506" cy="307777"/>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300"/>
              </a:spcAft>
              <a:buClrTx/>
              <a:buSzTx/>
              <a:buFontTx/>
              <a:buNone/>
              <a:tabLst/>
              <a:defRPr/>
            </a:pPr>
            <a:r>
              <a:rPr lang="en-US" sz="1000">
                <a:solidFill>
                  <a:srgbClr val="000000"/>
                </a:solidFill>
                <a:latin typeface="Open Sans"/>
                <a:cs typeface="Open Sans"/>
              </a:rPr>
              <a:t>Web App </a:t>
            </a:r>
            <a:r>
              <a:rPr kumimoji="0" lang="en-US" sz="1000" b="0" i="0" u="none" strike="noStrike" kern="1200" cap="none" spc="0" normalizeH="0" baseline="0" noProof="0">
                <a:ln>
                  <a:noFill/>
                </a:ln>
                <a:solidFill>
                  <a:srgbClr val="000000"/>
                </a:solidFill>
                <a:effectLst/>
                <a:uLnTx/>
                <a:uFillTx/>
                <a:latin typeface="Open Sans"/>
                <a:ea typeface="+mn-ea"/>
                <a:cs typeface="Open Sans"/>
              </a:rPr>
              <a:t>1 Production</a:t>
            </a:r>
          </a:p>
        </p:txBody>
      </p:sp>
      <p:grpSp>
        <p:nvGrpSpPr>
          <p:cNvPr id="13" name="Group 12">
            <a:extLst>
              <a:ext uri="{FF2B5EF4-FFF2-40B4-BE49-F238E27FC236}">
                <a16:creationId xmlns:a16="http://schemas.microsoft.com/office/drawing/2014/main" id="{5D7BC244-EAFD-450B-B6F1-108AEC586ABF}"/>
              </a:ext>
            </a:extLst>
          </p:cNvPr>
          <p:cNvGrpSpPr/>
          <p:nvPr/>
        </p:nvGrpSpPr>
        <p:grpSpPr>
          <a:xfrm>
            <a:off x="10576260" y="3345221"/>
            <a:ext cx="212434" cy="195573"/>
            <a:chOff x="7211986" y="2505004"/>
            <a:chExt cx="212434" cy="212434"/>
          </a:xfrm>
        </p:grpSpPr>
        <p:sp>
          <p:nvSpPr>
            <p:cNvPr id="24" name="Oval 23">
              <a:extLst>
                <a:ext uri="{FF2B5EF4-FFF2-40B4-BE49-F238E27FC236}">
                  <a16:creationId xmlns:a16="http://schemas.microsoft.com/office/drawing/2014/main" id="{675D5C4B-4E91-45BD-B7A8-DDEB9097C953}"/>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4-Point Star 133">
              <a:extLst>
                <a:ext uri="{FF2B5EF4-FFF2-40B4-BE49-F238E27FC236}">
                  <a16:creationId xmlns:a16="http://schemas.microsoft.com/office/drawing/2014/main" id="{7A0169A0-0021-4AFC-9460-CF2396A15E47}"/>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16" name="Rectangle 240">
            <a:extLst>
              <a:ext uri="{FF2B5EF4-FFF2-40B4-BE49-F238E27FC236}">
                <a16:creationId xmlns:a16="http://schemas.microsoft.com/office/drawing/2014/main" id="{85066069-CB08-4FFF-8D79-D9AF40AF1538}"/>
              </a:ext>
            </a:extLst>
          </p:cNvPr>
          <p:cNvSpPr>
            <a:spLocks noChangeArrowheads="1"/>
          </p:cNvSpPr>
          <p:nvPr/>
        </p:nvSpPr>
        <p:spPr bwMode="gray">
          <a:xfrm>
            <a:off x="4922519" y="1404121"/>
            <a:ext cx="609238" cy="229766"/>
          </a:xfrm>
          <a:prstGeom prst="rect">
            <a:avLst/>
          </a:prstGeom>
          <a:solidFill>
            <a:schemeClr val="accent1"/>
          </a:solidFill>
          <a:ln w="9525" algn="ctr">
            <a:solidFill>
              <a:schemeClr val="accent1"/>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7" name="Rectangle 240">
            <a:extLst>
              <a:ext uri="{FF2B5EF4-FFF2-40B4-BE49-F238E27FC236}">
                <a16:creationId xmlns:a16="http://schemas.microsoft.com/office/drawing/2014/main" id="{52BFB7D7-78E3-479E-9AB6-AA9FA3DB3A62}"/>
              </a:ext>
            </a:extLst>
          </p:cNvPr>
          <p:cNvSpPr>
            <a:spLocks noChangeArrowheads="1"/>
          </p:cNvSpPr>
          <p:nvPr/>
        </p:nvSpPr>
        <p:spPr bwMode="gray">
          <a:xfrm>
            <a:off x="6989954" y="3569482"/>
            <a:ext cx="4362183" cy="227293"/>
          </a:xfrm>
          <a:prstGeom prst="rect">
            <a:avLst/>
          </a:prstGeom>
          <a:solidFill>
            <a:schemeClr val="accent3"/>
          </a:solidFill>
          <a:ln w="9525" algn="ctr">
            <a:solidFill>
              <a:schemeClr val="accent3"/>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B0F0"/>
              </a:solidFill>
              <a:effectLst/>
              <a:uLnTx/>
              <a:uFillTx/>
              <a:latin typeface="Open Sans"/>
              <a:ea typeface="+mn-ea"/>
              <a:cs typeface="+mn-cs"/>
            </a:endParaRPr>
          </a:p>
        </p:txBody>
      </p:sp>
      <p:sp>
        <p:nvSpPr>
          <p:cNvPr id="37" name="Text Placeholder 3">
            <a:extLst>
              <a:ext uri="{FF2B5EF4-FFF2-40B4-BE49-F238E27FC236}">
                <a16:creationId xmlns:a16="http://schemas.microsoft.com/office/drawing/2014/main" id="{CC6A0290-0FB1-41E3-BC5C-5CDF0FF0F131}"/>
              </a:ext>
            </a:extLst>
          </p:cNvPr>
          <p:cNvSpPr>
            <a:spLocks noGrp="1"/>
          </p:cNvSpPr>
          <p:nvPr>
            <p:ph type="body" sz="quarter" idx="15"/>
          </p:nvPr>
        </p:nvSpPr>
        <p:spPr>
          <a:xfrm>
            <a:off x="914400" y="306493"/>
            <a:ext cx="3355848" cy="203200"/>
          </a:xfrm>
        </p:spPr>
        <p:txBody>
          <a:bodyPr/>
          <a:lstStyle/>
          <a:p>
            <a:r>
              <a:rPr lang="en-US"/>
              <a:t>Roadmap</a:t>
            </a:r>
          </a:p>
        </p:txBody>
      </p:sp>
      <p:sp>
        <p:nvSpPr>
          <p:cNvPr id="40" name="Title 1">
            <a:extLst>
              <a:ext uri="{FF2B5EF4-FFF2-40B4-BE49-F238E27FC236}">
                <a16:creationId xmlns:a16="http://schemas.microsoft.com/office/drawing/2014/main" id="{9FD32147-12C6-44B3-8F55-BBE82FA48722}"/>
              </a:ext>
            </a:extLst>
          </p:cNvPr>
          <p:cNvSpPr>
            <a:spLocks noGrp="1"/>
          </p:cNvSpPr>
          <p:nvPr>
            <p:ph type="title"/>
          </p:nvPr>
        </p:nvSpPr>
        <p:spPr>
          <a:xfrm>
            <a:off x="914400" y="518348"/>
            <a:ext cx="10363200" cy="594360"/>
          </a:xfrm>
        </p:spPr>
        <p:txBody>
          <a:bodyPr/>
          <a:lstStyle/>
          <a:p>
            <a:r>
              <a:rPr lang="en-US"/>
              <a:t>Eight Week Roadmap</a:t>
            </a:r>
          </a:p>
        </p:txBody>
      </p:sp>
      <p:sp>
        <p:nvSpPr>
          <p:cNvPr id="33" name="object 42">
            <a:extLst>
              <a:ext uri="{FF2B5EF4-FFF2-40B4-BE49-F238E27FC236}">
                <a16:creationId xmlns:a16="http://schemas.microsoft.com/office/drawing/2014/main" id="{158E9EF6-DBFB-CD4D-B161-1C9BC6F79FC6}"/>
              </a:ext>
            </a:extLst>
          </p:cNvPr>
          <p:cNvSpPr txBox="1"/>
          <p:nvPr/>
        </p:nvSpPr>
        <p:spPr>
          <a:xfrm>
            <a:off x="8529224" y="3935013"/>
            <a:ext cx="1916353" cy="307777"/>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300"/>
              </a:spcAft>
              <a:buClrTx/>
              <a:buSzTx/>
              <a:buFontTx/>
              <a:buNone/>
              <a:tabLst/>
              <a:defRPr/>
            </a:pPr>
            <a:r>
              <a:rPr lang="en-US" sz="1000">
                <a:solidFill>
                  <a:srgbClr val="000000"/>
                </a:solidFill>
                <a:latin typeface="Open Sans"/>
                <a:cs typeface="Open Sans"/>
              </a:rPr>
              <a:t>Requirements, Architecture, Primary Use Case</a:t>
            </a:r>
            <a:endParaRPr kumimoji="0" lang="en-US" sz="1000" b="0" i="0" u="none" strike="noStrike" kern="1200" cap="none" spc="0" normalizeH="0" baseline="0" noProof="0">
              <a:ln>
                <a:noFill/>
              </a:ln>
              <a:solidFill>
                <a:srgbClr val="000000"/>
              </a:solidFill>
              <a:effectLst/>
              <a:uLnTx/>
              <a:uFillTx/>
              <a:latin typeface="Open Sans"/>
              <a:ea typeface="+mn-ea"/>
              <a:cs typeface="Open Sans"/>
            </a:endParaRPr>
          </a:p>
        </p:txBody>
      </p:sp>
      <p:grpSp>
        <p:nvGrpSpPr>
          <p:cNvPr id="34" name="Group 33">
            <a:extLst>
              <a:ext uri="{FF2B5EF4-FFF2-40B4-BE49-F238E27FC236}">
                <a16:creationId xmlns:a16="http://schemas.microsoft.com/office/drawing/2014/main" id="{4CF8D55F-CB4D-9541-A735-78B32E8DB54B}"/>
              </a:ext>
            </a:extLst>
          </p:cNvPr>
          <p:cNvGrpSpPr/>
          <p:nvPr/>
        </p:nvGrpSpPr>
        <p:grpSpPr>
          <a:xfrm>
            <a:off x="8423007" y="4073811"/>
            <a:ext cx="212434" cy="195573"/>
            <a:chOff x="7211986" y="2505004"/>
            <a:chExt cx="212434" cy="212434"/>
          </a:xfrm>
        </p:grpSpPr>
        <p:sp>
          <p:nvSpPr>
            <p:cNvPr id="35" name="Oval 34">
              <a:extLst>
                <a:ext uri="{FF2B5EF4-FFF2-40B4-BE49-F238E27FC236}">
                  <a16:creationId xmlns:a16="http://schemas.microsoft.com/office/drawing/2014/main" id="{487C8F31-5961-9247-9E4C-92610BA4A97B}"/>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4-Point Star 133">
              <a:extLst>
                <a:ext uri="{FF2B5EF4-FFF2-40B4-BE49-F238E27FC236}">
                  <a16:creationId xmlns:a16="http://schemas.microsoft.com/office/drawing/2014/main" id="{97BC8302-1CC6-0E42-94BC-263AC3886CC6}"/>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18460126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8C3B4-AE7D-2E46-B131-0133A0F9605B}"/>
              </a:ext>
            </a:extLst>
          </p:cNvPr>
          <p:cNvSpPr>
            <a:spLocks noGrp="1"/>
          </p:cNvSpPr>
          <p:nvPr>
            <p:ph type="title"/>
          </p:nvPr>
        </p:nvSpPr>
        <p:spPr/>
        <p:txBody>
          <a:bodyPr/>
          <a:lstStyle/>
          <a:p>
            <a:r>
              <a:rPr lang="en-US"/>
              <a:t>Staffing</a:t>
            </a:r>
          </a:p>
        </p:txBody>
      </p:sp>
      <p:sp>
        <p:nvSpPr>
          <p:cNvPr id="4" name="Text Placeholder 3">
            <a:extLst>
              <a:ext uri="{FF2B5EF4-FFF2-40B4-BE49-F238E27FC236}">
                <a16:creationId xmlns:a16="http://schemas.microsoft.com/office/drawing/2014/main" id="{DAC87D90-F996-9944-9B98-9013BAD79CA2}"/>
              </a:ext>
            </a:extLst>
          </p:cNvPr>
          <p:cNvSpPr>
            <a:spLocks noGrp="1"/>
          </p:cNvSpPr>
          <p:nvPr>
            <p:ph type="body" sz="quarter" idx="15"/>
          </p:nvPr>
        </p:nvSpPr>
        <p:spPr/>
        <p:txBody>
          <a:bodyPr/>
          <a:lstStyle/>
          <a:p>
            <a:endParaRPr lang="en-US"/>
          </a:p>
        </p:txBody>
      </p:sp>
      <p:graphicFrame>
        <p:nvGraphicFramePr>
          <p:cNvPr id="5" name="Table 4">
            <a:extLst>
              <a:ext uri="{FF2B5EF4-FFF2-40B4-BE49-F238E27FC236}">
                <a16:creationId xmlns:a16="http://schemas.microsoft.com/office/drawing/2014/main" id="{48E63D83-01B4-0B44-A2DA-F2899E02992D}"/>
              </a:ext>
            </a:extLst>
          </p:cNvPr>
          <p:cNvGraphicFramePr>
            <a:graphicFrameLocks noGrp="1"/>
          </p:cNvGraphicFramePr>
          <p:nvPr>
            <p:extLst>
              <p:ext uri="{D42A27DB-BD31-4B8C-83A1-F6EECF244321}">
                <p14:modId xmlns:p14="http://schemas.microsoft.com/office/powerpoint/2010/main" val="2901592579"/>
              </p:ext>
            </p:extLst>
          </p:nvPr>
        </p:nvGraphicFramePr>
        <p:xfrm>
          <a:off x="914400" y="1289304"/>
          <a:ext cx="10363200" cy="5282434"/>
        </p:xfrm>
        <a:graphic>
          <a:graphicData uri="http://schemas.openxmlformats.org/drawingml/2006/table">
            <a:tbl>
              <a:tblPr firstRow="1" bandRow="1">
                <a:tableStyleId>{5C22544A-7EE6-4342-B048-85BDC9FD1C3A}</a:tableStyleId>
              </a:tblPr>
              <a:tblGrid>
                <a:gridCol w="5181600">
                  <a:extLst>
                    <a:ext uri="{9D8B030D-6E8A-4147-A177-3AD203B41FA5}">
                      <a16:colId xmlns:a16="http://schemas.microsoft.com/office/drawing/2014/main" val="1194395754"/>
                    </a:ext>
                  </a:extLst>
                </a:gridCol>
                <a:gridCol w="5181600">
                  <a:extLst>
                    <a:ext uri="{9D8B030D-6E8A-4147-A177-3AD203B41FA5}">
                      <a16:colId xmlns:a16="http://schemas.microsoft.com/office/drawing/2014/main" val="4047243706"/>
                    </a:ext>
                  </a:extLst>
                </a:gridCol>
              </a:tblGrid>
              <a:tr h="247330">
                <a:tc>
                  <a:txBody>
                    <a:body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altLang="ja-JP" sz="1200" b="0" i="0" u="none" strike="noStrike" cap="none" normalizeH="0" baseline="0">
                          <a:ln>
                            <a:noFill/>
                          </a:ln>
                          <a:solidFill>
                            <a:srgbClr val="3C3C3B"/>
                          </a:solidFill>
                          <a:effectLst/>
                          <a:latin typeface="+mn-lt"/>
                          <a:ea typeface="MS PGothic"/>
                          <a:cs typeface="MS PGothic"/>
                        </a:rPr>
                        <a:t>Week</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altLang="ja-JP" sz="1200" b="0" i="0" u="none" strike="noStrike" cap="none" normalizeH="0" baseline="0">
                        <a:ln>
                          <a:noFill/>
                        </a:ln>
                        <a:solidFill>
                          <a:srgbClr val="3C3C3B"/>
                        </a:solidFill>
                        <a:effectLst/>
                        <a:latin typeface="+mn-lt"/>
                        <a:ea typeface="MS PGothic"/>
                        <a:cs typeface="MS PGothic"/>
                      </a:endParaRPr>
                    </a:p>
                  </a:txBody>
                  <a:tcPr marL="45720" marR="45720"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3482995"/>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Project Prepar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000" b="1" i="0" u="none" strike="noStrike" cap="none" normalizeH="0" baseline="0">
                        <a:ln>
                          <a:noFill/>
                        </a:ln>
                        <a:solidFill>
                          <a:srgbClr val="3C3C3B"/>
                        </a:solidFill>
                        <a:effectLst/>
                        <a:latin typeface="+mn-lt"/>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42374300"/>
                  </a:ext>
                </a:extLst>
              </a:tr>
              <a:tr h="861075">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Application/Services Restora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Develop and test Database-as-a-Code servic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Preliminary Discussion (o</a:t>
                      </a:r>
                      <a:r>
                        <a:rPr lang="en-US" sz="1000" b="0"/>
                        <a:t>rganize workforce, objectives , and tasks</a:t>
                      </a:r>
                      <a:r>
                        <a:rPr kumimoji="0" lang="en-US" sz="1000" b="0" i="0" u="none" strike="noStrike" kern="1200" cap="none" normalizeH="0" baseline="0">
                          <a:ln>
                            <a:noFill/>
                          </a:ln>
                          <a:solidFill>
                            <a:srgbClr val="3C3C3B"/>
                          </a:solidFill>
                          <a:effectLst/>
                          <a:latin typeface="+mn-lt"/>
                          <a:ea typeface="+mn-ea"/>
                          <a:cs typeface="Arial"/>
                        </a:rPr>
                        <a: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Project Kickoff</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endParaRPr kumimoji="0" lang="en-US" sz="1000" b="0" i="0" u="none" strike="noStrike" kern="1200" cap="none" normalizeH="0" baseline="0">
                        <a:ln>
                          <a:noFill/>
                        </a:ln>
                        <a:solidFill>
                          <a:srgbClr val="3C3C3B"/>
                        </a:solidFill>
                        <a:effectLst/>
                        <a:latin typeface="+mn-lt"/>
                        <a:ea typeface="+mn-ea"/>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1135570"/>
                  </a:ext>
                </a:extLst>
              </a:tr>
              <a:tr h="253708">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Baseline Objectives &amp;  Evalu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000" b="1" i="0" u="none" strike="noStrike" cap="none" normalizeH="0" baseline="0">
                        <a:ln>
                          <a:noFill/>
                        </a:ln>
                        <a:solidFill>
                          <a:srgbClr val="3C3C3B"/>
                        </a:solidFill>
                        <a:effectLst/>
                        <a:latin typeface="+mn-lt"/>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8900083"/>
                  </a:ext>
                </a:extLst>
              </a:tr>
              <a:tr h="719018">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Establish key client objectives (connect with Tim/Melvin/Jonatha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Stakeholder pod alignmen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Data Lake options evaluations and decis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Web Application requirements &amp; development</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endParaRPr kumimoji="0" lang="en-US" sz="1000" b="0" i="0" u="none" strike="noStrike" kern="1200" cap="none" normalizeH="0" baseline="0">
                        <a:ln>
                          <a:noFill/>
                        </a:ln>
                        <a:solidFill>
                          <a:srgbClr val="3C3C3B"/>
                        </a:solidFill>
                        <a:effectLst/>
                        <a:latin typeface="+mn-lt"/>
                        <a:ea typeface="+mn-ea"/>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8243674"/>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Web Application Short Term Pla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endParaRPr kumimoji="0" lang="en-US" sz="1000" b="1" i="0" u="none" strike="noStrike" cap="none" normalizeH="0" baseline="0">
                        <a:ln>
                          <a:noFill/>
                        </a:ln>
                        <a:solidFill>
                          <a:srgbClr val="3C3C3B"/>
                        </a:solidFill>
                        <a:effectLst/>
                        <a:latin typeface="+mn-lt"/>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3108554"/>
                  </a:ext>
                </a:extLst>
              </a:tr>
              <a:tr h="458848">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hronic Use Case 1 Developmen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hronic Use Case 2 Requirements &amp; Development</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endParaRPr kumimoji="0" lang="en-US" sz="1000" b="0" i="0" u="none" strike="noStrike" kern="1200" cap="none" normalizeH="0" baseline="0">
                        <a:ln>
                          <a:noFill/>
                        </a:ln>
                        <a:solidFill>
                          <a:srgbClr val="3C3C3B"/>
                        </a:solidFill>
                        <a:effectLst/>
                        <a:latin typeface="+mn-lt"/>
                        <a:ea typeface="+mn-ea"/>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7994055"/>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cap="none" normalizeH="0" baseline="0">
                          <a:ln>
                            <a:noFill/>
                          </a:ln>
                          <a:solidFill>
                            <a:srgbClr val="3C3C3B"/>
                          </a:solidFill>
                          <a:effectLst/>
                          <a:latin typeface="+mn-lt"/>
                          <a:cs typeface="Arial"/>
                        </a:rPr>
                        <a:t>Data Lake Short Term Pla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endParaRPr kumimoji="0" lang="en-US" sz="1000" b="1" i="0" u="none" strike="noStrike" cap="none" normalizeH="0" baseline="0">
                        <a:ln>
                          <a:noFill/>
                        </a:ln>
                        <a:solidFill>
                          <a:srgbClr val="3C3C3B"/>
                        </a:solidFill>
                        <a:effectLst/>
                        <a:latin typeface="+mn-lt"/>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9096708"/>
                  </a:ext>
                </a:extLst>
              </a:tr>
              <a:tr h="247330">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Data Lake requirements &amp; primary NCCDPHP use cas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Develop Cloud Platform specific Architecture</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hange management and adoption plan</a:t>
                      </a:r>
                    </a:p>
                    <a:p>
                      <a:pPr marL="572770" marR="0" lvl="1"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ommunication / Roll-out pla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a:ln>
                            <a:noFill/>
                          </a:ln>
                          <a:solidFill>
                            <a:srgbClr val="3C3C3B"/>
                          </a:solidFill>
                          <a:effectLst/>
                          <a:latin typeface="+mn-lt"/>
                          <a:ea typeface="+mn-ea"/>
                          <a:cs typeface="Arial"/>
                        </a:rPr>
                        <a:t>Cloud Data Lake Development / Testing</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endParaRPr kumimoji="0" lang="en-US" sz="1000" b="0" i="0" u="none" strike="noStrike" kern="1200" cap="none" normalizeH="0" baseline="0">
                        <a:ln>
                          <a:noFill/>
                        </a:ln>
                        <a:solidFill>
                          <a:srgbClr val="3C3C3B"/>
                        </a:solidFill>
                        <a:effectLst/>
                        <a:latin typeface="+mn-lt"/>
                        <a:ea typeface="+mn-ea"/>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282455"/>
                  </a:ext>
                </a:extLst>
              </a:tr>
              <a:tr h="247330">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kern="1200" cap="none" normalizeH="0" baseline="0">
                          <a:ln>
                            <a:noFill/>
                          </a:ln>
                          <a:solidFill>
                            <a:srgbClr val="3C3C3B"/>
                          </a:solidFill>
                          <a:effectLst/>
                          <a:latin typeface="+mn-lt"/>
                          <a:ea typeface="+mn-ea"/>
                          <a:cs typeface="Arial"/>
                        </a:rPr>
                        <a:t>Long Term Roadmap</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endParaRPr kumimoji="0" lang="en-US" sz="1000" b="1" i="0" u="none" strike="noStrike" kern="1200" cap="none" normalizeH="0" baseline="0">
                        <a:ln>
                          <a:noFill/>
                        </a:ln>
                        <a:solidFill>
                          <a:srgbClr val="3C3C3B"/>
                        </a:solidFill>
                        <a:effectLst/>
                        <a:latin typeface="+mn-lt"/>
                        <a:ea typeface="+mn-ea"/>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6465654"/>
                  </a:ext>
                </a:extLst>
              </a:tr>
              <a:tr h="712883">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Program readiness assessmen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Cloud Data Lake Rollou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a:ln>
                            <a:noFill/>
                          </a:ln>
                          <a:solidFill>
                            <a:srgbClr val="3C3C3B"/>
                          </a:solidFill>
                          <a:effectLst/>
                          <a:latin typeface="+mn-lt"/>
                          <a:ea typeface="+mn-ea"/>
                          <a:cs typeface="Arial"/>
                        </a:rPr>
                        <a:t>Analytics Workbench Development</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endParaRPr kumimoji="0" lang="en-US" sz="1000" b="0" i="0" u="none" strike="noStrike" kern="1200" cap="none" normalizeH="0" baseline="0">
                        <a:ln>
                          <a:noFill/>
                        </a:ln>
                        <a:solidFill>
                          <a:srgbClr val="3C3C3B"/>
                        </a:solidFill>
                        <a:effectLst/>
                        <a:latin typeface="+mn-lt"/>
                        <a:ea typeface="+mn-ea"/>
                        <a:cs typeface="Arial"/>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2457124"/>
                  </a:ext>
                </a:extLst>
              </a:tr>
            </a:tbl>
          </a:graphicData>
        </a:graphic>
      </p:graphicFrame>
    </p:spTree>
    <p:extLst>
      <p:ext uri="{BB962C8B-B14F-4D97-AF65-F5344CB8AC3E}">
        <p14:creationId xmlns:p14="http://schemas.microsoft.com/office/powerpoint/2010/main" val="4292986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2BE2-19BB-BF48-97B8-D048B8C0A3C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7A34A9A-F7CA-B044-AF86-9DA488BDF86E}"/>
              </a:ext>
            </a:extLst>
          </p:cNvPr>
          <p:cNvSpPr>
            <a:spLocks noGrp="1"/>
          </p:cNvSpPr>
          <p:nvPr>
            <p:ph type="body" sz="quarter" idx="14"/>
          </p:nvPr>
        </p:nvSpPr>
        <p:spPr>
          <a:xfrm>
            <a:off x="914722" y="1353311"/>
            <a:ext cx="5810544" cy="4951623"/>
          </a:xfrm>
        </p:spPr>
        <p:txBody>
          <a:bodyPr/>
          <a:lstStyle/>
          <a:p>
            <a:r>
              <a:rPr lang="en-US" sz="1000"/>
              <a:t>Infrastructure Development Task Force</a:t>
            </a:r>
          </a:p>
          <a:p>
            <a:pPr marL="171450" indent="-171450">
              <a:buFont typeface="Arial" panose="020B0604020202020204" pitchFamily="34" charset="0"/>
              <a:buChar char="•"/>
            </a:pPr>
            <a:r>
              <a:rPr lang="en-US" sz="1000"/>
              <a:t>Data Lake/Hub</a:t>
            </a:r>
          </a:p>
          <a:p>
            <a:pPr marL="857250" lvl="1" indent="-171450"/>
            <a:r>
              <a:rPr lang="en-US" sz="1000"/>
              <a:t>Use Case Identification / Guidance for Programs/Center</a:t>
            </a:r>
          </a:p>
          <a:p>
            <a:pPr marL="857250" lvl="1" indent="-171450"/>
            <a:r>
              <a:rPr lang="en-US" sz="1000"/>
              <a:t>Data Clearance / Providers </a:t>
            </a:r>
          </a:p>
          <a:p>
            <a:pPr marL="857250" lvl="1" indent="-171450"/>
            <a:r>
              <a:rPr lang="en-US" sz="1000"/>
              <a:t>Ingestion/Collection Pipelines</a:t>
            </a:r>
          </a:p>
          <a:p>
            <a:pPr marL="857250" lvl="1" indent="-171450"/>
            <a:r>
              <a:rPr lang="en-US" sz="1000"/>
              <a:t>Metadata Cataloging</a:t>
            </a:r>
          </a:p>
          <a:p>
            <a:pPr marL="857250" lvl="1" indent="-171450"/>
            <a:r>
              <a:rPr lang="en-US" sz="1000"/>
              <a:t>Structured/Unstructured Blob Storage </a:t>
            </a:r>
          </a:p>
          <a:p>
            <a:pPr marL="857250" lvl="1" indent="-171450"/>
            <a:r>
              <a:rPr lang="en-US" sz="1000"/>
              <a:t>Purposeful Database</a:t>
            </a:r>
          </a:p>
          <a:p>
            <a:pPr marL="857250" lvl="1" indent="-171450"/>
            <a:r>
              <a:rPr lang="en-US" sz="1000"/>
              <a:t>Data Resilience Operating Model</a:t>
            </a:r>
          </a:p>
          <a:p>
            <a:pPr marL="171450" indent="-171450">
              <a:buFont typeface="Arial" panose="020B0604020202020204" pitchFamily="34" charset="0"/>
              <a:buChar char="•"/>
            </a:pPr>
            <a:r>
              <a:rPr lang="en-US" sz="1000"/>
              <a:t>DevOps</a:t>
            </a:r>
          </a:p>
          <a:p>
            <a:pPr marL="857250" lvl="1" indent="-171450"/>
            <a:r>
              <a:rPr lang="en-US" sz="1000"/>
              <a:t>Continuous Integration Pipeline in </a:t>
            </a:r>
            <a:r>
              <a:rPr lang="en-US" sz="1000" err="1"/>
              <a:t>ECPaaS</a:t>
            </a:r>
            <a:r>
              <a:rPr lang="en-US" sz="1000"/>
              <a:t> and AWS</a:t>
            </a:r>
          </a:p>
          <a:p>
            <a:pPr marL="1314450" lvl="2" indent="-171450"/>
            <a:r>
              <a:rPr lang="en-US" sz="1000"/>
              <a:t>Unit Testing</a:t>
            </a:r>
          </a:p>
          <a:p>
            <a:pPr marL="1314450" lvl="2" indent="-171450"/>
            <a:r>
              <a:rPr lang="en-US" sz="1000"/>
              <a:t>Database version control services</a:t>
            </a:r>
          </a:p>
          <a:p>
            <a:pPr marL="857250" lvl="1" indent="-171450"/>
            <a:r>
              <a:rPr lang="en-US" sz="1000"/>
              <a:t>Utilizing and Optimizing Kubernetes</a:t>
            </a:r>
          </a:p>
          <a:p>
            <a:pPr marL="857250" lvl="1" indent="-171450"/>
            <a:r>
              <a:rPr lang="en-US" sz="1000"/>
              <a:t>Maintaining </a:t>
            </a:r>
            <a:r>
              <a:rPr lang="en-US" sz="1000" err="1"/>
              <a:t>Openshift</a:t>
            </a:r>
            <a:r>
              <a:rPr lang="en-US" sz="1000"/>
              <a:t> Environment</a:t>
            </a:r>
          </a:p>
          <a:p>
            <a:pPr marL="857250" lvl="1" indent="-171450"/>
            <a:r>
              <a:rPr lang="en-US" sz="1000"/>
              <a:t>Maintaining Continuous Deployment Pipeline in </a:t>
            </a:r>
            <a:r>
              <a:rPr lang="en-US" sz="1000" err="1"/>
              <a:t>ECPaaS</a:t>
            </a:r>
            <a:r>
              <a:rPr lang="en-US" sz="1000"/>
              <a:t> and AWS</a:t>
            </a:r>
          </a:p>
          <a:p>
            <a:pPr marL="857250" lvl="1" indent="-171450"/>
            <a:endParaRPr lang="en-US" sz="1000"/>
          </a:p>
          <a:p>
            <a:pPr marL="171450" indent="-171450">
              <a:buFont typeface="Arial" panose="020B0604020202020204" pitchFamily="34" charset="0"/>
              <a:buChar char="•"/>
            </a:pPr>
            <a:r>
              <a:rPr lang="en-US" sz="1000"/>
              <a:t>Data Workbench</a:t>
            </a:r>
          </a:p>
          <a:p>
            <a:pPr marL="857250" lvl="1" indent="-171450"/>
            <a:r>
              <a:rPr lang="en-US" sz="1000"/>
              <a:t>Building / maintaining out Big Data / Analytics Database (e.g. Cosmos, RedShift) in Azure</a:t>
            </a:r>
          </a:p>
          <a:p>
            <a:pPr marL="857250" lvl="1" indent="-171450"/>
            <a:r>
              <a:rPr lang="en-US" sz="1000"/>
              <a:t>Building / maintaining big compute platform (Data Bricks, Synapse) in Azure</a:t>
            </a:r>
          </a:p>
          <a:p>
            <a:pPr marL="857250" lvl="1" indent="-171450"/>
            <a:r>
              <a:rPr lang="en-US" sz="1000"/>
              <a:t> Working with DevOps to explore data CI/CD model</a:t>
            </a:r>
          </a:p>
        </p:txBody>
      </p:sp>
      <p:sp>
        <p:nvSpPr>
          <p:cNvPr id="4" name="Text Placeholder 3">
            <a:extLst>
              <a:ext uri="{FF2B5EF4-FFF2-40B4-BE49-F238E27FC236}">
                <a16:creationId xmlns:a16="http://schemas.microsoft.com/office/drawing/2014/main" id="{C52D8A33-6B41-5C48-9BD2-2AD44481A943}"/>
              </a:ext>
            </a:extLst>
          </p:cNvPr>
          <p:cNvSpPr>
            <a:spLocks noGrp="1"/>
          </p:cNvSpPr>
          <p:nvPr>
            <p:ph type="body" sz="quarter" idx="15"/>
          </p:nvPr>
        </p:nvSpPr>
        <p:spPr/>
        <p:txBody>
          <a:bodyPr/>
          <a:lstStyle/>
          <a:p>
            <a:endParaRPr lang="en-US"/>
          </a:p>
        </p:txBody>
      </p:sp>
      <p:sp>
        <p:nvSpPr>
          <p:cNvPr id="5" name="Text Placeholder 2">
            <a:extLst>
              <a:ext uri="{FF2B5EF4-FFF2-40B4-BE49-F238E27FC236}">
                <a16:creationId xmlns:a16="http://schemas.microsoft.com/office/drawing/2014/main" id="{C2A1B784-D489-B949-9151-D198178CBEA6}"/>
              </a:ext>
            </a:extLst>
          </p:cNvPr>
          <p:cNvSpPr txBox="1">
            <a:spLocks/>
          </p:cNvSpPr>
          <p:nvPr/>
        </p:nvSpPr>
        <p:spPr>
          <a:xfrm>
            <a:off x="6725266" y="1353310"/>
            <a:ext cx="5085736" cy="495162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a:t>Infrastructure Development Task Force</a:t>
            </a:r>
          </a:p>
          <a:p>
            <a:pPr marL="171450" indent="-171450">
              <a:buFont typeface="Arial" panose="020B0604020202020204" pitchFamily="34" charset="0"/>
              <a:buChar char="•"/>
            </a:pPr>
            <a:r>
              <a:rPr lang="en-US" sz="1000"/>
              <a:t>Data Lake/Hub</a:t>
            </a:r>
          </a:p>
          <a:p>
            <a:pPr marL="857250" lvl="1" indent="-171450"/>
            <a:r>
              <a:rPr lang="en-US" sz="1000"/>
              <a:t>6-8 Weeks</a:t>
            </a:r>
          </a:p>
          <a:p>
            <a:pPr marL="857250" lvl="1" indent="-171450"/>
            <a:r>
              <a:rPr lang="en-US" sz="1000"/>
              <a:t>2x Data Engineers (Pipeline development)</a:t>
            </a:r>
          </a:p>
          <a:p>
            <a:pPr marL="857250" lvl="1" indent="-171450"/>
            <a:r>
              <a:rPr lang="en-US" sz="1000"/>
              <a:t>1x Azure Cloud Engineer</a:t>
            </a:r>
          </a:p>
          <a:p>
            <a:pPr marL="171450" indent="-171450">
              <a:buFont typeface="Arial" panose="020B0604020202020204" pitchFamily="34" charset="0"/>
              <a:buChar char="•"/>
            </a:pPr>
            <a:r>
              <a:rPr lang="en-US" sz="1000"/>
              <a:t>DevOps</a:t>
            </a:r>
          </a:p>
          <a:p>
            <a:pPr marL="857250" lvl="1" indent="-171450"/>
            <a:r>
              <a:rPr lang="en-US" sz="1000"/>
              <a:t>4-6 Weeks</a:t>
            </a:r>
          </a:p>
          <a:p>
            <a:pPr marL="857250" lvl="1" indent="-171450"/>
            <a:r>
              <a:rPr lang="en-US" sz="1000"/>
              <a:t>1x DevOps Engineer (Cloud Background)</a:t>
            </a:r>
          </a:p>
          <a:p>
            <a:pPr marL="1314450" lvl="2" indent="-171450"/>
            <a:endParaRPr lang="en-US" sz="800"/>
          </a:p>
          <a:p>
            <a:pPr marL="857250" lvl="1" indent="-171450"/>
            <a:endParaRPr lang="en-US" sz="1000"/>
          </a:p>
          <a:p>
            <a:pPr marL="171450" indent="-171450">
              <a:buFont typeface="Arial" panose="020B0604020202020204" pitchFamily="34" charset="0"/>
              <a:buChar char="•"/>
            </a:pPr>
            <a:r>
              <a:rPr lang="en-US" sz="1000"/>
              <a:t>Data Workbench</a:t>
            </a:r>
          </a:p>
          <a:p>
            <a:pPr marL="857250" lvl="1" indent="-171450"/>
            <a:r>
              <a:rPr lang="en-US" sz="1000"/>
              <a:t>4-8 Weeks</a:t>
            </a:r>
          </a:p>
          <a:p>
            <a:pPr marL="857250" lvl="1" indent="-171450"/>
            <a:r>
              <a:rPr lang="en-US" sz="1000"/>
              <a:t>1x Azure Senior Cloud Engineer</a:t>
            </a:r>
          </a:p>
        </p:txBody>
      </p:sp>
    </p:spTree>
    <p:extLst>
      <p:ext uri="{BB962C8B-B14F-4D97-AF65-F5344CB8AC3E}">
        <p14:creationId xmlns:p14="http://schemas.microsoft.com/office/powerpoint/2010/main" val="1738986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4DE88-07DA-3B43-8656-E90F53234751}"/>
              </a:ext>
            </a:extLst>
          </p:cNvPr>
          <p:cNvSpPr>
            <a:spLocks noGrp="1"/>
          </p:cNvSpPr>
          <p:nvPr>
            <p:ph type="title"/>
          </p:nvPr>
        </p:nvSpPr>
        <p:spPr/>
        <p:txBody>
          <a:bodyPr/>
          <a:lstStyle/>
          <a:p>
            <a:r>
              <a:rPr lang="en-US"/>
              <a:t>Technology Accelerators</a:t>
            </a:r>
          </a:p>
        </p:txBody>
      </p:sp>
      <p:sp>
        <p:nvSpPr>
          <p:cNvPr id="4" name="Text Placeholder 3">
            <a:extLst>
              <a:ext uri="{FF2B5EF4-FFF2-40B4-BE49-F238E27FC236}">
                <a16:creationId xmlns:a16="http://schemas.microsoft.com/office/drawing/2014/main" id="{611951F8-A1BE-2340-8ACC-F8E004456CD3}"/>
              </a:ext>
            </a:extLst>
          </p:cNvPr>
          <p:cNvSpPr>
            <a:spLocks noGrp="1"/>
          </p:cNvSpPr>
          <p:nvPr>
            <p:ph type="body" sz="quarter" idx="15"/>
          </p:nvPr>
        </p:nvSpPr>
        <p:spPr/>
        <p:txBody>
          <a:bodyPr/>
          <a:lstStyle/>
          <a:p>
            <a:r>
              <a:rPr lang="en-US"/>
              <a:t>Roadmap</a:t>
            </a:r>
          </a:p>
        </p:txBody>
      </p:sp>
      <p:sp>
        <p:nvSpPr>
          <p:cNvPr id="6" name="Text Placeholder 5">
            <a:extLst>
              <a:ext uri="{FF2B5EF4-FFF2-40B4-BE49-F238E27FC236}">
                <a16:creationId xmlns:a16="http://schemas.microsoft.com/office/drawing/2014/main" id="{AD227F3E-DA83-E148-A39A-4CADEC6B4881}"/>
              </a:ext>
            </a:extLst>
          </p:cNvPr>
          <p:cNvSpPr>
            <a:spLocks noGrp="1"/>
          </p:cNvSpPr>
          <p:nvPr>
            <p:ph type="body" sz="quarter" idx="14"/>
          </p:nvPr>
        </p:nvSpPr>
        <p:spPr/>
        <p:txBody>
          <a:bodyPr/>
          <a:lstStyle/>
          <a:p>
            <a:r>
              <a:rPr lang="en-US"/>
              <a:t>Supplementary technology work that will accelerate roadmap delivery</a:t>
            </a:r>
          </a:p>
        </p:txBody>
      </p:sp>
      <p:sp>
        <p:nvSpPr>
          <p:cNvPr id="7" name="Text Placeholder 2">
            <a:extLst>
              <a:ext uri="{FF2B5EF4-FFF2-40B4-BE49-F238E27FC236}">
                <a16:creationId xmlns:a16="http://schemas.microsoft.com/office/drawing/2014/main" id="{F5B886BB-FB8D-9D46-BACD-FAF01DD17AE1}"/>
              </a:ext>
            </a:extLst>
          </p:cNvPr>
          <p:cNvSpPr txBox="1">
            <a:spLocks/>
          </p:cNvSpPr>
          <p:nvPr/>
        </p:nvSpPr>
        <p:spPr>
          <a:xfrm>
            <a:off x="914720" y="2588987"/>
            <a:ext cx="5922685" cy="283974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570" indent="-115570" defTabSz="1106488" fontAlgn="base">
              <a:spcBef>
                <a:spcPts val="0"/>
              </a:spcBef>
              <a:spcAft>
                <a:spcPts val="800"/>
              </a:spcAft>
              <a:buClr>
                <a:schemeClr val="tx1"/>
              </a:buClr>
              <a:buFontTx/>
              <a:buChar char="•"/>
              <a:tabLst>
                <a:tab pos="5715000" algn="l"/>
              </a:tabLst>
              <a:defRPr/>
            </a:pPr>
            <a:r>
              <a:rPr lang="en-US" b="1">
                <a:solidFill>
                  <a:srgbClr val="3C3C3B"/>
                </a:solidFill>
                <a:cs typeface="Arial"/>
              </a:rPr>
              <a:t>Team</a:t>
            </a:r>
            <a:r>
              <a:rPr lang="en-US">
                <a:solidFill>
                  <a:srgbClr val="3C3C3B"/>
                </a:solidFill>
                <a:cs typeface="Arial"/>
              </a:rPr>
              <a:t>: Develop guiding principles across application development, infrastructure, operations, and collaboration</a:t>
            </a:r>
          </a:p>
          <a:p>
            <a:pPr marL="115570" indent="-115570" defTabSz="1106488" fontAlgn="base">
              <a:spcBef>
                <a:spcPts val="0"/>
              </a:spcBef>
              <a:spcAft>
                <a:spcPts val="800"/>
              </a:spcAft>
              <a:buClr>
                <a:schemeClr val="tx1"/>
              </a:buClr>
              <a:buFontTx/>
              <a:buChar char="•"/>
              <a:tabLst>
                <a:tab pos="5715000" algn="l"/>
              </a:tabLst>
              <a:defRPr/>
            </a:pPr>
            <a:r>
              <a:rPr lang="en-US" b="1">
                <a:solidFill>
                  <a:srgbClr val="3C3C3B"/>
                </a:solidFill>
                <a:cs typeface="Arial"/>
              </a:rPr>
              <a:t>Reduce Manual Work: </a:t>
            </a:r>
            <a:r>
              <a:rPr lang="en-US">
                <a:solidFill>
                  <a:srgbClr val="3C3C3B"/>
                </a:solidFill>
                <a:cs typeface="Arial"/>
              </a:rPr>
              <a:t>Establish and consolidate code projects on CDC Enterprise GitHub to minimize redundancies</a:t>
            </a:r>
          </a:p>
          <a:p>
            <a:pPr marL="115570" indent="-115570" defTabSz="1106488" fontAlgn="base">
              <a:spcBef>
                <a:spcPts val="0"/>
              </a:spcBef>
              <a:spcAft>
                <a:spcPts val="800"/>
              </a:spcAft>
              <a:buClr>
                <a:schemeClr val="tx1"/>
              </a:buClr>
              <a:buFontTx/>
              <a:buChar char="•"/>
              <a:tabLst>
                <a:tab pos="5715000" algn="l"/>
              </a:tabLst>
              <a:defRPr/>
            </a:pPr>
            <a:r>
              <a:rPr lang="en-US" b="1">
                <a:solidFill>
                  <a:srgbClr val="3C3C3B"/>
                </a:solidFill>
                <a:cs typeface="Arial"/>
              </a:rPr>
              <a:t>Migrate</a:t>
            </a:r>
            <a:r>
              <a:rPr lang="en-US">
                <a:solidFill>
                  <a:srgbClr val="3C3C3B"/>
                </a:solidFill>
                <a:cs typeface="Arial"/>
              </a:rPr>
              <a:t>: Deploy applications on new </a:t>
            </a:r>
            <a:r>
              <a:rPr lang="en-US" err="1">
                <a:solidFill>
                  <a:srgbClr val="3C3C3B"/>
                </a:solidFill>
                <a:cs typeface="Arial"/>
              </a:rPr>
              <a:t>ECPaaS</a:t>
            </a:r>
            <a:r>
              <a:rPr lang="en-US">
                <a:solidFill>
                  <a:srgbClr val="3C3C3B"/>
                </a:solidFill>
                <a:cs typeface="Arial"/>
              </a:rPr>
              <a:t> Environment (OpenShift 4)</a:t>
            </a:r>
          </a:p>
          <a:p>
            <a:pPr marL="115570" indent="-115570" defTabSz="1106488" fontAlgn="base">
              <a:spcBef>
                <a:spcPts val="0"/>
              </a:spcBef>
              <a:spcAft>
                <a:spcPts val="800"/>
              </a:spcAft>
              <a:buClr>
                <a:schemeClr val="tx1"/>
              </a:buClr>
              <a:buFontTx/>
              <a:buChar char="•"/>
              <a:tabLst>
                <a:tab pos="5715000" algn="l"/>
              </a:tabLst>
              <a:defRPr/>
            </a:pPr>
            <a:r>
              <a:rPr lang="en-US" b="1">
                <a:solidFill>
                  <a:srgbClr val="3C3C3B"/>
                </a:solidFill>
                <a:cs typeface="Arial"/>
              </a:rPr>
              <a:t>Security</a:t>
            </a:r>
            <a:r>
              <a:rPr lang="en-US">
                <a:solidFill>
                  <a:srgbClr val="3C3C3B"/>
                </a:solidFill>
                <a:cs typeface="Arial"/>
              </a:rPr>
              <a:t>: SSO Implementation</a:t>
            </a:r>
          </a:p>
          <a:p>
            <a:pPr marL="572770" lvl="1" indent="-115570" defTabSz="1106488" fontAlgn="base">
              <a:spcBef>
                <a:spcPts val="0"/>
              </a:spcBef>
              <a:spcAft>
                <a:spcPts val="800"/>
              </a:spcAft>
              <a:buClr>
                <a:schemeClr val="tx1"/>
              </a:buClr>
              <a:buFontTx/>
              <a:buChar char="•"/>
              <a:tabLst>
                <a:tab pos="5715000" algn="l"/>
              </a:tabLst>
              <a:defRPr/>
            </a:pPr>
            <a:r>
              <a:rPr lang="en-US" sz="1200">
                <a:solidFill>
                  <a:srgbClr val="3C3C3B"/>
                </a:solidFill>
                <a:cs typeface="Arial"/>
              </a:rPr>
              <a:t>Investigate inbuilt Azure Active Directory instead of </a:t>
            </a:r>
            <a:r>
              <a:rPr lang="en-US" sz="1200" err="1">
                <a:solidFill>
                  <a:srgbClr val="3C3C3B"/>
                </a:solidFill>
                <a:cs typeface="Arial"/>
              </a:rPr>
              <a:t>Keycloak</a:t>
            </a:r>
            <a:endParaRPr lang="en-US" sz="1200">
              <a:solidFill>
                <a:srgbClr val="3C3C3B"/>
              </a:solidFill>
              <a:cs typeface="Arial"/>
            </a:endParaRPr>
          </a:p>
          <a:p>
            <a:pPr marL="115570" indent="-115570" defTabSz="1106488" fontAlgn="base">
              <a:spcBef>
                <a:spcPts val="0"/>
              </a:spcBef>
              <a:spcAft>
                <a:spcPts val="800"/>
              </a:spcAft>
              <a:buClr>
                <a:schemeClr val="tx1"/>
              </a:buClr>
              <a:buFontTx/>
              <a:buChar char="•"/>
              <a:tabLst>
                <a:tab pos="5715000" algn="l"/>
              </a:tabLst>
              <a:defRPr/>
            </a:pPr>
            <a:r>
              <a:rPr lang="en-US" b="1">
                <a:solidFill>
                  <a:srgbClr val="3C3C3B"/>
                </a:solidFill>
                <a:cs typeface="Arial"/>
              </a:rPr>
              <a:t>Time-to-Prod: </a:t>
            </a:r>
            <a:r>
              <a:rPr lang="en-US">
                <a:solidFill>
                  <a:srgbClr val="3C3C3B"/>
                </a:solidFill>
                <a:cs typeface="Arial"/>
              </a:rPr>
              <a:t>Implement CI/CD within CDC environment to improve release quality and accelerate time to production</a:t>
            </a:r>
          </a:p>
          <a:p>
            <a:pPr marL="115570" indent="-115570" defTabSz="1106488" fontAlgn="base">
              <a:spcBef>
                <a:spcPts val="0"/>
              </a:spcBef>
              <a:spcAft>
                <a:spcPts val="800"/>
              </a:spcAft>
              <a:buClr>
                <a:schemeClr val="tx1"/>
              </a:buClr>
              <a:buFontTx/>
              <a:buChar char="•"/>
              <a:tabLst>
                <a:tab pos="5715000" algn="l"/>
              </a:tabLst>
              <a:defRPr/>
            </a:pPr>
            <a:r>
              <a:rPr lang="en-US" b="1">
                <a:solidFill>
                  <a:srgbClr val="3C3C3B"/>
                </a:solidFill>
                <a:cs typeface="Arial"/>
              </a:rPr>
              <a:t>Testing</a:t>
            </a:r>
            <a:r>
              <a:rPr lang="en-US">
                <a:solidFill>
                  <a:srgbClr val="3C3C3B"/>
                </a:solidFill>
                <a:cs typeface="Arial"/>
              </a:rPr>
              <a:t>: Expand application unit testing coverage to improve code and release quality</a:t>
            </a:r>
            <a:endParaRPr lang="en-US" sz="1800"/>
          </a:p>
        </p:txBody>
      </p:sp>
    </p:spTree>
    <p:extLst>
      <p:ext uri="{BB962C8B-B14F-4D97-AF65-F5344CB8AC3E}">
        <p14:creationId xmlns:p14="http://schemas.microsoft.com/office/powerpoint/2010/main" val="1583962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3C178AD-02A1-4942-8024-FBC4657A120C}"/>
              </a:ext>
            </a:extLst>
          </p:cNvPr>
          <p:cNvSpPr>
            <a:spLocks noGrp="1"/>
          </p:cNvSpPr>
          <p:nvPr>
            <p:ph type="body" sz="quarter" idx="10"/>
          </p:nvPr>
        </p:nvSpPr>
        <p:spPr/>
        <p:txBody>
          <a:bodyPr/>
          <a:lstStyle/>
          <a:p>
            <a:r>
              <a:rPr lang="en-US"/>
              <a:t>Appendix</a:t>
            </a:r>
          </a:p>
        </p:txBody>
      </p:sp>
    </p:spTree>
    <p:extLst>
      <p:ext uri="{BB962C8B-B14F-4D97-AF65-F5344CB8AC3E}">
        <p14:creationId xmlns:p14="http://schemas.microsoft.com/office/powerpoint/2010/main" val="1232022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3BF32-346D-D848-BCA0-2E76713755FF}"/>
              </a:ext>
            </a:extLst>
          </p:cNvPr>
          <p:cNvSpPr>
            <a:spLocks noGrp="1"/>
          </p:cNvSpPr>
          <p:nvPr>
            <p:ph type="title"/>
          </p:nvPr>
        </p:nvSpPr>
        <p:spPr>
          <a:xfrm>
            <a:off x="681926" y="564948"/>
            <a:ext cx="11252200" cy="451866"/>
          </a:xfrm>
        </p:spPr>
        <p:txBody>
          <a:bodyPr/>
          <a:lstStyle/>
          <a:p>
            <a:r>
              <a:rPr lang="en-US" sz="3600"/>
              <a:t>Infrastructure Environment: Future State</a:t>
            </a:r>
          </a:p>
        </p:txBody>
      </p:sp>
      <p:sp>
        <p:nvSpPr>
          <p:cNvPr id="37" name="Rectangle 36">
            <a:extLst>
              <a:ext uri="{FF2B5EF4-FFF2-40B4-BE49-F238E27FC236}">
                <a16:creationId xmlns:a16="http://schemas.microsoft.com/office/drawing/2014/main" id="{DD1B831F-33DC-734F-A585-F0E1967365DF}"/>
              </a:ext>
            </a:extLst>
          </p:cNvPr>
          <p:cNvSpPr/>
          <p:nvPr/>
        </p:nvSpPr>
        <p:spPr>
          <a:xfrm>
            <a:off x="4764337" y="3857388"/>
            <a:ext cx="914400" cy="284117"/>
          </a:xfrm>
          <a:prstGeom prst="rect">
            <a:avLst/>
          </a:prstGeom>
          <a:noFill/>
          <a:ln w="6350" algn="ctr">
            <a:noFill/>
            <a:miter lim="800000"/>
            <a:headEnd type="none" w="sm" len="sm"/>
            <a:tailEnd type="none" w="sm" len="sm"/>
          </a:ln>
        </p:spPr>
        <p:txBody>
          <a:bodyPr wrap="square" lIns="0" tIns="0" rIns="0" bIns="0" anchor="ctr"/>
          <a:lstStyle/>
          <a:p>
            <a:pPr algn="ctr"/>
            <a:r>
              <a:rPr lang="en-US" sz="850"/>
              <a:t>Data Catalog</a:t>
            </a:r>
          </a:p>
        </p:txBody>
      </p:sp>
      <p:sp>
        <p:nvSpPr>
          <p:cNvPr id="38" name="Rectangle 37">
            <a:extLst>
              <a:ext uri="{FF2B5EF4-FFF2-40B4-BE49-F238E27FC236}">
                <a16:creationId xmlns:a16="http://schemas.microsoft.com/office/drawing/2014/main" id="{05632F35-8B59-8140-B651-8565E2392470}"/>
              </a:ext>
            </a:extLst>
          </p:cNvPr>
          <p:cNvSpPr/>
          <p:nvPr/>
        </p:nvSpPr>
        <p:spPr>
          <a:xfrm>
            <a:off x="2271668" y="3794343"/>
            <a:ext cx="1000752" cy="462977"/>
          </a:xfrm>
          <a:prstGeom prst="rect">
            <a:avLst/>
          </a:prstGeom>
          <a:noFill/>
          <a:ln w="6350" algn="ctr">
            <a:noFill/>
            <a:miter lim="800000"/>
            <a:headEnd type="none" w="sm" len="sm"/>
            <a:tailEnd type="none" w="sm" len="sm"/>
          </a:ln>
        </p:spPr>
        <p:txBody>
          <a:bodyPr wrap="square" lIns="0" tIns="0" rIns="0" bIns="0" anchor="ctr"/>
          <a:lstStyle/>
          <a:p>
            <a:pPr algn="ctr"/>
            <a:r>
              <a:rPr lang="en-US" sz="850"/>
              <a:t>Ingestion Pipeline</a:t>
            </a:r>
          </a:p>
        </p:txBody>
      </p:sp>
      <p:cxnSp>
        <p:nvCxnSpPr>
          <p:cNvPr id="39" name="Straight Connector 74">
            <a:extLst>
              <a:ext uri="{FF2B5EF4-FFF2-40B4-BE49-F238E27FC236}">
                <a16:creationId xmlns:a16="http://schemas.microsoft.com/office/drawing/2014/main" id="{F00F5ECB-AAE7-1849-87EF-D0E66D1EF98E}"/>
              </a:ext>
            </a:extLst>
          </p:cNvPr>
          <p:cNvCxnSpPr>
            <a:cxnSpLocks/>
          </p:cNvCxnSpPr>
          <p:nvPr/>
        </p:nvCxnSpPr>
        <p:spPr>
          <a:xfrm flipV="1">
            <a:off x="1412693" y="3570323"/>
            <a:ext cx="1111568" cy="676"/>
          </a:xfrm>
          <a:prstGeom prst="straightConnector1">
            <a:avLst/>
          </a:prstGeom>
          <a:noFill/>
          <a:ln w="22225" cmpd="sng">
            <a:solidFill>
              <a:srgbClr val="D6D6D6"/>
            </a:solidFill>
            <a:tailEnd type="triangle"/>
          </a:ln>
          <a:effectLst/>
        </p:spPr>
      </p:cxnSp>
      <p:cxnSp>
        <p:nvCxnSpPr>
          <p:cNvPr id="40" name="Straight Connector 74">
            <a:extLst>
              <a:ext uri="{FF2B5EF4-FFF2-40B4-BE49-F238E27FC236}">
                <a16:creationId xmlns:a16="http://schemas.microsoft.com/office/drawing/2014/main" id="{EC6536AC-6994-D54A-A083-FDC11AEFBA6C}"/>
              </a:ext>
            </a:extLst>
          </p:cNvPr>
          <p:cNvCxnSpPr>
            <a:cxnSpLocks/>
          </p:cNvCxnSpPr>
          <p:nvPr/>
        </p:nvCxnSpPr>
        <p:spPr>
          <a:xfrm flipV="1">
            <a:off x="1496998" y="3570323"/>
            <a:ext cx="1027263" cy="985696"/>
          </a:xfrm>
          <a:prstGeom prst="bentConnector3">
            <a:avLst>
              <a:gd name="adj1" fmla="val 68002"/>
            </a:avLst>
          </a:prstGeom>
          <a:noFill/>
          <a:ln w="22225" cmpd="sng">
            <a:solidFill>
              <a:srgbClr val="D6D6D6"/>
            </a:solidFill>
            <a:tailEnd type="triangle"/>
          </a:ln>
          <a:effectLst/>
        </p:spPr>
      </p:cxnSp>
      <p:cxnSp>
        <p:nvCxnSpPr>
          <p:cNvPr id="41" name="Straight Connector 74">
            <a:extLst>
              <a:ext uri="{FF2B5EF4-FFF2-40B4-BE49-F238E27FC236}">
                <a16:creationId xmlns:a16="http://schemas.microsoft.com/office/drawing/2014/main" id="{1197DAEB-AB4F-CA40-95E5-439722894C4C}"/>
              </a:ext>
            </a:extLst>
          </p:cNvPr>
          <p:cNvCxnSpPr>
            <a:cxnSpLocks/>
          </p:cNvCxnSpPr>
          <p:nvPr/>
        </p:nvCxnSpPr>
        <p:spPr>
          <a:xfrm flipV="1">
            <a:off x="3101664" y="3551848"/>
            <a:ext cx="437683" cy="2014"/>
          </a:xfrm>
          <a:prstGeom prst="bentConnector3">
            <a:avLst>
              <a:gd name="adj1" fmla="val 50000"/>
            </a:avLst>
          </a:prstGeom>
          <a:noFill/>
          <a:ln w="22225" cmpd="sng">
            <a:solidFill>
              <a:srgbClr val="D6D6D6"/>
            </a:solidFill>
            <a:tailEnd type="triangle"/>
          </a:ln>
          <a:effectLst/>
        </p:spPr>
      </p:cxnSp>
      <p:sp>
        <p:nvSpPr>
          <p:cNvPr id="42" name="Rectangle 41">
            <a:extLst>
              <a:ext uri="{FF2B5EF4-FFF2-40B4-BE49-F238E27FC236}">
                <a16:creationId xmlns:a16="http://schemas.microsoft.com/office/drawing/2014/main" id="{4025E3F6-FC87-D64A-8D31-EBA48BFCCD26}"/>
              </a:ext>
            </a:extLst>
          </p:cNvPr>
          <p:cNvSpPr/>
          <p:nvPr/>
        </p:nvSpPr>
        <p:spPr>
          <a:xfrm>
            <a:off x="625990" y="3839727"/>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Provider APIs</a:t>
            </a:r>
          </a:p>
        </p:txBody>
      </p:sp>
      <p:sp>
        <p:nvSpPr>
          <p:cNvPr id="43" name="Rectangle 42">
            <a:extLst>
              <a:ext uri="{FF2B5EF4-FFF2-40B4-BE49-F238E27FC236}">
                <a16:creationId xmlns:a16="http://schemas.microsoft.com/office/drawing/2014/main" id="{AB89DE2C-954E-C54A-A829-04E6448EEF89}"/>
              </a:ext>
            </a:extLst>
          </p:cNvPr>
          <p:cNvSpPr/>
          <p:nvPr/>
        </p:nvSpPr>
        <p:spPr>
          <a:xfrm>
            <a:off x="636886" y="4833443"/>
            <a:ext cx="914400" cy="155187"/>
          </a:xfrm>
          <a:prstGeom prst="rect">
            <a:avLst/>
          </a:prstGeom>
          <a:noFill/>
          <a:ln w="6350" algn="ctr">
            <a:noFill/>
            <a:miter lim="800000"/>
            <a:headEnd type="none" w="sm" len="sm"/>
            <a:tailEnd type="none" w="sm" len="sm"/>
          </a:ln>
        </p:spPr>
        <p:txBody>
          <a:bodyPr wrap="square" lIns="0" tIns="0" rIns="0" bIns="0" anchor="ctr"/>
          <a:lstStyle/>
          <a:p>
            <a:pPr algn="ctr"/>
            <a:r>
              <a:rPr lang="en-US" sz="850"/>
              <a:t>Batch</a:t>
            </a:r>
          </a:p>
        </p:txBody>
      </p:sp>
      <p:sp>
        <p:nvSpPr>
          <p:cNvPr id="44" name="Rectangle 43">
            <a:extLst>
              <a:ext uri="{FF2B5EF4-FFF2-40B4-BE49-F238E27FC236}">
                <a16:creationId xmlns:a16="http://schemas.microsoft.com/office/drawing/2014/main" id="{6B719D6D-E85C-C449-A648-B1FCC35551E8}"/>
              </a:ext>
            </a:extLst>
          </p:cNvPr>
          <p:cNvSpPr/>
          <p:nvPr/>
        </p:nvSpPr>
        <p:spPr>
          <a:xfrm>
            <a:off x="619690" y="2845731"/>
            <a:ext cx="914400" cy="184677"/>
          </a:xfrm>
          <a:prstGeom prst="rect">
            <a:avLst/>
          </a:prstGeom>
          <a:noFill/>
          <a:ln w="6350" algn="ctr">
            <a:noFill/>
            <a:miter lim="800000"/>
            <a:headEnd type="none" w="sm" len="sm"/>
            <a:tailEnd type="none" w="sm" len="sm"/>
          </a:ln>
        </p:spPr>
        <p:txBody>
          <a:bodyPr wrap="square" lIns="0" tIns="0" rIns="0" bIns="0" anchor="ctr"/>
          <a:lstStyle/>
          <a:p>
            <a:pPr algn="ctr"/>
            <a:r>
              <a:rPr lang="en-US" sz="850"/>
              <a:t>Stream Data</a:t>
            </a:r>
          </a:p>
        </p:txBody>
      </p:sp>
      <p:sp>
        <p:nvSpPr>
          <p:cNvPr id="45" name="Rectangle 44">
            <a:extLst>
              <a:ext uri="{FF2B5EF4-FFF2-40B4-BE49-F238E27FC236}">
                <a16:creationId xmlns:a16="http://schemas.microsoft.com/office/drawing/2014/main" id="{47FAF30C-0DAD-2744-BF06-C3C3D1DC3046}"/>
              </a:ext>
            </a:extLst>
          </p:cNvPr>
          <p:cNvSpPr/>
          <p:nvPr/>
        </p:nvSpPr>
        <p:spPr>
          <a:xfrm>
            <a:off x="3466593" y="3894682"/>
            <a:ext cx="914400" cy="176109"/>
          </a:xfrm>
          <a:prstGeom prst="rect">
            <a:avLst/>
          </a:prstGeom>
          <a:noFill/>
          <a:ln w="6350" algn="ctr">
            <a:noFill/>
            <a:miter lim="800000"/>
            <a:headEnd type="none" w="sm" len="sm"/>
            <a:tailEnd type="none" w="sm" len="sm"/>
          </a:ln>
        </p:spPr>
        <p:txBody>
          <a:bodyPr wrap="square" lIns="0" tIns="0" rIns="0" bIns="0" anchor="ctr"/>
          <a:lstStyle/>
          <a:p>
            <a:pPr algn="ctr"/>
            <a:r>
              <a:rPr lang="en-US" sz="850"/>
              <a:t>Object Storage</a:t>
            </a:r>
          </a:p>
        </p:txBody>
      </p:sp>
      <p:sp>
        <p:nvSpPr>
          <p:cNvPr id="46" name="Rectangle 45">
            <a:extLst>
              <a:ext uri="{FF2B5EF4-FFF2-40B4-BE49-F238E27FC236}">
                <a16:creationId xmlns:a16="http://schemas.microsoft.com/office/drawing/2014/main" id="{09616488-B681-9743-BDAC-8C94AEE6A7E2}"/>
              </a:ext>
            </a:extLst>
          </p:cNvPr>
          <p:cNvSpPr/>
          <p:nvPr/>
        </p:nvSpPr>
        <p:spPr>
          <a:xfrm>
            <a:off x="6766348" y="4995042"/>
            <a:ext cx="914400" cy="201307"/>
          </a:xfrm>
          <a:prstGeom prst="rect">
            <a:avLst/>
          </a:prstGeom>
          <a:noFill/>
          <a:ln w="6350" algn="ctr">
            <a:noFill/>
            <a:miter lim="800000"/>
            <a:headEnd type="none" w="sm" len="sm"/>
            <a:tailEnd type="none" w="sm" len="sm"/>
          </a:ln>
        </p:spPr>
        <p:txBody>
          <a:bodyPr wrap="square" lIns="0" tIns="0" rIns="0" bIns="0" anchor="ctr"/>
          <a:lstStyle/>
          <a:p>
            <a:pPr algn="ctr"/>
            <a:r>
              <a:rPr lang="en-US" sz="850"/>
              <a:t>Purposeful</a:t>
            </a:r>
          </a:p>
          <a:p>
            <a:pPr algn="ctr"/>
            <a:r>
              <a:rPr lang="en-US" sz="850"/>
              <a:t>Data Warehouse</a:t>
            </a:r>
          </a:p>
        </p:txBody>
      </p:sp>
      <p:sp>
        <p:nvSpPr>
          <p:cNvPr id="47" name="Rectangle 46">
            <a:extLst>
              <a:ext uri="{FF2B5EF4-FFF2-40B4-BE49-F238E27FC236}">
                <a16:creationId xmlns:a16="http://schemas.microsoft.com/office/drawing/2014/main" id="{E3D0CCCF-549B-E54F-B211-1D00217A6C66}"/>
              </a:ext>
            </a:extLst>
          </p:cNvPr>
          <p:cNvSpPr/>
          <p:nvPr/>
        </p:nvSpPr>
        <p:spPr>
          <a:xfrm>
            <a:off x="4763317" y="2827231"/>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Orchestration / Processing</a:t>
            </a:r>
          </a:p>
        </p:txBody>
      </p:sp>
      <p:cxnSp>
        <p:nvCxnSpPr>
          <p:cNvPr id="48" name="Straight Connector 74">
            <a:extLst>
              <a:ext uri="{FF2B5EF4-FFF2-40B4-BE49-F238E27FC236}">
                <a16:creationId xmlns:a16="http://schemas.microsoft.com/office/drawing/2014/main" id="{F787A801-51A0-CE45-A9E4-8FAE55ED4D29}"/>
              </a:ext>
            </a:extLst>
          </p:cNvPr>
          <p:cNvCxnSpPr>
            <a:cxnSpLocks/>
          </p:cNvCxnSpPr>
          <p:nvPr/>
        </p:nvCxnSpPr>
        <p:spPr>
          <a:xfrm flipV="1">
            <a:off x="10769601" y="5412887"/>
            <a:ext cx="730259" cy="583869"/>
          </a:xfrm>
          <a:prstGeom prst="bentConnector3">
            <a:avLst>
              <a:gd name="adj1" fmla="val 99265"/>
            </a:avLst>
          </a:prstGeom>
          <a:noFill/>
          <a:ln w="22225" cmpd="sng">
            <a:solidFill>
              <a:srgbClr val="D6D6D6"/>
            </a:solidFill>
            <a:tailEnd type="triangle"/>
          </a:ln>
          <a:effectLst/>
        </p:spPr>
      </p:cxnSp>
      <p:cxnSp>
        <p:nvCxnSpPr>
          <p:cNvPr id="49" name="Straight Connector 74">
            <a:extLst>
              <a:ext uri="{FF2B5EF4-FFF2-40B4-BE49-F238E27FC236}">
                <a16:creationId xmlns:a16="http://schemas.microsoft.com/office/drawing/2014/main" id="{E14F4660-17A3-E742-BB6A-13B7C45FBF98}"/>
              </a:ext>
            </a:extLst>
          </p:cNvPr>
          <p:cNvCxnSpPr>
            <a:cxnSpLocks/>
          </p:cNvCxnSpPr>
          <p:nvPr/>
        </p:nvCxnSpPr>
        <p:spPr>
          <a:xfrm>
            <a:off x="1528197" y="2600744"/>
            <a:ext cx="996064" cy="969579"/>
          </a:xfrm>
          <a:prstGeom prst="bentConnector3">
            <a:avLst>
              <a:gd name="adj1" fmla="val 67000"/>
            </a:avLst>
          </a:prstGeom>
          <a:noFill/>
          <a:ln w="22225" cmpd="sng">
            <a:solidFill>
              <a:srgbClr val="D6D6D6"/>
            </a:solidFill>
            <a:tailEnd type="triangle"/>
          </a:ln>
          <a:effectLst/>
        </p:spPr>
      </p:cxnSp>
      <p:sp>
        <p:nvSpPr>
          <p:cNvPr id="50" name="Rectangle 49">
            <a:extLst>
              <a:ext uri="{FF2B5EF4-FFF2-40B4-BE49-F238E27FC236}">
                <a16:creationId xmlns:a16="http://schemas.microsoft.com/office/drawing/2014/main" id="{15E284C3-CF77-8044-A7AE-93B55E9C1B0E}"/>
              </a:ext>
            </a:extLst>
          </p:cNvPr>
          <p:cNvSpPr/>
          <p:nvPr/>
        </p:nvSpPr>
        <p:spPr>
          <a:xfrm>
            <a:off x="8437293" y="3768609"/>
            <a:ext cx="914400" cy="316441"/>
          </a:xfrm>
          <a:prstGeom prst="rect">
            <a:avLst/>
          </a:prstGeom>
          <a:noFill/>
          <a:ln w="6350" algn="ctr">
            <a:noFill/>
            <a:miter lim="800000"/>
            <a:headEnd type="none" w="sm" len="sm"/>
            <a:tailEnd type="none" w="sm" len="sm"/>
          </a:ln>
        </p:spPr>
        <p:txBody>
          <a:bodyPr wrap="square" lIns="0" tIns="0" rIns="0" bIns="0" anchor="ctr"/>
          <a:lstStyle/>
          <a:p>
            <a:pPr algn="ctr"/>
            <a:r>
              <a:rPr lang="en-US" sz="850"/>
              <a:t>Data Reporting &amp; Visualizations</a:t>
            </a:r>
          </a:p>
        </p:txBody>
      </p:sp>
      <p:sp>
        <p:nvSpPr>
          <p:cNvPr id="55" name="Rectangle 54">
            <a:extLst>
              <a:ext uri="{FF2B5EF4-FFF2-40B4-BE49-F238E27FC236}">
                <a16:creationId xmlns:a16="http://schemas.microsoft.com/office/drawing/2014/main" id="{36D57EA2-AB3A-9D4C-AD0E-0E49617A1144}"/>
              </a:ext>
            </a:extLst>
          </p:cNvPr>
          <p:cNvSpPr/>
          <p:nvPr/>
        </p:nvSpPr>
        <p:spPr>
          <a:xfrm>
            <a:off x="10968713" y="4896812"/>
            <a:ext cx="914400" cy="389584"/>
          </a:xfrm>
          <a:prstGeom prst="rect">
            <a:avLst/>
          </a:prstGeom>
          <a:noFill/>
          <a:ln w="6350" algn="ctr">
            <a:noFill/>
            <a:miter lim="800000"/>
            <a:headEnd type="none" w="sm" len="sm"/>
            <a:tailEnd type="none" w="sm" len="sm"/>
          </a:ln>
        </p:spPr>
        <p:txBody>
          <a:bodyPr wrap="square" lIns="0" tIns="0" rIns="0" bIns="0" anchor="ctr"/>
          <a:lstStyle/>
          <a:p>
            <a:pPr algn="ctr"/>
            <a:r>
              <a:rPr lang="en-US" sz="850"/>
              <a:t>Systems &amp; Custom Applications</a:t>
            </a:r>
          </a:p>
        </p:txBody>
      </p:sp>
      <p:sp>
        <p:nvSpPr>
          <p:cNvPr id="56" name="Rectangle 55">
            <a:extLst>
              <a:ext uri="{FF2B5EF4-FFF2-40B4-BE49-F238E27FC236}">
                <a16:creationId xmlns:a16="http://schemas.microsoft.com/office/drawing/2014/main" id="{C45B0F60-4814-0849-A486-0E8AD2C9005C}"/>
              </a:ext>
            </a:extLst>
          </p:cNvPr>
          <p:cNvSpPr/>
          <p:nvPr/>
        </p:nvSpPr>
        <p:spPr>
          <a:xfrm>
            <a:off x="4763317" y="4962420"/>
            <a:ext cx="914400" cy="229472"/>
          </a:xfrm>
          <a:prstGeom prst="rect">
            <a:avLst/>
          </a:prstGeom>
          <a:noFill/>
          <a:ln w="6350" algn="ctr">
            <a:noFill/>
            <a:miter lim="800000"/>
            <a:headEnd type="none" w="sm" len="sm"/>
            <a:tailEnd type="none" w="sm" len="sm"/>
          </a:ln>
        </p:spPr>
        <p:txBody>
          <a:bodyPr wrap="square" lIns="0" tIns="0" rIns="0" bIns="0" anchor="ctr"/>
          <a:lstStyle/>
          <a:p>
            <a:pPr algn="ctr"/>
            <a:r>
              <a:rPr lang="en-US" sz="850"/>
              <a:t>Search Engine</a:t>
            </a:r>
          </a:p>
        </p:txBody>
      </p:sp>
      <p:cxnSp>
        <p:nvCxnSpPr>
          <p:cNvPr id="58" name="Straight Connector 74">
            <a:extLst>
              <a:ext uri="{FF2B5EF4-FFF2-40B4-BE49-F238E27FC236}">
                <a16:creationId xmlns:a16="http://schemas.microsoft.com/office/drawing/2014/main" id="{BAFCF1B3-B8AB-9742-A7F3-2C821440AD39}"/>
              </a:ext>
            </a:extLst>
          </p:cNvPr>
          <p:cNvCxnSpPr>
            <a:cxnSpLocks/>
          </p:cNvCxnSpPr>
          <p:nvPr/>
        </p:nvCxnSpPr>
        <p:spPr>
          <a:xfrm>
            <a:off x="7595031" y="3438520"/>
            <a:ext cx="794030" cy="0"/>
          </a:xfrm>
          <a:prstGeom prst="straightConnector1">
            <a:avLst/>
          </a:prstGeom>
          <a:noFill/>
          <a:ln w="22225" cmpd="sng">
            <a:solidFill>
              <a:srgbClr val="D6D6D6"/>
            </a:solidFill>
            <a:tailEnd type="triangle"/>
          </a:ln>
          <a:effectLst/>
        </p:spPr>
      </p:cxnSp>
      <p:cxnSp>
        <p:nvCxnSpPr>
          <p:cNvPr id="59" name="Straight Connector 74">
            <a:extLst>
              <a:ext uri="{FF2B5EF4-FFF2-40B4-BE49-F238E27FC236}">
                <a16:creationId xmlns:a16="http://schemas.microsoft.com/office/drawing/2014/main" id="{E362F607-65B1-DF47-B27A-52D730A0FA73}"/>
              </a:ext>
            </a:extLst>
          </p:cNvPr>
          <p:cNvCxnSpPr>
            <a:cxnSpLocks/>
          </p:cNvCxnSpPr>
          <p:nvPr/>
        </p:nvCxnSpPr>
        <p:spPr>
          <a:xfrm flipV="1">
            <a:off x="7741807" y="4745025"/>
            <a:ext cx="2226056" cy="1"/>
          </a:xfrm>
          <a:prstGeom prst="bentConnector3">
            <a:avLst>
              <a:gd name="adj1" fmla="val 50000"/>
            </a:avLst>
          </a:prstGeom>
          <a:noFill/>
          <a:ln w="22225" cmpd="sng">
            <a:solidFill>
              <a:srgbClr val="D6D6D6"/>
            </a:solidFill>
            <a:tailEnd type="triangle"/>
          </a:ln>
          <a:effectLst/>
        </p:spPr>
      </p:cxnSp>
      <p:grpSp>
        <p:nvGrpSpPr>
          <p:cNvPr id="67" name="Group 66">
            <a:extLst>
              <a:ext uri="{FF2B5EF4-FFF2-40B4-BE49-F238E27FC236}">
                <a16:creationId xmlns:a16="http://schemas.microsoft.com/office/drawing/2014/main" id="{5ED0A49D-42DC-0A48-AA89-0D1DB0269882}"/>
              </a:ext>
            </a:extLst>
          </p:cNvPr>
          <p:cNvGrpSpPr/>
          <p:nvPr/>
        </p:nvGrpSpPr>
        <p:grpSpPr>
          <a:xfrm>
            <a:off x="3027683" y="4297122"/>
            <a:ext cx="1775053" cy="751513"/>
            <a:chOff x="5302152" y="1990215"/>
            <a:chExt cx="1756474" cy="751513"/>
          </a:xfrm>
        </p:grpSpPr>
        <p:sp>
          <p:nvSpPr>
            <p:cNvPr id="68" name="TextBox 67">
              <a:extLst>
                <a:ext uri="{FF2B5EF4-FFF2-40B4-BE49-F238E27FC236}">
                  <a16:creationId xmlns:a16="http://schemas.microsoft.com/office/drawing/2014/main" id="{93B20400-B2C5-CB47-A676-C48E811EC749}"/>
                </a:ext>
              </a:extLst>
            </p:cNvPr>
            <p:cNvSpPr txBox="1"/>
            <p:nvPr/>
          </p:nvSpPr>
          <p:spPr>
            <a:xfrm>
              <a:off x="5396764" y="1990215"/>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050">
                  <a:solidFill>
                    <a:schemeClr val="tx1"/>
                  </a:solidFill>
                  <a:latin typeface="+mn-lt"/>
                </a:rPr>
                <a:t>Storage</a:t>
              </a:r>
            </a:p>
          </p:txBody>
        </p:sp>
        <p:sp>
          <p:nvSpPr>
            <p:cNvPr id="69" name="TextBox 68">
              <a:extLst>
                <a:ext uri="{FF2B5EF4-FFF2-40B4-BE49-F238E27FC236}">
                  <a16:creationId xmlns:a16="http://schemas.microsoft.com/office/drawing/2014/main" id="{CA153230-6DF2-5B43-B64A-E17058723E62}"/>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800" b="0">
                  <a:solidFill>
                    <a:schemeClr val="tx1"/>
                  </a:solidFill>
                  <a:latin typeface="+mn-lt"/>
                </a:rPr>
                <a:t>Highly scalable enterprise data warehouses for data mart or performant analytic usages</a:t>
              </a:r>
            </a:p>
          </p:txBody>
        </p:sp>
      </p:grpSp>
      <p:grpSp>
        <p:nvGrpSpPr>
          <p:cNvPr id="26" name="Group 25">
            <a:extLst>
              <a:ext uri="{FF2B5EF4-FFF2-40B4-BE49-F238E27FC236}">
                <a16:creationId xmlns:a16="http://schemas.microsoft.com/office/drawing/2014/main" id="{73EB0A19-1DA8-3B47-BAA6-7E1DFD11CEE1}"/>
              </a:ext>
            </a:extLst>
          </p:cNvPr>
          <p:cNvGrpSpPr/>
          <p:nvPr/>
        </p:nvGrpSpPr>
        <p:grpSpPr>
          <a:xfrm>
            <a:off x="2524261" y="3312014"/>
            <a:ext cx="497776" cy="517982"/>
            <a:chOff x="3049518" y="2956489"/>
            <a:chExt cx="497776" cy="517982"/>
          </a:xfrm>
        </p:grpSpPr>
        <p:sp>
          <p:nvSpPr>
            <p:cNvPr id="79" name="Freeform 664">
              <a:extLst>
                <a:ext uri="{FF2B5EF4-FFF2-40B4-BE49-F238E27FC236}">
                  <a16:creationId xmlns:a16="http://schemas.microsoft.com/office/drawing/2014/main" id="{867DD012-E0E0-B543-9433-C1948F7AF607}"/>
                </a:ext>
              </a:extLst>
            </p:cNvPr>
            <p:cNvSpPr>
              <a:spLocks/>
            </p:cNvSpPr>
            <p:nvPr/>
          </p:nvSpPr>
          <p:spPr bwMode="auto">
            <a:xfrm>
              <a:off x="3120532" y="3048855"/>
              <a:ext cx="309983" cy="334385"/>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0" name="Freeform 244">
              <a:extLst>
                <a:ext uri="{FF2B5EF4-FFF2-40B4-BE49-F238E27FC236}">
                  <a16:creationId xmlns:a16="http://schemas.microsoft.com/office/drawing/2014/main" id="{5DBA7128-54FB-9E42-8F6F-EA9078413086}"/>
                </a:ext>
              </a:extLst>
            </p:cNvPr>
            <p:cNvSpPr>
              <a:spLocks noEditPoints="1"/>
            </p:cNvSpPr>
            <p:nvPr/>
          </p:nvSpPr>
          <p:spPr bwMode="auto">
            <a:xfrm>
              <a:off x="3049518" y="295648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1"/>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1" name="Group 80">
            <a:extLst>
              <a:ext uri="{FF2B5EF4-FFF2-40B4-BE49-F238E27FC236}">
                <a16:creationId xmlns:a16="http://schemas.microsoft.com/office/drawing/2014/main" id="{DED0CF62-2826-7E49-AB48-F245025ADEB5}"/>
              </a:ext>
            </a:extLst>
          </p:cNvPr>
          <p:cNvGrpSpPr/>
          <p:nvPr/>
        </p:nvGrpSpPr>
        <p:grpSpPr>
          <a:xfrm>
            <a:off x="832510" y="2298548"/>
            <a:ext cx="497776" cy="517982"/>
            <a:chOff x="914473" y="2835335"/>
            <a:chExt cx="497776" cy="517982"/>
          </a:xfrm>
        </p:grpSpPr>
        <p:grpSp>
          <p:nvGrpSpPr>
            <p:cNvPr id="82" name="Group 81">
              <a:extLst>
                <a:ext uri="{FF2B5EF4-FFF2-40B4-BE49-F238E27FC236}">
                  <a16:creationId xmlns:a16="http://schemas.microsoft.com/office/drawing/2014/main" id="{942C8B6A-9C46-5B43-94D5-E4783E354B53}"/>
                </a:ext>
              </a:extLst>
            </p:cNvPr>
            <p:cNvGrpSpPr/>
            <p:nvPr/>
          </p:nvGrpSpPr>
          <p:grpSpPr>
            <a:xfrm>
              <a:off x="1047143" y="2923002"/>
              <a:ext cx="249436" cy="328107"/>
              <a:chOff x="3727450" y="5280026"/>
              <a:chExt cx="627063" cy="781050"/>
            </a:xfrm>
          </p:grpSpPr>
          <p:sp>
            <p:nvSpPr>
              <p:cNvPr id="84" name="Freeform 45">
                <a:extLst>
                  <a:ext uri="{FF2B5EF4-FFF2-40B4-BE49-F238E27FC236}">
                    <a16:creationId xmlns:a16="http://schemas.microsoft.com/office/drawing/2014/main" id="{6C26CDEC-2B35-AC49-A42C-57241A9922A4}"/>
                  </a:ext>
                </a:extLst>
              </p:cNvPr>
              <p:cNvSpPr>
                <a:spLocks/>
              </p:cNvSpPr>
              <p:nvPr/>
            </p:nvSpPr>
            <p:spPr bwMode="auto">
              <a:xfrm>
                <a:off x="3848100" y="5553076"/>
                <a:ext cx="71438" cy="177800"/>
              </a:xfrm>
              <a:custGeom>
                <a:avLst/>
                <a:gdLst>
                  <a:gd name="T0" fmla="*/ 6 w 17"/>
                  <a:gd name="T1" fmla="*/ 10 h 43"/>
                  <a:gd name="T2" fmla="*/ 9 w 17"/>
                  <a:gd name="T3" fmla="*/ 9 h 43"/>
                  <a:gd name="T4" fmla="*/ 9 w 17"/>
                  <a:gd name="T5" fmla="*/ 39 h 43"/>
                  <a:gd name="T6" fmla="*/ 13 w 17"/>
                  <a:gd name="T7" fmla="*/ 43 h 43"/>
                  <a:gd name="T8" fmla="*/ 17 w 17"/>
                  <a:gd name="T9" fmla="*/ 39 h 43"/>
                  <a:gd name="T10" fmla="*/ 17 w 17"/>
                  <a:gd name="T11" fmla="*/ 4 h 43"/>
                  <a:gd name="T12" fmla="*/ 13 w 17"/>
                  <a:gd name="T13" fmla="*/ 0 h 43"/>
                  <a:gd name="T14" fmla="*/ 10 w 17"/>
                  <a:gd name="T15" fmla="*/ 1 h 43"/>
                  <a:gd name="T16" fmla="*/ 3 w 17"/>
                  <a:gd name="T17" fmla="*/ 3 h 43"/>
                  <a:gd name="T18" fmla="*/ 0 w 17"/>
                  <a:gd name="T19" fmla="*/ 6 h 43"/>
                  <a:gd name="T20" fmla="*/ 6 w 17"/>
                  <a:gd name="T21"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3">
                    <a:moveTo>
                      <a:pt x="6" y="10"/>
                    </a:moveTo>
                    <a:cubicBezTo>
                      <a:pt x="9" y="9"/>
                      <a:pt x="9" y="9"/>
                      <a:pt x="9" y="9"/>
                    </a:cubicBezTo>
                    <a:cubicBezTo>
                      <a:pt x="9" y="39"/>
                      <a:pt x="9" y="39"/>
                      <a:pt x="9" y="39"/>
                    </a:cubicBezTo>
                    <a:cubicBezTo>
                      <a:pt x="9" y="41"/>
                      <a:pt x="10" y="43"/>
                      <a:pt x="13" y="43"/>
                    </a:cubicBezTo>
                    <a:cubicBezTo>
                      <a:pt x="15" y="43"/>
                      <a:pt x="17" y="41"/>
                      <a:pt x="17" y="39"/>
                    </a:cubicBezTo>
                    <a:cubicBezTo>
                      <a:pt x="17" y="4"/>
                      <a:pt x="17" y="4"/>
                      <a:pt x="17" y="4"/>
                    </a:cubicBezTo>
                    <a:cubicBezTo>
                      <a:pt x="17" y="2"/>
                      <a:pt x="15" y="0"/>
                      <a:pt x="13" y="0"/>
                    </a:cubicBezTo>
                    <a:cubicBezTo>
                      <a:pt x="12" y="0"/>
                      <a:pt x="11" y="0"/>
                      <a:pt x="10" y="1"/>
                    </a:cubicBezTo>
                    <a:cubicBezTo>
                      <a:pt x="3" y="3"/>
                      <a:pt x="3" y="3"/>
                      <a:pt x="3" y="3"/>
                    </a:cubicBezTo>
                    <a:cubicBezTo>
                      <a:pt x="1" y="3"/>
                      <a:pt x="0" y="5"/>
                      <a:pt x="0" y="6"/>
                    </a:cubicBezTo>
                    <a:cubicBezTo>
                      <a:pt x="0" y="9"/>
                      <a:pt x="3" y="11"/>
                      <a:pt x="6"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6" name="Freeform 46">
                <a:extLst>
                  <a:ext uri="{FF2B5EF4-FFF2-40B4-BE49-F238E27FC236}">
                    <a16:creationId xmlns:a16="http://schemas.microsoft.com/office/drawing/2014/main" id="{47543D1E-A628-B547-90B8-41663667B0D4}"/>
                  </a:ext>
                </a:extLst>
              </p:cNvPr>
              <p:cNvSpPr>
                <a:spLocks noEditPoints="1"/>
              </p:cNvSpPr>
              <p:nvPr/>
            </p:nvSpPr>
            <p:spPr bwMode="auto">
              <a:xfrm>
                <a:off x="3960813" y="5553076"/>
                <a:ext cx="149225" cy="177800"/>
              </a:xfrm>
              <a:custGeom>
                <a:avLst/>
                <a:gdLst>
                  <a:gd name="T0" fmla="*/ 18 w 36"/>
                  <a:gd name="T1" fmla="*/ 0 h 43"/>
                  <a:gd name="T2" fmla="*/ 0 w 36"/>
                  <a:gd name="T3" fmla="*/ 22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2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2"/>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2"/>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7" name="Freeform 47">
                <a:extLst>
                  <a:ext uri="{FF2B5EF4-FFF2-40B4-BE49-F238E27FC236}">
                    <a16:creationId xmlns:a16="http://schemas.microsoft.com/office/drawing/2014/main" id="{B94DB976-CB34-194F-9BFE-E5A95CD743C5}"/>
                  </a:ext>
                </a:extLst>
              </p:cNvPr>
              <p:cNvSpPr>
                <a:spLocks/>
              </p:cNvSpPr>
              <p:nvPr/>
            </p:nvSpPr>
            <p:spPr bwMode="auto">
              <a:xfrm>
                <a:off x="4138613" y="5553076"/>
                <a:ext cx="66675" cy="177800"/>
              </a:xfrm>
              <a:custGeom>
                <a:avLst/>
                <a:gdLst>
                  <a:gd name="T0" fmla="*/ 12 w 16"/>
                  <a:gd name="T1" fmla="*/ 0 h 43"/>
                  <a:gd name="T2" fmla="*/ 9 w 16"/>
                  <a:gd name="T3" fmla="*/ 1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1"/>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8" name="Freeform 48">
                <a:extLst>
                  <a:ext uri="{FF2B5EF4-FFF2-40B4-BE49-F238E27FC236}">
                    <a16:creationId xmlns:a16="http://schemas.microsoft.com/office/drawing/2014/main" id="{A50E4CE8-4339-5342-95DD-50D673C105F3}"/>
                  </a:ext>
                </a:extLst>
              </p:cNvPr>
              <p:cNvSpPr>
                <a:spLocks noEditPoints="1"/>
              </p:cNvSpPr>
              <p:nvPr/>
            </p:nvSpPr>
            <p:spPr bwMode="auto">
              <a:xfrm>
                <a:off x="3856038" y="5775326"/>
                <a:ext cx="150813" cy="177800"/>
              </a:xfrm>
              <a:custGeom>
                <a:avLst/>
                <a:gdLst>
                  <a:gd name="T0" fmla="*/ 18 w 36"/>
                  <a:gd name="T1" fmla="*/ 0 h 43"/>
                  <a:gd name="T2" fmla="*/ 0 w 36"/>
                  <a:gd name="T3" fmla="*/ 21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1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1"/>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1"/>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9" name="Freeform 49">
                <a:extLst>
                  <a:ext uri="{FF2B5EF4-FFF2-40B4-BE49-F238E27FC236}">
                    <a16:creationId xmlns:a16="http://schemas.microsoft.com/office/drawing/2014/main" id="{03AAAFAF-089A-BD45-9048-DDD1D80679D7}"/>
                  </a:ext>
                </a:extLst>
              </p:cNvPr>
              <p:cNvSpPr>
                <a:spLocks/>
              </p:cNvSpPr>
              <p:nvPr/>
            </p:nvSpPr>
            <p:spPr bwMode="auto">
              <a:xfrm>
                <a:off x="4035425"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0" name="Freeform 50">
                <a:extLst>
                  <a:ext uri="{FF2B5EF4-FFF2-40B4-BE49-F238E27FC236}">
                    <a16:creationId xmlns:a16="http://schemas.microsoft.com/office/drawing/2014/main" id="{686C9FBA-D503-0141-B1A8-3A293AD44F05}"/>
                  </a:ext>
                </a:extLst>
              </p:cNvPr>
              <p:cNvSpPr>
                <a:spLocks/>
              </p:cNvSpPr>
              <p:nvPr/>
            </p:nvSpPr>
            <p:spPr bwMode="auto">
              <a:xfrm>
                <a:off x="4138613"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2" name="Freeform 51">
                <a:extLst>
                  <a:ext uri="{FF2B5EF4-FFF2-40B4-BE49-F238E27FC236}">
                    <a16:creationId xmlns:a16="http://schemas.microsoft.com/office/drawing/2014/main" id="{CC27DA30-6BFE-744D-98F3-E4F0ED920C37}"/>
                  </a:ext>
                </a:extLst>
              </p:cNvPr>
              <p:cNvSpPr>
                <a:spLocks noEditPoints="1"/>
              </p:cNvSpPr>
              <p:nvPr/>
            </p:nvSpPr>
            <p:spPr bwMode="auto">
              <a:xfrm>
                <a:off x="3727450" y="5280026"/>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7 h 189"/>
                  <a:gd name="T22" fmla="*/ 148 w 151"/>
                  <a:gd name="T23" fmla="*/ 29 h 189"/>
                  <a:gd name="T24" fmla="*/ 141 w 151"/>
                  <a:gd name="T25" fmla="*/ 33 h 189"/>
                  <a:gd name="T26" fmla="*/ 119 w 151"/>
                  <a:gd name="T27" fmla="*/ 33 h 189"/>
                  <a:gd name="T28" fmla="*/ 119 w 151"/>
                  <a:gd name="T29" fmla="*/ 11 h 189"/>
                  <a:gd name="T30" fmla="*/ 141 w 151"/>
                  <a:gd name="T31" fmla="*/ 33 h 189"/>
                  <a:gd name="T32" fmla="*/ 141 w 151"/>
                  <a:gd name="T33" fmla="*/ 182 h 189"/>
                  <a:gd name="T34" fmla="*/ 10 w 151"/>
                  <a:gd name="T35" fmla="*/ 182 h 189"/>
                  <a:gd name="T36" fmla="*/ 8 w 151"/>
                  <a:gd name="T37" fmla="*/ 179 h 189"/>
                  <a:gd name="T38" fmla="*/ 8 w 151"/>
                  <a:gd name="T39" fmla="*/ 10 h 189"/>
                  <a:gd name="T40" fmla="*/ 10 w 151"/>
                  <a:gd name="T41" fmla="*/ 8 h 189"/>
                  <a:gd name="T42" fmla="*/ 111 w 151"/>
                  <a:gd name="T43" fmla="*/ 8 h 189"/>
                  <a:gd name="T44" fmla="*/ 111 w 151"/>
                  <a:gd name="T45" fmla="*/ 37 h 189"/>
                  <a:gd name="T46" fmla="*/ 115 w 151"/>
                  <a:gd name="T47" fmla="*/ 40 h 189"/>
                  <a:gd name="T48" fmla="*/ 144 w 151"/>
                  <a:gd name="T49" fmla="*/ 40 h 189"/>
                  <a:gd name="T50" fmla="*/ 144 w 151"/>
                  <a:gd name="T51" fmla="*/ 179 h 189"/>
                  <a:gd name="T52" fmla="*/ 141 w 151"/>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5"/>
                      <a:pt x="0" y="10"/>
                    </a:cubicBezTo>
                    <a:cubicBezTo>
                      <a:pt x="0" y="179"/>
                      <a:pt x="0" y="179"/>
                      <a:pt x="0" y="179"/>
                    </a:cubicBezTo>
                    <a:cubicBezTo>
                      <a:pt x="0" y="185"/>
                      <a:pt x="4" y="189"/>
                      <a:pt x="10" y="189"/>
                    </a:cubicBezTo>
                    <a:cubicBezTo>
                      <a:pt x="141" y="189"/>
                      <a:pt x="141" y="189"/>
                      <a:pt x="141" y="189"/>
                    </a:cubicBezTo>
                    <a:cubicBezTo>
                      <a:pt x="147" y="189"/>
                      <a:pt x="151" y="185"/>
                      <a:pt x="151" y="179"/>
                    </a:cubicBezTo>
                    <a:cubicBezTo>
                      <a:pt x="151" y="37"/>
                      <a:pt x="151" y="37"/>
                      <a:pt x="151" y="37"/>
                    </a:cubicBezTo>
                    <a:cubicBezTo>
                      <a:pt x="151" y="34"/>
                      <a:pt x="150" y="31"/>
                      <a:pt x="148" y="29"/>
                    </a:cubicBezTo>
                    <a:close/>
                    <a:moveTo>
                      <a:pt x="141" y="33"/>
                    </a:moveTo>
                    <a:cubicBezTo>
                      <a:pt x="119" y="33"/>
                      <a:pt x="119" y="33"/>
                      <a:pt x="119" y="33"/>
                    </a:cubicBezTo>
                    <a:cubicBezTo>
                      <a:pt x="119" y="11"/>
                      <a:pt x="119" y="11"/>
                      <a:pt x="119" y="11"/>
                    </a:cubicBezTo>
                    <a:lnTo>
                      <a:pt x="141" y="33"/>
                    </a:lnTo>
                    <a:close/>
                    <a:moveTo>
                      <a:pt x="141" y="182"/>
                    </a:moveTo>
                    <a:cubicBezTo>
                      <a:pt x="10" y="182"/>
                      <a:pt x="10" y="182"/>
                      <a:pt x="10" y="182"/>
                    </a:cubicBezTo>
                    <a:cubicBezTo>
                      <a:pt x="9" y="182"/>
                      <a:pt x="8" y="181"/>
                      <a:pt x="8" y="179"/>
                    </a:cubicBezTo>
                    <a:cubicBezTo>
                      <a:pt x="8" y="10"/>
                      <a:pt x="8" y="10"/>
                      <a:pt x="8" y="10"/>
                    </a:cubicBezTo>
                    <a:cubicBezTo>
                      <a:pt x="8" y="9"/>
                      <a:pt x="9" y="8"/>
                      <a:pt x="10" y="8"/>
                    </a:cubicBezTo>
                    <a:cubicBezTo>
                      <a:pt x="111" y="8"/>
                      <a:pt x="111" y="8"/>
                      <a:pt x="111" y="8"/>
                    </a:cubicBezTo>
                    <a:cubicBezTo>
                      <a:pt x="111" y="37"/>
                      <a:pt x="111" y="37"/>
                      <a:pt x="111" y="37"/>
                    </a:cubicBezTo>
                    <a:cubicBezTo>
                      <a:pt x="111" y="39"/>
                      <a:pt x="113" y="40"/>
                      <a:pt x="115" y="40"/>
                    </a:cubicBezTo>
                    <a:cubicBezTo>
                      <a:pt x="144" y="40"/>
                      <a:pt x="144" y="40"/>
                      <a:pt x="144" y="40"/>
                    </a:cubicBezTo>
                    <a:cubicBezTo>
                      <a:pt x="144" y="179"/>
                      <a:pt x="144" y="179"/>
                      <a:pt x="144" y="179"/>
                    </a:cubicBezTo>
                    <a:cubicBezTo>
                      <a:pt x="144" y="181"/>
                      <a:pt x="143" y="182"/>
                      <a:pt x="141" y="1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83" name="Freeform 244">
              <a:extLst>
                <a:ext uri="{FF2B5EF4-FFF2-40B4-BE49-F238E27FC236}">
                  <a16:creationId xmlns:a16="http://schemas.microsoft.com/office/drawing/2014/main" id="{64013698-45C3-814B-8053-811575B78766}"/>
                </a:ext>
              </a:extLst>
            </p:cNvPr>
            <p:cNvSpPr>
              <a:spLocks noEditPoints="1"/>
            </p:cNvSpPr>
            <p:nvPr/>
          </p:nvSpPr>
          <p:spPr bwMode="auto">
            <a:xfrm>
              <a:off x="914473" y="283533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93" name="Group 92">
            <a:extLst>
              <a:ext uri="{FF2B5EF4-FFF2-40B4-BE49-F238E27FC236}">
                <a16:creationId xmlns:a16="http://schemas.microsoft.com/office/drawing/2014/main" id="{E7507E48-1EC6-A74E-B5B3-D51BE79E95E3}"/>
              </a:ext>
            </a:extLst>
          </p:cNvPr>
          <p:cNvGrpSpPr/>
          <p:nvPr/>
        </p:nvGrpSpPr>
        <p:grpSpPr>
          <a:xfrm>
            <a:off x="848590" y="4252912"/>
            <a:ext cx="497776" cy="517982"/>
            <a:chOff x="1763630" y="4431485"/>
            <a:chExt cx="497776" cy="517982"/>
          </a:xfrm>
        </p:grpSpPr>
        <p:grpSp>
          <p:nvGrpSpPr>
            <p:cNvPr id="94" name="Group 93">
              <a:extLst>
                <a:ext uri="{FF2B5EF4-FFF2-40B4-BE49-F238E27FC236}">
                  <a16:creationId xmlns:a16="http://schemas.microsoft.com/office/drawing/2014/main" id="{58179C14-CAED-684A-B288-3C1390FE85F4}"/>
                </a:ext>
              </a:extLst>
            </p:cNvPr>
            <p:cNvGrpSpPr/>
            <p:nvPr/>
          </p:nvGrpSpPr>
          <p:grpSpPr>
            <a:xfrm>
              <a:off x="1841767" y="4550138"/>
              <a:ext cx="348246" cy="257618"/>
              <a:chOff x="1772296" y="1368566"/>
              <a:chExt cx="449558" cy="332565"/>
            </a:xfrm>
          </p:grpSpPr>
          <p:sp>
            <p:nvSpPr>
              <p:cNvPr id="98" name="Freeform 96">
                <a:extLst>
                  <a:ext uri="{FF2B5EF4-FFF2-40B4-BE49-F238E27FC236}">
                    <a16:creationId xmlns:a16="http://schemas.microsoft.com/office/drawing/2014/main" id="{AED261B9-082D-4F44-B1F6-7E39AF4AD464}"/>
                  </a:ext>
                </a:extLst>
              </p:cNvPr>
              <p:cNvSpPr>
                <a:spLocks noEditPoints="1"/>
              </p:cNvSpPr>
              <p:nvPr/>
            </p:nvSpPr>
            <p:spPr bwMode="auto">
              <a:xfrm>
                <a:off x="1772296" y="1368566"/>
                <a:ext cx="449558" cy="332565"/>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9" name="Freeform 97">
                <a:extLst>
                  <a:ext uri="{FF2B5EF4-FFF2-40B4-BE49-F238E27FC236}">
                    <a16:creationId xmlns:a16="http://schemas.microsoft.com/office/drawing/2014/main" id="{FA0A4986-FB3B-6349-81C8-22E88001F73A}"/>
                  </a:ext>
                </a:extLst>
              </p:cNvPr>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6" name="Freeform 244">
              <a:extLst>
                <a:ext uri="{FF2B5EF4-FFF2-40B4-BE49-F238E27FC236}">
                  <a16:creationId xmlns:a16="http://schemas.microsoft.com/office/drawing/2014/main" id="{252B5610-B542-7743-AEFC-E27156153EE5}"/>
                </a:ext>
              </a:extLst>
            </p:cNvPr>
            <p:cNvSpPr>
              <a:spLocks noEditPoints="1"/>
            </p:cNvSpPr>
            <p:nvPr/>
          </p:nvSpPr>
          <p:spPr bwMode="auto">
            <a:xfrm>
              <a:off x="1763630" y="443148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0" name="Group 99">
            <a:extLst>
              <a:ext uri="{FF2B5EF4-FFF2-40B4-BE49-F238E27FC236}">
                <a16:creationId xmlns:a16="http://schemas.microsoft.com/office/drawing/2014/main" id="{8B75060A-E87F-3349-86A0-8FB90B41FBC4}"/>
              </a:ext>
            </a:extLst>
          </p:cNvPr>
          <p:cNvGrpSpPr/>
          <p:nvPr/>
        </p:nvGrpSpPr>
        <p:grpSpPr>
          <a:xfrm>
            <a:off x="827433" y="3312014"/>
            <a:ext cx="497776" cy="517982"/>
            <a:chOff x="1742992" y="3606769"/>
            <a:chExt cx="497776" cy="517982"/>
          </a:xfrm>
        </p:grpSpPr>
        <p:grpSp>
          <p:nvGrpSpPr>
            <p:cNvPr id="101" name="Group 100">
              <a:extLst>
                <a:ext uri="{FF2B5EF4-FFF2-40B4-BE49-F238E27FC236}">
                  <a16:creationId xmlns:a16="http://schemas.microsoft.com/office/drawing/2014/main" id="{D03ABFC8-EF42-864D-85D8-323C7DE2A84D}"/>
                </a:ext>
              </a:extLst>
            </p:cNvPr>
            <p:cNvGrpSpPr/>
            <p:nvPr/>
          </p:nvGrpSpPr>
          <p:grpSpPr>
            <a:xfrm>
              <a:off x="1822814" y="3690402"/>
              <a:ext cx="350704" cy="350704"/>
              <a:chOff x="5562600" y="4875213"/>
              <a:chExt cx="790575" cy="790575"/>
            </a:xfrm>
          </p:grpSpPr>
          <p:sp>
            <p:nvSpPr>
              <p:cNvPr id="103" name="Freeform 55">
                <a:extLst>
                  <a:ext uri="{FF2B5EF4-FFF2-40B4-BE49-F238E27FC236}">
                    <a16:creationId xmlns:a16="http://schemas.microsoft.com/office/drawing/2014/main" id="{7437ABF0-51CF-924E-9C92-C447EF4AE5DB}"/>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4" name="Freeform 56">
                <a:extLst>
                  <a:ext uri="{FF2B5EF4-FFF2-40B4-BE49-F238E27FC236}">
                    <a16:creationId xmlns:a16="http://schemas.microsoft.com/office/drawing/2014/main" id="{2C4B3A3C-C566-8A4E-ADB6-0191490E4564}"/>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2" name="Freeform 244">
              <a:extLst>
                <a:ext uri="{FF2B5EF4-FFF2-40B4-BE49-F238E27FC236}">
                  <a16:creationId xmlns:a16="http://schemas.microsoft.com/office/drawing/2014/main" id="{BB1D2ABF-06BE-1B4C-9F07-3953271B1B11}"/>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5" name="Group 104">
            <a:extLst>
              <a:ext uri="{FF2B5EF4-FFF2-40B4-BE49-F238E27FC236}">
                <a16:creationId xmlns:a16="http://schemas.microsoft.com/office/drawing/2014/main" id="{5CF63120-9331-9748-9F53-01393A49E892}"/>
              </a:ext>
            </a:extLst>
          </p:cNvPr>
          <p:cNvGrpSpPr/>
          <p:nvPr/>
        </p:nvGrpSpPr>
        <p:grpSpPr>
          <a:xfrm>
            <a:off x="6974660" y="4454802"/>
            <a:ext cx="497776" cy="517982"/>
            <a:chOff x="1653952" y="5387312"/>
            <a:chExt cx="497776" cy="517982"/>
          </a:xfrm>
        </p:grpSpPr>
        <p:sp>
          <p:nvSpPr>
            <p:cNvPr id="106" name="Freeform 578">
              <a:extLst>
                <a:ext uri="{FF2B5EF4-FFF2-40B4-BE49-F238E27FC236}">
                  <a16:creationId xmlns:a16="http://schemas.microsoft.com/office/drawing/2014/main" id="{3F8C19E0-597A-9C40-9FC8-3B6C69491B43}"/>
                </a:ext>
              </a:extLst>
            </p:cNvPr>
            <p:cNvSpPr>
              <a:spLocks noEditPoints="1"/>
            </p:cNvSpPr>
            <p:nvPr/>
          </p:nvSpPr>
          <p:spPr bwMode="auto">
            <a:xfrm>
              <a:off x="1758537" y="5475243"/>
              <a:ext cx="273406" cy="327594"/>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7" name="Freeform 244">
              <a:extLst>
                <a:ext uri="{FF2B5EF4-FFF2-40B4-BE49-F238E27FC236}">
                  <a16:creationId xmlns:a16="http://schemas.microsoft.com/office/drawing/2014/main" id="{D4BF1079-E928-F24D-9E76-FB96D0A38BCB}"/>
                </a:ext>
              </a:extLst>
            </p:cNvPr>
            <p:cNvSpPr>
              <a:spLocks noEditPoints="1"/>
            </p:cNvSpPr>
            <p:nvPr/>
          </p:nvSpPr>
          <p:spPr bwMode="auto">
            <a:xfrm>
              <a:off x="1653952" y="5387312"/>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8" name="Group 107">
            <a:extLst>
              <a:ext uri="{FF2B5EF4-FFF2-40B4-BE49-F238E27FC236}">
                <a16:creationId xmlns:a16="http://schemas.microsoft.com/office/drawing/2014/main" id="{DD65EA6E-9A48-8747-AF29-D8865EAE00E9}"/>
              </a:ext>
            </a:extLst>
          </p:cNvPr>
          <p:cNvGrpSpPr/>
          <p:nvPr/>
        </p:nvGrpSpPr>
        <p:grpSpPr>
          <a:xfrm>
            <a:off x="3587519" y="3314422"/>
            <a:ext cx="497776" cy="517982"/>
            <a:chOff x="2178324" y="5366456"/>
            <a:chExt cx="497776" cy="517982"/>
          </a:xfrm>
        </p:grpSpPr>
        <p:grpSp>
          <p:nvGrpSpPr>
            <p:cNvPr id="109" name="Group 108">
              <a:extLst>
                <a:ext uri="{FF2B5EF4-FFF2-40B4-BE49-F238E27FC236}">
                  <a16:creationId xmlns:a16="http://schemas.microsoft.com/office/drawing/2014/main" id="{75BD5EFA-723A-224B-AC2F-13DF7C649ACD}"/>
                </a:ext>
              </a:extLst>
            </p:cNvPr>
            <p:cNvGrpSpPr/>
            <p:nvPr/>
          </p:nvGrpSpPr>
          <p:grpSpPr>
            <a:xfrm>
              <a:off x="2278655" y="5459540"/>
              <a:ext cx="286037" cy="337619"/>
              <a:chOff x="6145213" y="7040563"/>
              <a:chExt cx="484187" cy="571500"/>
            </a:xfrm>
          </p:grpSpPr>
          <p:sp>
            <p:nvSpPr>
              <p:cNvPr id="111" name="Freeform 365">
                <a:extLst>
                  <a:ext uri="{FF2B5EF4-FFF2-40B4-BE49-F238E27FC236}">
                    <a16:creationId xmlns:a16="http://schemas.microsoft.com/office/drawing/2014/main" id="{F11B1CD5-BFFD-1647-B41B-EA42A968CAAE}"/>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366">
                <a:extLst>
                  <a:ext uri="{FF2B5EF4-FFF2-40B4-BE49-F238E27FC236}">
                    <a16:creationId xmlns:a16="http://schemas.microsoft.com/office/drawing/2014/main" id="{2F4557AA-92A9-3A49-A90D-80392B250966}"/>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67">
                <a:extLst>
                  <a:ext uri="{FF2B5EF4-FFF2-40B4-BE49-F238E27FC236}">
                    <a16:creationId xmlns:a16="http://schemas.microsoft.com/office/drawing/2014/main" id="{1110A79D-8B18-E148-86A9-F49F4C9D1C0F}"/>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68">
                <a:extLst>
                  <a:ext uri="{FF2B5EF4-FFF2-40B4-BE49-F238E27FC236}">
                    <a16:creationId xmlns:a16="http://schemas.microsoft.com/office/drawing/2014/main" id="{4CE7A06C-9850-0541-B5C6-10F7C3B4540D}"/>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7" name="Freeform 369">
                <a:extLst>
                  <a:ext uri="{FF2B5EF4-FFF2-40B4-BE49-F238E27FC236}">
                    <a16:creationId xmlns:a16="http://schemas.microsoft.com/office/drawing/2014/main" id="{6BACF48A-3081-A242-AAEB-FFED33515FDE}"/>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8" name="Freeform 370">
                <a:extLst>
                  <a:ext uri="{FF2B5EF4-FFF2-40B4-BE49-F238E27FC236}">
                    <a16:creationId xmlns:a16="http://schemas.microsoft.com/office/drawing/2014/main" id="{B180CE58-A972-B945-81C8-A4A9EE943363}"/>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10" name="Freeform 244">
              <a:extLst>
                <a:ext uri="{FF2B5EF4-FFF2-40B4-BE49-F238E27FC236}">
                  <a16:creationId xmlns:a16="http://schemas.microsoft.com/office/drawing/2014/main" id="{1BD1E184-D771-5045-B602-B2226904CD7E}"/>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19" name="Group 118">
            <a:extLst>
              <a:ext uri="{FF2B5EF4-FFF2-40B4-BE49-F238E27FC236}">
                <a16:creationId xmlns:a16="http://schemas.microsoft.com/office/drawing/2014/main" id="{4B185742-4F7E-BF4A-A1F9-1AA7B384C75B}"/>
              </a:ext>
            </a:extLst>
          </p:cNvPr>
          <p:cNvGrpSpPr/>
          <p:nvPr/>
        </p:nvGrpSpPr>
        <p:grpSpPr>
          <a:xfrm>
            <a:off x="4946404" y="3320520"/>
            <a:ext cx="497776" cy="517982"/>
            <a:chOff x="3263749" y="5369359"/>
            <a:chExt cx="497776" cy="517982"/>
          </a:xfrm>
        </p:grpSpPr>
        <p:grpSp>
          <p:nvGrpSpPr>
            <p:cNvPr id="120" name="Group 119">
              <a:extLst>
                <a:ext uri="{FF2B5EF4-FFF2-40B4-BE49-F238E27FC236}">
                  <a16:creationId xmlns:a16="http://schemas.microsoft.com/office/drawing/2014/main" id="{F4D31672-737A-DE43-BFAD-1989C26E168D}"/>
                </a:ext>
              </a:extLst>
            </p:cNvPr>
            <p:cNvGrpSpPr/>
            <p:nvPr/>
          </p:nvGrpSpPr>
          <p:grpSpPr>
            <a:xfrm>
              <a:off x="3360387" y="5489549"/>
              <a:ext cx="307263" cy="313288"/>
              <a:chOff x="2757488" y="230188"/>
              <a:chExt cx="485775" cy="495300"/>
            </a:xfrm>
          </p:grpSpPr>
          <p:sp>
            <p:nvSpPr>
              <p:cNvPr id="122" name="Freeform 94">
                <a:extLst>
                  <a:ext uri="{FF2B5EF4-FFF2-40B4-BE49-F238E27FC236}">
                    <a16:creationId xmlns:a16="http://schemas.microsoft.com/office/drawing/2014/main" id="{5BFC2A51-74FE-4B48-ADF9-CA5A30CE645A}"/>
                  </a:ext>
                </a:extLst>
              </p:cNvPr>
              <p:cNvSpPr>
                <a:spLocks noEditPoints="1"/>
              </p:cNvSpPr>
              <p:nvPr/>
            </p:nvSpPr>
            <p:spPr bwMode="auto">
              <a:xfrm>
                <a:off x="2757488" y="230188"/>
                <a:ext cx="485775" cy="412750"/>
              </a:xfrm>
              <a:custGeom>
                <a:avLst/>
                <a:gdLst>
                  <a:gd name="T0" fmla="*/ 223 w 237"/>
                  <a:gd name="T1" fmla="*/ 24 h 202"/>
                  <a:gd name="T2" fmla="*/ 67 w 237"/>
                  <a:gd name="T3" fmla="*/ 24 h 202"/>
                  <a:gd name="T4" fmla="*/ 50 w 237"/>
                  <a:gd name="T5" fmla="*/ 0 h 202"/>
                  <a:gd name="T6" fmla="*/ 15 w 237"/>
                  <a:gd name="T7" fmla="*/ 0 h 202"/>
                  <a:gd name="T8" fmla="*/ 0 w 237"/>
                  <a:gd name="T9" fmla="*/ 15 h 202"/>
                  <a:gd name="T10" fmla="*/ 0 w 237"/>
                  <a:gd name="T11" fmla="*/ 188 h 202"/>
                  <a:gd name="T12" fmla="*/ 15 w 237"/>
                  <a:gd name="T13" fmla="*/ 202 h 202"/>
                  <a:gd name="T14" fmla="*/ 65 w 237"/>
                  <a:gd name="T15" fmla="*/ 202 h 202"/>
                  <a:gd name="T16" fmla="*/ 70 w 237"/>
                  <a:gd name="T17" fmla="*/ 197 h 202"/>
                  <a:gd name="T18" fmla="*/ 65 w 237"/>
                  <a:gd name="T19" fmla="*/ 192 h 202"/>
                  <a:gd name="T20" fmla="*/ 15 w 237"/>
                  <a:gd name="T21" fmla="*/ 192 h 202"/>
                  <a:gd name="T22" fmla="*/ 10 w 237"/>
                  <a:gd name="T23" fmla="*/ 188 h 202"/>
                  <a:gd name="T24" fmla="*/ 10 w 237"/>
                  <a:gd name="T25" fmla="*/ 67 h 202"/>
                  <a:gd name="T26" fmla="*/ 228 w 237"/>
                  <a:gd name="T27" fmla="*/ 67 h 202"/>
                  <a:gd name="T28" fmla="*/ 228 w 237"/>
                  <a:gd name="T29" fmla="*/ 188 h 202"/>
                  <a:gd name="T30" fmla="*/ 223 w 237"/>
                  <a:gd name="T31" fmla="*/ 192 h 202"/>
                  <a:gd name="T32" fmla="*/ 185 w 237"/>
                  <a:gd name="T33" fmla="*/ 192 h 202"/>
                  <a:gd name="T34" fmla="*/ 180 w 237"/>
                  <a:gd name="T35" fmla="*/ 197 h 202"/>
                  <a:gd name="T36" fmla="*/ 185 w 237"/>
                  <a:gd name="T37" fmla="*/ 202 h 202"/>
                  <a:gd name="T38" fmla="*/ 223 w 237"/>
                  <a:gd name="T39" fmla="*/ 202 h 202"/>
                  <a:gd name="T40" fmla="*/ 237 w 237"/>
                  <a:gd name="T41" fmla="*/ 188 h 202"/>
                  <a:gd name="T42" fmla="*/ 237 w 237"/>
                  <a:gd name="T43" fmla="*/ 38 h 202"/>
                  <a:gd name="T44" fmla="*/ 223 w 237"/>
                  <a:gd name="T45" fmla="*/ 24 h 202"/>
                  <a:gd name="T46" fmla="*/ 15 w 237"/>
                  <a:gd name="T47" fmla="*/ 10 h 202"/>
                  <a:gd name="T48" fmla="*/ 49 w 237"/>
                  <a:gd name="T49" fmla="*/ 10 h 202"/>
                  <a:gd name="T50" fmla="*/ 60 w 237"/>
                  <a:gd name="T51" fmla="*/ 31 h 202"/>
                  <a:gd name="T52" fmla="*/ 64 w 237"/>
                  <a:gd name="T53" fmla="*/ 34 h 202"/>
                  <a:gd name="T54" fmla="*/ 223 w 237"/>
                  <a:gd name="T55" fmla="*/ 34 h 202"/>
                  <a:gd name="T56" fmla="*/ 228 w 237"/>
                  <a:gd name="T57" fmla="*/ 38 h 202"/>
                  <a:gd name="T58" fmla="*/ 228 w 237"/>
                  <a:gd name="T59" fmla="*/ 57 h 202"/>
                  <a:gd name="T60" fmla="*/ 10 w 237"/>
                  <a:gd name="T61" fmla="*/ 57 h 202"/>
                  <a:gd name="T62" fmla="*/ 10 w 237"/>
                  <a:gd name="T63" fmla="*/ 15 h 202"/>
                  <a:gd name="T64" fmla="*/ 15 w 237"/>
                  <a:gd name="T65" fmla="*/ 1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202">
                    <a:moveTo>
                      <a:pt x="223" y="24"/>
                    </a:moveTo>
                    <a:cubicBezTo>
                      <a:pt x="67" y="24"/>
                      <a:pt x="67" y="24"/>
                      <a:pt x="67" y="24"/>
                    </a:cubicBezTo>
                    <a:cubicBezTo>
                      <a:pt x="58" y="0"/>
                      <a:pt x="52" y="0"/>
                      <a:pt x="50" y="0"/>
                    </a:cubicBezTo>
                    <a:cubicBezTo>
                      <a:pt x="15" y="0"/>
                      <a:pt x="15" y="0"/>
                      <a:pt x="15" y="0"/>
                    </a:cubicBezTo>
                    <a:cubicBezTo>
                      <a:pt x="7" y="0"/>
                      <a:pt x="0" y="7"/>
                      <a:pt x="0" y="15"/>
                    </a:cubicBezTo>
                    <a:cubicBezTo>
                      <a:pt x="0" y="188"/>
                      <a:pt x="0" y="188"/>
                      <a:pt x="0" y="188"/>
                    </a:cubicBezTo>
                    <a:cubicBezTo>
                      <a:pt x="0" y="195"/>
                      <a:pt x="7" y="202"/>
                      <a:pt x="15" y="202"/>
                    </a:cubicBezTo>
                    <a:cubicBezTo>
                      <a:pt x="65" y="202"/>
                      <a:pt x="65" y="202"/>
                      <a:pt x="65" y="202"/>
                    </a:cubicBezTo>
                    <a:cubicBezTo>
                      <a:pt x="67" y="202"/>
                      <a:pt x="70" y="200"/>
                      <a:pt x="70" y="197"/>
                    </a:cubicBezTo>
                    <a:cubicBezTo>
                      <a:pt x="70" y="194"/>
                      <a:pt x="67" y="192"/>
                      <a:pt x="65" y="192"/>
                    </a:cubicBezTo>
                    <a:cubicBezTo>
                      <a:pt x="15" y="192"/>
                      <a:pt x="15" y="192"/>
                      <a:pt x="15" y="192"/>
                    </a:cubicBezTo>
                    <a:cubicBezTo>
                      <a:pt x="12" y="192"/>
                      <a:pt x="10" y="190"/>
                      <a:pt x="10" y="188"/>
                    </a:cubicBezTo>
                    <a:cubicBezTo>
                      <a:pt x="10" y="67"/>
                      <a:pt x="10" y="67"/>
                      <a:pt x="10" y="67"/>
                    </a:cubicBezTo>
                    <a:cubicBezTo>
                      <a:pt x="228" y="67"/>
                      <a:pt x="228" y="67"/>
                      <a:pt x="228" y="67"/>
                    </a:cubicBezTo>
                    <a:cubicBezTo>
                      <a:pt x="228" y="188"/>
                      <a:pt x="228" y="188"/>
                      <a:pt x="228" y="188"/>
                    </a:cubicBezTo>
                    <a:cubicBezTo>
                      <a:pt x="228" y="190"/>
                      <a:pt x="226" y="192"/>
                      <a:pt x="223" y="192"/>
                    </a:cubicBezTo>
                    <a:cubicBezTo>
                      <a:pt x="185" y="192"/>
                      <a:pt x="185" y="192"/>
                      <a:pt x="185" y="192"/>
                    </a:cubicBezTo>
                    <a:cubicBezTo>
                      <a:pt x="182" y="192"/>
                      <a:pt x="180" y="194"/>
                      <a:pt x="180" y="197"/>
                    </a:cubicBezTo>
                    <a:cubicBezTo>
                      <a:pt x="180" y="200"/>
                      <a:pt x="182" y="202"/>
                      <a:pt x="185" y="202"/>
                    </a:cubicBezTo>
                    <a:cubicBezTo>
                      <a:pt x="223" y="202"/>
                      <a:pt x="223" y="202"/>
                      <a:pt x="223" y="202"/>
                    </a:cubicBezTo>
                    <a:cubicBezTo>
                      <a:pt x="231" y="202"/>
                      <a:pt x="237" y="195"/>
                      <a:pt x="237" y="188"/>
                    </a:cubicBezTo>
                    <a:cubicBezTo>
                      <a:pt x="237" y="38"/>
                      <a:pt x="237" y="38"/>
                      <a:pt x="237" y="38"/>
                    </a:cubicBezTo>
                    <a:cubicBezTo>
                      <a:pt x="237" y="31"/>
                      <a:pt x="231" y="24"/>
                      <a:pt x="223" y="24"/>
                    </a:cubicBezTo>
                    <a:close/>
                    <a:moveTo>
                      <a:pt x="15" y="10"/>
                    </a:moveTo>
                    <a:cubicBezTo>
                      <a:pt x="49" y="10"/>
                      <a:pt x="49" y="10"/>
                      <a:pt x="49" y="10"/>
                    </a:cubicBezTo>
                    <a:cubicBezTo>
                      <a:pt x="51" y="12"/>
                      <a:pt x="56" y="22"/>
                      <a:pt x="60" y="31"/>
                    </a:cubicBezTo>
                    <a:cubicBezTo>
                      <a:pt x="60" y="33"/>
                      <a:pt x="62" y="34"/>
                      <a:pt x="64" y="34"/>
                    </a:cubicBezTo>
                    <a:cubicBezTo>
                      <a:pt x="223" y="34"/>
                      <a:pt x="223" y="34"/>
                      <a:pt x="223" y="34"/>
                    </a:cubicBezTo>
                    <a:cubicBezTo>
                      <a:pt x="226" y="34"/>
                      <a:pt x="228" y="36"/>
                      <a:pt x="228" y="38"/>
                    </a:cubicBezTo>
                    <a:cubicBezTo>
                      <a:pt x="228" y="57"/>
                      <a:pt x="228" y="57"/>
                      <a:pt x="228" y="57"/>
                    </a:cubicBezTo>
                    <a:cubicBezTo>
                      <a:pt x="10" y="57"/>
                      <a:pt x="10" y="57"/>
                      <a:pt x="10" y="57"/>
                    </a:cubicBezTo>
                    <a:cubicBezTo>
                      <a:pt x="10" y="15"/>
                      <a:pt x="10" y="15"/>
                      <a:pt x="10" y="15"/>
                    </a:cubicBezTo>
                    <a:cubicBezTo>
                      <a:pt x="10" y="12"/>
                      <a:pt x="12" y="10"/>
                      <a:pt x="1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3" name="Freeform 95">
                <a:extLst>
                  <a:ext uri="{FF2B5EF4-FFF2-40B4-BE49-F238E27FC236}">
                    <a16:creationId xmlns:a16="http://schemas.microsoft.com/office/drawing/2014/main" id="{687C4E03-144E-F541-AE43-B8BC37A2BA32}"/>
                  </a:ext>
                </a:extLst>
              </p:cNvPr>
              <p:cNvSpPr>
                <a:spLocks noEditPoints="1"/>
              </p:cNvSpPr>
              <p:nvPr/>
            </p:nvSpPr>
            <p:spPr bwMode="auto">
              <a:xfrm>
                <a:off x="2849563" y="392113"/>
                <a:ext cx="293688" cy="333375"/>
              </a:xfrm>
              <a:custGeom>
                <a:avLst/>
                <a:gdLst>
                  <a:gd name="T0" fmla="*/ 93 w 143"/>
                  <a:gd name="T1" fmla="*/ 95 h 163"/>
                  <a:gd name="T2" fmla="*/ 109 w 143"/>
                  <a:gd name="T3" fmla="*/ 62 h 163"/>
                  <a:gd name="T4" fmla="*/ 62 w 143"/>
                  <a:gd name="T5" fmla="*/ 3 h 163"/>
                  <a:gd name="T6" fmla="*/ 3 w 143"/>
                  <a:gd name="T7" fmla="*/ 51 h 163"/>
                  <a:gd name="T8" fmla="*/ 50 w 143"/>
                  <a:gd name="T9" fmla="*/ 109 h 163"/>
                  <a:gd name="T10" fmla="*/ 56 w 143"/>
                  <a:gd name="T11" fmla="*/ 110 h 163"/>
                  <a:gd name="T12" fmla="*/ 56 w 143"/>
                  <a:gd name="T13" fmla="*/ 110 h 163"/>
                  <a:gd name="T14" fmla="*/ 86 w 143"/>
                  <a:gd name="T15" fmla="*/ 101 h 163"/>
                  <a:gd name="T16" fmla="*/ 134 w 143"/>
                  <a:gd name="T17" fmla="*/ 161 h 163"/>
                  <a:gd name="T18" fmla="*/ 138 w 143"/>
                  <a:gd name="T19" fmla="*/ 163 h 163"/>
                  <a:gd name="T20" fmla="*/ 141 w 143"/>
                  <a:gd name="T21" fmla="*/ 162 h 163"/>
                  <a:gd name="T22" fmla="*/ 142 w 143"/>
                  <a:gd name="T23" fmla="*/ 155 h 163"/>
                  <a:gd name="T24" fmla="*/ 93 w 143"/>
                  <a:gd name="T25" fmla="*/ 95 h 163"/>
                  <a:gd name="T26" fmla="*/ 51 w 143"/>
                  <a:gd name="T27" fmla="*/ 100 h 163"/>
                  <a:gd name="T28" fmla="*/ 13 w 143"/>
                  <a:gd name="T29" fmla="*/ 52 h 163"/>
                  <a:gd name="T30" fmla="*/ 56 w 143"/>
                  <a:gd name="T31" fmla="*/ 13 h 163"/>
                  <a:gd name="T32" fmla="*/ 61 w 143"/>
                  <a:gd name="T33" fmla="*/ 13 h 163"/>
                  <a:gd name="T34" fmla="*/ 99 w 143"/>
                  <a:gd name="T35" fmla="*/ 61 h 163"/>
                  <a:gd name="T36" fmla="*/ 51 w 143"/>
                  <a:gd name="T37" fmla="*/ 10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163">
                    <a:moveTo>
                      <a:pt x="93" y="95"/>
                    </a:moveTo>
                    <a:cubicBezTo>
                      <a:pt x="102" y="86"/>
                      <a:pt x="108" y="75"/>
                      <a:pt x="109" y="62"/>
                    </a:cubicBezTo>
                    <a:cubicBezTo>
                      <a:pt x="112" y="33"/>
                      <a:pt x="91" y="7"/>
                      <a:pt x="62" y="3"/>
                    </a:cubicBezTo>
                    <a:cubicBezTo>
                      <a:pt x="32" y="0"/>
                      <a:pt x="6" y="22"/>
                      <a:pt x="3" y="51"/>
                    </a:cubicBezTo>
                    <a:cubicBezTo>
                      <a:pt x="0" y="80"/>
                      <a:pt x="21" y="106"/>
                      <a:pt x="50" y="109"/>
                    </a:cubicBezTo>
                    <a:cubicBezTo>
                      <a:pt x="52" y="110"/>
                      <a:pt x="54" y="110"/>
                      <a:pt x="56" y="110"/>
                    </a:cubicBezTo>
                    <a:cubicBezTo>
                      <a:pt x="56" y="110"/>
                      <a:pt x="56" y="110"/>
                      <a:pt x="56" y="110"/>
                    </a:cubicBezTo>
                    <a:cubicBezTo>
                      <a:pt x="67" y="110"/>
                      <a:pt x="77" y="106"/>
                      <a:pt x="86" y="101"/>
                    </a:cubicBezTo>
                    <a:cubicBezTo>
                      <a:pt x="134" y="161"/>
                      <a:pt x="134" y="161"/>
                      <a:pt x="134" y="161"/>
                    </a:cubicBezTo>
                    <a:cubicBezTo>
                      <a:pt x="135" y="162"/>
                      <a:pt x="136" y="163"/>
                      <a:pt x="138" y="163"/>
                    </a:cubicBezTo>
                    <a:cubicBezTo>
                      <a:pt x="139" y="163"/>
                      <a:pt x="140" y="162"/>
                      <a:pt x="141" y="162"/>
                    </a:cubicBezTo>
                    <a:cubicBezTo>
                      <a:pt x="143" y="160"/>
                      <a:pt x="143" y="157"/>
                      <a:pt x="142" y="155"/>
                    </a:cubicBezTo>
                    <a:lnTo>
                      <a:pt x="93" y="95"/>
                    </a:lnTo>
                    <a:close/>
                    <a:moveTo>
                      <a:pt x="51" y="100"/>
                    </a:moveTo>
                    <a:cubicBezTo>
                      <a:pt x="27" y="97"/>
                      <a:pt x="10" y="76"/>
                      <a:pt x="13" y="52"/>
                    </a:cubicBezTo>
                    <a:cubicBezTo>
                      <a:pt x="15" y="30"/>
                      <a:pt x="34" y="13"/>
                      <a:pt x="56" y="13"/>
                    </a:cubicBezTo>
                    <a:cubicBezTo>
                      <a:pt x="57" y="13"/>
                      <a:pt x="59" y="13"/>
                      <a:pt x="61" y="13"/>
                    </a:cubicBezTo>
                    <a:cubicBezTo>
                      <a:pt x="85" y="16"/>
                      <a:pt x="102" y="37"/>
                      <a:pt x="99" y="61"/>
                    </a:cubicBezTo>
                    <a:cubicBezTo>
                      <a:pt x="97" y="85"/>
                      <a:pt x="76" y="102"/>
                      <a:pt x="51" y="10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21" name="Freeform 244">
              <a:extLst>
                <a:ext uri="{FF2B5EF4-FFF2-40B4-BE49-F238E27FC236}">
                  <a16:creationId xmlns:a16="http://schemas.microsoft.com/office/drawing/2014/main" id="{C22261E8-48D3-664E-82B0-780B9F57A015}"/>
                </a:ext>
              </a:extLst>
            </p:cNvPr>
            <p:cNvSpPr>
              <a:spLocks noEditPoints="1"/>
            </p:cNvSpPr>
            <p:nvPr/>
          </p:nvSpPr>
          <p:spPr bwMode="auto">
            <a:xfrm>
              <a:off x="3263749" y="536935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4" name="Group 123">
            <a:extLst>
              <a:ext uri="{FF2B5EF4-FFF2-40B4-BE49-F238E27FC236}">
                <a16:creationId xmlns:a16="http://schemas.microsoft.com/office/drawing/2014/main" id="{B4BC7B9B-D860-A343-874B-31608FD30EED}"/>
              </a:ext>
            </a:extLst>
          </p:cNvPr>
          <p:cNvGrpSpPr/>
          <p:nvPr/>
        </p:nvGrpSpPr>
        <p:grpSpPr>
          <a:xfrm>
            <a:off x="4937422" y="4410141"/>
            <a:ext cx="497776" cy="517982"/>
            <a:chOff x="3825224" y="5361349"/>
            <a:chExt cx="497776" cy="517982"/>
          </a:xfrm>
        </p:grpSpPr>
        <p:sp>
          <p:nvSpPr>
            <p:cNvPr id="125" name="Freeform 8">
              <a:extLst>
                <a:ext uri="{FF2B5EF4-FFF2-40B4-BE49-F238E27FC236}">
                  <a16:creationId xmlns:a16="http://schemas.microsoft.com/office/drawing/2014/main" id="{9E33A3CC-799B-A740-A2A9-944B92AA4F7E}"/>
                </a:ext>
              </a:extLst>
            </p:cNvPr>
            <p:cNvSpPr>
              <a:spLocks noEditPoints="1"/>
            </p:cNvSpPr>
            <p:nvPr/>
          </p:nvSpPr>
          <p:spPr bwMode="auto">
            <a:xfrm>
              <a:off x="3923634" y="5481333"/>
              <a:ext cx="288044" cy="284498"/>
            </a:xfrm>
            <a:custGeom>
              <a:avLst/>
              <a:gdLst>
                <a:gd name="T0" fmla="*/ 240 w 241"/>
                <a:gd name="T1" fmla="*/ 55 h 238"/>
                <a:gd name="T2" fmla="*/ 240 w 241"/>
                <a:gd name="T3" fmla="*/ 54 h 238"/>
                <a:gd name="T4" fmla="*/ 192 w 241"/>
                <a:gd name="T5" fmla="*/ 0 h 238"/>
                <a:gd name="T6" fmla="*/ 45 w 241"/>
                <a:gd name="T7" fmla="*/ 2 h 238"/>
                <a:gd name="T8" fmla="*/ 1 w 241"/>
                <a:gd name="T9" fmla="*/ 55 h 238"/>
                <a:gd name="T10" fmla="*/ 1 w 241"/>
                <a:gd name="T11" fmla="*/ 56 h 238"/>
                <a:gd name="T12" fmla="*/ 0 w 241"/>
                <a:gd name="T13" fmla="*/ 214 h 238"/>
                <a:gd name="T14" fmla="*/ 217 w 241"/>
                <a:gd name="T15" fmla="*/ 238 h 238"/>
                <a:gd name="T16" fmla="*/ 241 w 241"/>
                <a:gd name="T17" fmla="*/ 57 h 238"/>
                <a:gd name="T18" fmla="*/ 78 w 241"/>
                <a:gd name="T19" fmla="*/ 165 h 238"/>
                <a:gd name="T20" fmla="*/ 10 w 241"/>
                <a:gd name="T21" fmla="*/ 117 h 238"/>
                <a:gd name="T22" fmla="*/ 73 w 241"/>
                <a:gd name="T23" fmla="*/ 133 h 238"/>
                <a:gd name="T24" fmla="*/ 146 w 241"/>
                <a:gd name="T25" fmla="*/ 155 h 238"/>
                <a:gd name="T26" fmla="*/ 168 w 241"/>
                <a:gd name="T27" fmla="*/ 117 h 238"/>
                <a:gd name="T28" fmla="*/ 231 w 241"/>
                <a:gd name="T29" fmla="*/ 165 h 238"/>
                <a:gd name="T30" fmla="*/ 158 w 241"/>
                <a:gd name="T31" fmla="*/ 170 h 238"/>
                <a:gd name="T32" fmla="*/ 146 w 241"/>
                <a:gd name="T33" fmla="*/ 203 h 238"/>
                <a:gd name="T34" fmla="*/ 83 w 241"/>
                <a:gd name="T35" fmla="*/ 191 h 238"/>
                <a:gd name="T36" fmla="*/ 78 w 241"/>
                <a:gd name="T37" fmla="*/ 165 h 238"/>
                <a:gd name="T38" fmla="*/ 146 w 241"/>
                <a:gd name="T39" fmla="*/ 100 h 238"/>
                <a:gd name="T40" fmla="*/ 168 w 241"/>
                <a:gd name="T41" fmla="*/ 62 h 238"/>
                <a:gd name="T42" fmla="*/ 231 w 241"/>
                <a:gd name="T43" fmla="*/ 107 h 238"/>
                <a:gd name="T44" fmla="*/ 158 w 241"/>
                <a:gd name="T45" fmla="*/ 112 h 238"/>
                <a:gd name="T46" fmla="*/ 146 w 241"/>
                <a:gd name="T47" fmla="*/ 145 h 238"/>
                <a:gd name="T48" fmla="*/ 83 w 241"/>
                <a:gd name="T49" fmla="*/ 133 h 238"/>
                <a:gd name="T50" fmla="*/ 78 w 241"/>
                <a:gd name="T51" fmla="*/ 107 h 238"/>
                <a:gd name="T52" fmla="*/ 10 w 241"/>
                <a:gd name="T53" fmla="*/ 62 h 238"/>
                <a:gd name="T54" fmla="*/ 73 w 241"/>
                <a:gd name="T55" fmla="*/ 78 h 238"/>
                <a:gd name="T56" fmla="*/ 51 w 241"/>
                <a:gd name="T57" fmla="*/ 10 h 238"/>
                <a:gd name="T58" fmla="*/ 226 w 241"/>
                <a:gd name="T59" fmla="*/ 52 h 238"/>
                <a:gd name="T60" fmla="*/ 158 w 241"/>
                <a:gd name="T61" fmla="*/ 57 h 238"/>
                <a:gd name="T62" fmla="*/ 146 w 241"/>
                <a:gd name="T63" fmla="*/ 90 h 238"/>
                <a:gd name="T64" fmla="*/ 83 w 241"/>
                <a:gd name="T65" fmla="*/ 78 h 238"/>
                <a:gd name="T66" fmla="*/ 78 w 241"/>
                <a:gd name="T67" fmla="*/ 52 h 238"/>
                <a:gd name="T68" fmla="*/ 51 w 241"/>
                <a:gd name="T69" fmla="*/ 10 h 238"/>
                <a:gd name="T70" fmla="*/ 24 w 241"/>
                <a:gd name="T71" fmla="*/ 228 h 238"/>
                <a:gd name="T72" fmla="*/ 10 w 241"/>
                <a:gd name="T73" fmla="*/ 175 h 238"/>
                <a:gd name="T74" fmla="*/ 73 w 241"/>
                <a:gd name="T75" fmla="*/ 191 h 238"/>
                <a:gd name="T76" fmla="*/ 146 w 241"/>
                <a:gd name="T77" fmla="*/ 213 h 238"/>
                <a:gd name="T78" fmla="*/ 168 w 241"/>
                <a:gd name="T79" fmla="*/ 175 h 238"/>
                <a:gd name="T80" fmla="*/ 231 w 241"/>
                <a:gd name="T81" fmla="*/ 21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 h="238">
                  <a:moveTo>
                    <a:pt x="241" y="56"/>
                  </a:moveTo>
                  <a:cubicBezTo>
                    <a:pt x="241" y="56"/>
                    <a:pt x="240" y="56"/>
                    <a:pt x="240" y="55"/>
                  </a:cubicBezTo>
                  <a:cubicBezTo>
                    <a:pt x="240" y="55"/>
                    <a:pt x="240" y="55"/>
                    <a:pt x="240" y="55"/>
                  </a:cubicBezTo>
                  <a:cubicBezTo>
                    <a:pt x="240" y="54"/>
                    <a:pt x="240" y="54"/>
                    <a:pt x="240" y="54"/>
                  </a:cubicBezTo>
                  <a:cubicBezTo>
                    <a:pt x="196" y="2"/>
                    <a:pt x="196" y="2"/>
                    <a:pt x="196" y="2"/>
                  </a:cubicBezTo>
                  <a:cubicBezTo>
                    <a:pt x="195" y="1"/>
                    <a:pt x="194" y="0"/>
                    <a:pt x="192" y="0"/>
                  </a:cubicBezTo>
                  <a:cubicBezTo>
                    <a:pt x="49" y="0"/>
                    <a:pt x="49" y="0"/>
                    <a:pt x="49" y="0"/>
                  </a:cubicBezTo>
                  <a:cubicBezTo>
                    <a:pt x="47" y="0"/>
                    <a:pt x="46" y="1"/>
                    <a:pt x="45" y="2"/>
                  </a:cubicBezTo>
                  <a:cubicBezTo>
                    <a:pt x="2" y="54"/>
                    <a:pt x="2" y="54"/>
                    <a:pt x="2" y="54"/>
                  </a:cubicBezTo>
                  <a:cubicBezTo>
                    <a:pt x="1" y="54"/>
                    <a:pt x="1" y="54"/>
                    <a:pt x="1" y="55"/>
                  </a:cubicBezTo>
                  <a:cubicBezTo>
                    <a:pt x="1" y="55"/>
                    <a:pt x="1" y="55"/>
                    <a:pt x="1" y="55"/>
                  </a:cubicBezTo>
                  <a:cubicBezTo>
                    <a:pt x="1" y="56"/>
                    <a:pt x="1" y="56"/>
                    <a:pt x="1" y="56"/>
                  </a:cubicBezTo>
                  <a:cubicBezTo>
                    <a:pt x="1" y="57"/>
                    <a:pt x="0" y="57"/>
                    <a:pt x="0" y="57"/>
                  </a:cubicBezTo>
                  <a:cubicBezTo>
                    <a:pt x="0" y="214"/>
                    <a:pt x="0" y="214"/>
                    <a:pt x="0" y="214"/>
                  </a:cubicBezTo>
                  <a:cubicBezTo>
                    <a:pt x="0" y="227"/>
                    <a:pt x="11" y="238"/>
                    <a:pt x="24" y="238"/>
                  </a:cubicBezTo>
                  <a:cubicBezTo>
                    <a:pt x="217" y="238"/>
                    <a:pt x="217" y="238"/>
                    <a:pt x="217" y="238"/>
                  </a:cubicBezTo>
                  <a:cubicBezTo>
                    <a:pt x="230" y="238"/>
                    <a:pt x="241" y="227"/>
                    <a:pt x="241" y="214"/>
                  </a:cubicBezTo>
                  <a:cubicBezTo>
                    <a:pt x="241" y="57"/>
                    <a:pt x="241" y="57"/>
                    <a:pt x="241" y="57"/>
                  </a:cubicBezTo>
                  <a:cubicBezTo>
                    <a:pt x="241" y="57"/>
                    <a:pt x="241" y="57"/>
                    <a:pt x="241" y="56"/>
                  </a:cubicBezTo>
                  <a:close/>
                  <a:moveTo>
                    <a:pt x="78" y="165"/>
                  </a:moveTo>
                  <a:cubicBezTo>
                    <a:pt x="10" y="165"/>
                    <a:pt x="10" y="165"/>
                    <a:pt x="10" y="165"/>
                  </a:cubicBezTo>
                  <a:cubicBezTo>
                    <a:pt x="10" y="117"/>
                    <a:pt x="10" y="117"/>
                    <a:pt x="10" y="117"/>
                  </a:cubicBezTo>
                  <a:cubicBezTo>
                    <a:pt x="73" y="117"/>
                    <a:pt x="73" y="117"/>
                    <a:pt x="73" y="117"/>
                  </a:cubicBezTo>
                  <a:cubicBezTo>
                    <a:pt x="73" y="133"/>
                    <a:pt x="73" y="133"/>
                    <a:pt x="73" y="133"/>
                  </a:cubicBezTo>
                  <a:cubicBezTo>
                    <a:pt x="73" y="145"/>
                    <a:pt x="83" y="155"/>
                    <a:pt x="95" y="155"/>
                  </a:cubicBezTo>
                  <a:cubicBezTo>
                    <a:pt x="146" y="155"/>
                    <a:pt x="146" y="155"/>
                    <a:pt x="146" y="155"/>
                  </a:cubicBezTo>
                  <a:cubicBezTo>
                    <a:pt x="158" y="155"/>
                    <a:pt x="168" y="145"/>
                    <a:pt x="168" y="133"/>
                  </a:cubicBezTo>
                  <a:cubicBezTo>
                    <a:pt x="168" y="117"/>
                    <a:pt x="168" y="117"/>
                    <a:pt x="168" y="117"/>
                  </a:cubicBezTo>
                  <a:cubicBezTo>
                    <a:pt x="231" y="117"/>
                    <a:pt x="231" y="117"/>
                    <a:pt x="231" y="117"/>
                  </a:cubicBezTo>
                  <a:cubicBezTo>
                    <a:pt x="231" y="165"/>
                    <a:pt x="231" y="165"/>
                    <a:pt x="231" y="165"/>
                  </a:cubicBezTo>
                  <a:cubicBezTo>
                    <a:pt x="163" y="165"/>
                    <a:pt x="163" y="165"/>
                    <a:pt x="163" y="165"/>
                  </a:cubicBezTo>
                  <a:cubicBezTo>
                    <a:pt x="160" y="165"/>
                    <a:pt x="158" y="167"/>
                    <a:pt x="158" y="170"/>
                  </a:cubicBezTo>
                  <a:cubicBezTo>
                    <a:pt x="158" y="191"/>
                    <a:pt x="158" y="191"/>
                    <a:pt x="158" y="191"/>
                  </a:cubicBezTo>
                  <a:cubicBezTo>
                    <a:pt x="158" y="198"/>
                    <a:pt x="153" y="203"/>
                    <a:pt x="146" y="203"/>
                  </a:cubicBezTo>
                  <a:cubicBezTo>
                    <a:pt x="95" y="203"/>
                    <a:pt x="95" y="203"/>
                    <a:pt x="95" y="203"/>
                  </a:cubicBezTo>
                  <a:cubicBezTo>
                    <a:pt x="88" y="203"/>
                    <a:pt x="83" y="198"/>
                    <a:pt x="83" y="191"/>
                  </a:cubicBezTo>
                  <a:cubicBezTo>
                    <a:pt x="83" y="170"/>
                    <a:pt x="83" y="170"/>
                    <a:pt x="83" y="170"/>
                  </a:cubicBezTo>
                  <a:cubicBezTo>
                    <a:pt x="83" y="167"/>
                    <a:pt x="81" y="165"/>
                    <a:pt x="78" y="165"/>
                  </a:cubicBezTo>
                  <a:close/>
                  <a:moveTo>
                    <a:pt x="95" y="100"/>
                  </a:moveTo>
                  <a:cubicBezTo>
                    <a:pt x="146" y="100"/>
                    <a:pt x="146" y="100"/>
                    <a:pt x="146" y="100"/>
                  </a:cubicBezTo>
                  <a:cubicBezTo>
                    <a:pt x="158" y="100"/>
                    <a:pt x="168" y="90"/>
                    <a:pt x="168" y="78"/>
                  </a:cubicBezTo>
                  <a:cubicBezTo>
                    <a:pt x="168" y="62"/>
                    <a:pt x="168" y="62"/>
                    <a:pt x="168" y="62"/>
                  </a:cubicBezTo>
                  <a:cubicBezTo>
                    <a:pt x="231" y="62"/>
                    <a:pt x="231" y="62"/>
                    <a:pt x="231" y="62"/>
                  </a:cubicBezTo>
                  <a:cubicBezTo>
                    <a:pt x="231" y="107"/>
                    <a:pt x="231" y="107"/>
                    <a:pt x="231" y="107"/>
                  </a:cubicBezTo>
                  <a:cubicBezTo>
                    <a:pt x="163" y="107"/>
                    <a:pt x="163" y="107"/>
                    <a:pt x="163" y="107"/>
                  </a:cubicBezTo>
                  <a:cubicBezTo>
                    <a:pt x="160" y="107"/>
                    <a:pt x="158" y="109"/>
                    <a:pt x="158" y="112"/>
                  </a:cubicBezTo>
                  <a:cubicBezTo>
                    <a:pt x="158" y="133"/>
                    <a:pt x="158" y="133"/>
                    <a:pt x="158" y="133"/>
                  </a:cubicBezTo>
                  <a:cubicBezTo>
                    <a:pt x="158" y="140"/>
                    <a:pt x="153" y="145"/>
                    <a:pt x="146" y="145"/>
                  </a:cubicBezTo>
                  <a:cubicBezTo>
                    <a:pt x="95" y="145"/>
                    <a:pt x="95" y="145"/>
                    <a:pt x="95" y="145"/>
                  </a:cubicBezTo>
                  <a:cubicBezTo>
                    <a:pt x="88" y="145"/>
                    <a:pt x="83" y="140"/>
                    <a:pt x="83" y="133"/>
                  </a:cubicBezTo>
                  <a:cubicBezTo>
                    <a:pt x="83" y="112"/>
                    <a:pt x="83" y="112"/>
                    <a:pt x="83" y="112"/>
                  </a:cubicBezTo>
                  <a:cubicBezTo>
                    <a:pt x="83" y="109"/>
                    <a:pt x="81" y="107"/>
                    <a:pt x="78" y="107"/>
                  </a:cubicBezTo>
                  <a:cubicBezTo>
                    <a:pt x="10" y="107"/>
                    <a:pt x="10" y="107"/>
                    <a:pt x="10" y="107"/>
                  </a:cubicBezTo>
                  <a:cubicBezTo>
                    <a:pt x="10" y="62"/>
                    <a:pt x="10" y="62"/>
                    <a:pt x="10" y="62"/>
                  </a:cubicBezTo>
                  <a:cubicBezTo>
                    <a:pt x="73" y="62"/>
                    <a:pt x="73" y="62"/>
                    <a:pt x="73" y="62"/>
                  </a:cubicBezTo>
                  <a:cubicBezTo>
                    <a:pt x="73" y="78"/>
                    <a:pt x="73" y="78"/>
                    <a:pt x="73" y="78"/>
                  </a:cubicBezTo>
                  <a:cubicBezTo>
                    <a:pt x="73" y="90"/>
                    <a:pt x="83" y="100"/>
                    <a:pt x="95" y="100"/>
                  </a:cubicBezTo>
                  <a:close/>
                  <a:moveTo>
                    <a:pt x="51" y="10"/>
                  </a:moveTo>
                  <a:cubicBezTo>
                    <a:pt x="190" y="10"/>
                    <a:pt x="190" y="10"/>
                    <a:pt x="190" y="10"/>
                  </a:cubicBezTo>
                  <a:cubicBezTo>
                    <a:pt x="226" y="52"/>
                    <a:pt x="226" y="52"/>
                    <a:pt x="226" y="52"/>
                  </a:cubicBezTo>
                  <a:cubicBezTo>
                    <a:pt x="163" y="52"/>
                    <a:pt x="163" y="52"/>
                    <a:pt x="163" y="52"/>
                  </a:cubicBezTo>
                  <a:cubicBezTo>
                    <a:pt x="160" y="52"/>
                    <a:pt x="158" y="54"/>
                    <a:pt x="158" y="57"/>
                  </a:cubicBezTo>
                  <a:cubicBezTo>
                    <a:pt x="158" y="78"/>
                    <a:pt x="158" y="78"/>
                    <a:pt x="158" y="78"/>
                  </a:cubicBezTo>
                  <a:cubicBezTo>
                    <a:pt x="158" y="85"/>
                    <a:pt x="153" y="90"/>
                    <a:pt x="146" y="90"/>
                  </a:cubicBezTo>
                  <a:cubicBezTo>
                    <a:pt x="95" y="90"/>
                    <a:pt x="95" y="90"/>
                    <a:pt x="95" y="90"/>
                  </a:cubicBezTo>
                  <a:cubicBezTo>
                    <a:pt x="88" y="90"/>
                    <a:pt x="83" y="85"/>
                    <a:pt x="83" y="78"/>
                  </a:cubicBezTo>
                  <a:cubicBezTo>
                    <a:pt x="83" y="57"/>
                    <a:pt x="83" y="57"/>
                    <a:pt x="83" y="57"/>
                  </a:cubicBezTo>
                  <a:cubicBezTo>
                    <a:pt x="83" y="54"/>
                    <a:pt x="81" y="52"/>
                    <a:pt x="78" y="52"/>
                  </a:cubicBezTo>
                  <a:cubicBezTo>
                    <a:pt x="16" y="52"/>
                    <a:pt x="16" y="52"/>
                    <a:pt x="16" y="52"/>
                  </a:cubicBezTo>
                  <a:lnTo>
                    <a:pt x="51" y="10"/>
                  </a:lnTo>
                  <a:close/>
                  <a:moveTo>
                    <a:pt x="217" y="228"/>
                  </a:moveTo>
                  <a:cubicBezTo>
                    <a:pt x="24" y="228"/>
                    <a:pt x="24" y="228"/>
                    <a:pt x="24" y="228"/>
                  </a:cubicBezTo>
                  <a:cubicBezTo>
                    <a:pt x="16" y="228"/>
                    <a:pt x="10" y="222"/>
                    <a:pt x="10" y="214"/>
                  </a:cubicBezTo>
                  <a:cubicBezTo>
                    <a:pt x="10" y="175"/>
                    <a:pt x="10" y="175"/>
                    <a:pt x="10" y="175"/>
                  </a:cubicBezTo>
                  <a:cubicBezTo>
                    <a:pt x="73" y="175"/>
                    <a:pt x="73" y="175"/>
                    <a:pt x="73" y="175"/>
                  </a:cubicBezTo>
                  <a:cubicBezTo>
                    <a:pt x="73" y="191"/>
                    <a:pt x="73" y="191"/>
                    <a:pt x="73" y="191"/>
                  </a:cubicBezTo>
                  <a:cubicBezTo>
                    <a:pt x="73" y="203"/>
                    <a:pt x="83" y="213"/>
                    <a:pt x="95" y="213"/>
                  </a:cubicBezTo>
                  <a:cubicBezTo>
                    <a:pt x="146" y="213"/>
                    <a:pt x="146" y="213"/>
                    <a:pt x="146" y="213"/>
                  </a:cubicBezTo>
                  <a:cubicBezTo>
                    <a:pt x="158" y="213"/>
                    <a:pt x="168" y="203"/>
                    <a:pt x="168" y="191"/>
                  </a:cubicBezTo>
                  <a:cubicBezTo>
                    <a:pt x="168" y="175"/>
                    <a:pt x="168" y="175"/>
                    <a:pt x="168" y="175"/>
                  </a:cubicBezTo>
                  <a:cubicBezTo>
                    <a:pt x="231" y="175"/>
                    <a:pt x="231" y="175"/>
                    <a:pt x="231" y="175"/>
                  </a:cubicBezTo>
                  <a:cubicBezTo>
                    <a:pt x="231" y="214"/>
                    <a:pt x="231" y="214"/>
                    <a:pt x="231" y="214"/>
                  </a:cubicBezTo>
                  <a:cubicBezTo>
                    <a:pt x="231" y="222"/>
                    <a:pt x="225" y="228"/>
                    <a:pt x="217" y="2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7" name="Freeform 244">
              <a:extLst>
                <a:ext uri="{FF2B5EF4-FFF2-40B4-BE49-F238E27FC236}">
                  <a16:creationId xmlns:a16="http://schemas.microsoft.com/office/drawing/2014/main" id="{15D83CC2-F88C-1840-BD8C-1C54318487D4}"/>
                </a:ext>
              </a:extLst>
            </p:cNvPr>
            <p:cNvSpPr>
              <a:spLocks noEditPoints="1"/>
            </p:cNvSpPr>
            <p:nvPr/>
          </p:nvSpPr>
          <p:spPr bwMode="auto">
            <a:xfrm>
              <a:off x="3825224" y="536134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9" name="Group 128">
            <a:extLst>
              <a:ext uri="{FF2B5EF4-FFF2-40B4-BE49-F238E27FC236}">
                <a16:creationId xmlns:a16="http://schemas.microsoft.com/office/drawing/2014/main" id="{A21283D3-2155-234A-A79C-3E23162EDF17}"/>
              </a:ext>
            </a:extLst>
          </p:cNvPr>
          <p:cNvGrpSpPr/>
          <p:nvPr/>
        </p:nvGrpSpPr>
        <p:grpSpPr>
          <a:xfrm>
            <a:off x="4946404" y="2264354"/>
            <a:ext cx="497776" cy="517982"/>
            <a:chOff x="2711368" y="5371524"/>
            <a:chExt cx="497776" cy="517982"/>
          </a:xfrm>
        </p:grpSpPr>
        <p:sp>
          <p:nvSpPr>
            <p:cNvPr id="130" name="Freeform 77">
              <a:extLst>
                <a:ext uri="{FF2B5EF4-FFF2-40B4-BE49-F238E27FC236}">
                  <a16:creationId xmlns:a16="http://schemas.microsoft.com/office/drawing/2014/main" id="{02A6F844-BD78-CC4C-8C3C-787FD511B64D}"/>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2" name="Freeform 244">
              <a:extLst>
                <a:ext uri="{FF2B5EF4-FFF2-40B4-BE49-F238E27FC236}">
                  <a16:creationId xmlns:a16="http://schemas.microsoft.com/office/drawing/2014/main" id="{D4B776D6-A579-EF45-B3C1-E413F11CEDDF}"/>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33" name="Group 132">
            <a:extLst>
              <a:ext uri="{FF2B5EF4-FFF2-40B4-BE49-F238E27FC236}">
                <a16:creationId xmlns:a16="http://schemas.microsoft.com/office/drawing/2014/main" id="{74A29BA1-ED13-D147-8441-36CC459CD731}"/>
              </a:ext>
            </a:extLst>
          </p:cNvPr>
          <p:cNvGrpSpPr/>
          <p:nvPr/>
        </p:nvGrpSpPr>
        <p:grpSpPr>
          <a:xfrm>
            <a:off x="8632432" y="3198491"/>
            <a:ext cx="497776" cy="517982"/>
            <a:chOff x="4395408" y="5366456"/>
            <a:chExt cx="497776" cy="517982"/>
          </a:xfrm>
        </p:grpSpPr>
        <p:grpSp>
          <p:nvGrpSpPr>
            <p:cNvPr id="134" name="Group 133">
              <a:extLst>
                <a:ext uri="{FF2B5EF4-FFF2-40B4-BE49-F238E27FC236}">
                  <a16:creationId xmlns:a16="http://schemas.microsoft.com/office/drawing/2014/main" id="{18B9B37C-C340-F449-A7DB-4CDF3CEEB79E}"/>
                </a:ext>
              </a:extLst>
            </p:cNvPr>
            <p:cNvGrpSpPr/>
            <p:nvPr/>
          </p:nvGrpSpPr>
          <p:grpSpPr>
            <a:xfrm>
              <a:off x="4494924" y="5478085"/>
              <a:ext cx="307156" cy="307154"/>
              <a:chOff x="4648200" y="6919913"/>
              <a:chExt cx="611188" cy="611187"/>
            </a:xfrm>
          </p:grpSpPr>
          <p:sp>
            <p:nvSpPr>
              <p:cNvPr id="136" name="Freeform 285">
                <a:extLst>
                  <a:ext uri="{FF2B5EF4-FFF2-40B4-BE49-F238E27FC236}">
                    <a16:creationId xmlns:a16="http://schemas.microsoft.com/office/drawing/2014/main" id="{44AA4A79-BC3B-F140-9ACC-7F13E40B97CF}"/>
                  </a:ext>
                </a:extLst>
              </p:cNvPr>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7" name="Freeform 286">
                <a:extLst>
                  <a:ext uri="{FF2B5EF4-FFF2-40B4-BE49-F238E27FC236}">
                    <a16:creationId xmlns:a16="http://schemas.microsoft.com/office/drawing/2014/main" id="{3C4B2AB0-2DEC-4647-9E3F-C857C53A3615}"/>
                  </a:ext>
                </a:extLst>
              </p:cNvPr>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8" name="Freeform 287">
                <a:extLst>
                  <a:ext uri="{FF2B5EF4-FFF2-40B4-BE49-F238E27FC236}">
                    <a16:creationId xmlns:a16="http://schemas.microsoft.com/office/drawing/2014/main" id="{51767B94-A4C9-8A44-A511-93FA96FD7AC2}"/>
                  </a:ext>
                </a:extLst>
              </p:cNvPr>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9" name="Freeform 288">
                <a:extLst>
                  <a:ext uri="{FF2B5EF4-FFF2-40B4-BE49-F238E27FC236}">
                    <a16:creationId xmlns:a16="http://schemas.microsoft.com/office/drawing/2014/main" id="{A1033521-E8C3-124C-B90B-8622061F09E2}"/>
                  </a:ext>
                </a:extLst>
              </p:cNvPr>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0" name="Freeform 289">
                <a:extLst>
                  <a:ext uri="{FF2B5EF4-FFF2-40B4-BE49-F238E27FC236}">
                    <a16:creationId xmlns:a16="http://schemas.microsoft.com/office/drawing/2014/main" id="{8DFC6F74-2704-EF4A-B2CA-56CA7BE980DC}"/>
                  </a:ext>
                </a:extLst>
              </p:cNvPr>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1" name="Freeform 290">
                <a:extLst>
                  <a:ext uri="{FF2B5EF4-FFF2-40B4-BE49-F238E27FC236}">
                    <a16:creationId xmlns:a16="http://schemas.microsoft.com/office/drawing/2014/main" id="{42BE02F7-BE7F-814C-A8D3-F390B5723B02}"/>
                  </a:ext>
                </a:extLst>
              </p:cNvPr>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2" name="Freeform 291">
                <a:extLst>
                  <a:ext uri="{FF2B5EF4-FFF2-40B4-BE49-F238E27FC236}">
                    <a16:creationId xmlns:a16="http://schemas.microsoft.com/office/drawing/2014/main" id="{F4616E20-AC4E-BC4B-8E46-426C0A0C66EE}"/>
                  </a:ext>
                </a:extLst>
              </p:cNvPr>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3" name="Freeform 292">
                <a:extLst>
                  <a:ext uri="{FF2B5EF4-FFF2-40B4-BE49-F238E27FC236}">
                    <a16:creationId xmlns:a16="http://schemas.microsoft.com/office/drawing/2014/main" id="{2D08C698-434D-3242-B97A-BDCF5A918965}"/>
                  </a:ext>
                </a:extLst>
              </p:cNvPr>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35" name="Freeform 244">
              <a:extLst>
                <a:ext uri="{FF2B5EF4-FFF2-40B4-BE49-F238E27FC236}">
                  <a16:creationId xmlns:a16="http://schemas.microsoft.com/office/drawing/2014/main" id="{C67B2CD3-637A-8D4B-A9CF-580854F7D8C5}"/>
                </a:ext>
              </a:extLst>
            </p:cNvPr>
            <p:cNvSpPr>
              <a:spLocks noEditPoints="1"/>
            </p:cNvSpPr>
            <p:nvPr/>
          </p:nvSpPr>
          <p:spPr bwMode="auto">
            <a:xfrm>
              <a:off x="4395408"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4" name="Group 143">
            <a:extLst>
              <a:ext uri="{FF2B5EF4-FFF2-40B4-BE49-F238E27FC236}">
                <a16:creationId xmlns:a16="http://schemas.microsoft.com/office/drawing/2014/main" id="{AE441116-8A64-D349-958E-10648E0929EB}"/>
              </a:ext>
            </a:extLst>
          </p:cNvPr>
          <p:cNvGrpSpPr/>
          <p:nvPr/>
        </p:nvGrpSpPr>
        <p:grpSpPr>
          <a:xfrm>
            <a:off x="11165654" y="4329868"/>
            <a:ext cx="497776" cy="517982"/>
            <a:chOff x="5302152" y="5598347"/>
            <a:chExt cx="497776" cy="517982"/>
          </a:xfrm>
        </p:grpSpPr>
        <p:sp>
          <p:nvSpPr>
            <p:cNvPr id="146" name="Freeform 244">
              <a:extLst>
                <a:ext uri="{FF2B5EF4-FFF2-40B4-BE49-F238E27FC236}">
                  <a16:creationId xmlns:a16="http://schemas.microsoft.com/office/drawing/2014/main" id="{FC0EA756-D947-7842-8757-BD5077C2CD06}"/>
                </a:ext>
              </a:extLst>
            </p:cNvPr>
            <p:cNvSpPr>
              <a:spLocks noEditPoints="1"/>
            </p:cNvSpPr>
            <p:nvPr/>
          </p:nvSpPr>
          <p:spPr bwMode="auto">
            <a:xfrm>
              <a:off x="5302152" y="5598347"/>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47" name="Group 146">
              <a:extLst>
                <a:ext uri="{FF2B5EF4-FFF2-40B4-BE49-F238E27FC236}">
                  <a16:creationId xmlns:a16="http://schemas.microsoft.com/office/drawing/2014/main" id="{CB7180AB-531B-3E4F-A888-63BAC1479983}"/>
                </a:ext>
              </a:extLst>
            </p:cNvPr>
            <p:cNvGrpSpPr/>
            <p:nvPr/>
          </p:nvGrpSpPr>
          <p:grpSpPr>
            <a:xfrm>
              <a:off x="5393064" y="5718880"/>
              <a:ext cx="316110" cy="277561"/>
              <a:chOff x="1290638" y="5410200"/>
              <a:chExt cx="585787" cy="514350"/>
            </a:xfrm>
          </p:grpSpPr>
          <p:sp>
            <p:nvSpPr>
              <p:cNvPr id="148" name="Freeform 66">
                <a:extLst>
                  <a:ext uri="{FF2B5EF4-FFF2-40B4-BE49-F238E27FC236}">
                    <a16:creationId xmlns:a16="http://schemas.microsoft.com/office/drawing/2014/main" id="{9A76BE4A-5969-FE4E-9E69-941CEC7D2A67}"/>
                  </a:ext>
                </a:extLst>
              </p:cNvPr>
              <p:cNvSpPr>
                <a:spLocks noEditPoints="1"/>
              </p:cNvSpPr>
              <p:nvPr/>
            </p:nvSpPr>
            <p:spPr bwMode="auto">
              <a:xfrm>
                <a:off x="1514475" y="5619750"/>
                <a:ext cx="161925" cy="231775"/>
              </a:xfrm>
              <a:custGeom>
                <a:avLst/>
                <a:gdLst>
                  <a:gd name="T0" fmla="*/ 7 w 66"/>
                  <a:gd name="T1" fmla="*/ 2 h 94"/>
                  <a:gd name="T2" fmla="*/ 2 w 66"/>
                  <a:gd name="T3" fmla="*/ 1 h 94"/>
                  <a:gd name="T4" fmla="*/ 0 w 66"/>
                  <a:gd name="T5" fmla="*/ 6 h 94"/>
                  <a:gd name="T6" fmla="*/ 10 w 66"/>
                  <a:gd name="T7" fmla="*/ 77 h 94"/>
                  <a:gd name="T8" fmla="*/ 13 w 66"/>
                  <a:gd name="T9" fmla="*/ 81 h 94"/>
                  <a:gd name="T10" fmla="*/ 17 w 66"/>
                  <a:gd name="T11" fmla="*/ 80 h 94"/>
                  <a:gd name="T12" fmla="*/ 30 w 66"/>
                  <a:gd name="T13" fmla="*/ 70 h 94"/>
                  <a:gd name="T14" fmla="*/ 41 w 66"/>
                  <a:gd name="T15" fmla="*/ 91 h 94"/>
                  <a:gd name="T16" fmla="*/ 44 w 66"/>
                  <a:gd name="T17" fmla="*/ 94 h 94"/>
                  <a:gd name="T18" fmla="*/ 46 w 66"/>
                  <a:gd name="T19" fmla="*/ 94 h 94"/>
                  <a:gd name="T20" fmla="*/ 48 w 66"/>
                  <a:gd name="T21" fmla="*/ 93 h 94"/>
                  <a:gd name="T22" fmla="*/ 62 w 66"/>
                  <a:gd name="T23" fmla="*/ 84 h 94"/>
                  <a:gd name="T24" fmla="*/ 64 w 66"/>
                  <a:gd name="T25" fmla="*/ 81 h 94"/>
                  <a:gd name="T26" fmla="*/ 63 w 66"/>
                  <a:gd name="T27" fmla="*/ 77 h 94"/>
                  <a:gd name="T28" fmla="*/ 49 w 66"/>
                  <a:gd name="T29" fmla="*/ 59 h 94"/>
                  <a:gd name="T30" fmla="*/ 63 w 66"/>
                  <a:gd name="T31" fmla="*/ 53 h 94"/>
                  <a:gd name="T32" fmla="*/ 66 w 66"/>
                  <a:gd name="T33" fmla="*/ 49 h 94"/>
                  <a:gd name="T34" fmla="*/ 64 w 66"/>
                  <a:gd name="T35" fmla="*/ 45 h 94"/>
                  <a:gd name="T36" fmla="*/ 7 w 66"/>
                  <a:gd name="T37" fmla="*/ 2 h 94"/>
                  <a:gd name="T38" fmla="*/ 39 w 66"/>
                  <a:gd name="T39" fmla="*/ 52 h 94"/>
                  <a:gd name="T40" fmla="*/ 36 w 66"/>
                  <a:gd name="T41" fmla="*/ 55 h 94"/>
                  <a:gd name="T42" fmla="*/ 37 w 66"/>
                  <a:gd name="T43" fmla="*/ 59 h 94"/>
                  <a:gd name="T44" fmla="*/ 52 w 66"/>
                  <a:gd name="T45" fmla="*/ 79 h 94"/>
                  <a:gd name="T46" fmla="*/ 47 w 66"/>
                  <a:gd name="T47" fmla="*/ 82 h 94"/>
                  <a:gd name="T48" fmla="*/ 35 w 66"/>
                  <a:gd name="T49" fmla="*/ 60 h 94"/>
                  <a:gd name="T50" fmla="*/ 32 w 66"/>
                  <a:gd name="T51" fmla="*/ 58 h 94"/>
                  <a:gd name="T52" fmla="*/ 31 w 66"/>
                  <a:gd name="T53" fmla="*/ 57 h 94"/>
                  <a:gd name="T54" fmla="*/ 28 w 66"/>
                  <a:gd name="T55" fmla="*/ 59 h 94"/>
                  <a:gd name="T56" fmla="*/ 18 w 66"/>
                  <a:gd name="T57" fmla="*/ 67 h 94"/>
                  <a:gd name="T58" fmla="*/ 11 w 66"/>
                  <a:gd name="T59" fmla="*/ 16 h 94"/>
                  <a:gd name="T60" fmla="*/ 51 w 66"/>
                  <a:gd name="T61" fmla="*/ 47 h 94"/>
                  <a:gd name="T62" fmla="*/ 39 w 66"/>
                  <a:gd name="T63"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94">
                    <a:moveTo>
                      <a:pt x="7" y="2"/>
                    </a:moveTo>
                    <a:cubicBezTo>
                      <a:pt x="6" y="0"/>
                      <a:pt x="4" y="0"/>
                      <a:pt x="2" y="1"/>
                    </a:cubicBezTo>
                    <a:cubicBezTo>
                      <a:pt x="0" y="2"/>
                      <a:pt x="0" y="4"/>
                      <a:pt x="0" y="6"/>
                    </a:cubicBezTo>
                    <a:cubicBezTo>
                      <a:pt x="10" y="77"/>
                      <a:pt x="10" y="77"/>
                      <a:pt x="10" y="77"/>
                    </a:cubicBezTo>
                    <a:cubicBezTo>
                      <a:pt x="10" y="79"/>
                      <a:pt x="11" y="81"/>
                      <a:pt x="13" y="81"/>
                    </a:cubicBezTo>
                    <a:cubicBezTo>
                      <a:pt x="14" y="82"/>
                      <a:pt x="16" y="81"/>
                      <a:pt x="17" y="80"/>
                    </a:cubicBezTo>
                    <a:cubicBezTo>
                      <a:pt x="30" y="70"/>
                      <a:pt x="30" y="70"/>
                      <a:pt x="30" y="70"/>
                    </a:cubicBezTo>
                    <a:cubicBezTo>
                      <a:pt x="41" y="91"/>
                      <a:pt x="41" y="91"/>
                      <a:pt x="41" y="91"/>
                    </a:cubicBezTo>
                    <a:cubicBezTo>
                      <a:pt x="42" y="93"/>
                      <a:pt x="43" y="94"/>
                      <a:pt x="44" y="94"/>
                    </a:cubicBezTo>
                    <a:cubicBezTo>
                      <a:pt x="45" y="94"/>
                      <a:pt x="45" y="94"/>
                      <a:pt x="46" y="94"/>
                    </a:cubicBezTo>
                    <a:cubicBezTo>
                      <a:pt x="47" y="94"/>
                      <a:pt x="47" y="94"/>
                      <a:pt x="48" y="93"/>
                    </a:cubicBezTo>
                    <a:cubicBezTo>
                      <a:pt x="62" y="84"/>
                      <a:pt x="62" y="84"/>
                      <a:pt x="62" y="84"/>
                    </a:cubicBezTo>
                    <a:cubicBezTo>
                      <a:pt x="63" y="83"/>
                      <a:pt x="64" y="82"/>
                      <a:pt x="64" y="81"/>
                    </a:cubicBezTo>
                    <a:cubicBezTo>
                      <a:pt x="64" y="80"/>
                      <a:pt x="64" y="78"/>
                      <a:pt x="63" y="77"/>
                    </a:cubicBezTo>
                    <a:cubicBezTo>
                      <a:pt x="49" y="59"/>
                      <a:pt x="49" y="59"/>
                      <a:pt x="49" y="59"/>
                    </a:cubicBezTo>
                    <a:cubicBezTo>
                      <a:pt x="63" y="53"/>
                      <a:pt x="63" y="53"/>
                      <a:pt x="63" y="53"/>
                    </a:cubicBezTo>
                    <a:cubicBezTo>
                      <a:pt x="64" y="52"/>
                      <a:pt x="65" y="51"/>
                      <a:pt x="66" y="49"/>
                    </a:cubicBezTo>
                    <a:cubicBezTo>
                      <a:pt x="66" y="48"/>
                      <a:pt x="65" y="46"/>
                      <a:pt x="64" y="45"/>
                    </a:cubicBezTo>
                    <a:lnTo>
                      <a:pt x="7" y="2"/>
                    </a:lnTo>
                    <a:close/>
                    <a:moveTo>
                      <a:pt x="39" y="52"/>
                    </a:moveTo>
                    <a:cubicBezTo>
                      <a:pt x="38" y="53"/>
                      <a:pt x="37" y="54"/>
                      <a:pt x="36" y="55"/>
                    </a:cubicBezTo>
                    <a:cubicBezTo>
                      <a:pt x="36" y="57"/>
                      <a:pt x="36" y="58"/>
                      <a:pt x="37" y="59"/>
                    </a:cubicBezTo>
                    <a:cubicBezTo>
                      <a:pt x="52" y="79"/>
                      <a:pt x="52" y="79"/>
                      <a:pt x="52" y="79"/>
                    </a:cubicBezTo>
                    <a:cubicBezTo>
                      <a:pt x="47" y="82"/>
                      <a:pt x="47" y="82"/>
                      <a:pt x="47" y="82"/>
                    </a:cubicBezTo>
                    <a:cubicBezTo>
                      <a:pt x="35" y="60"/>
                      <a:pt x="35" y="60"/>
                      <a:pt x="35" y="60"/>
                    </a:cubicBezTo>
                    <a:cubicBezTo>
                      <a:pt x="35" y="59"/>
                      <a:pt x="33" y="58"/>
                      <a:pt x="32" y="58"/>
                    </a:cubicBezTo>
                    <a:cubicBezTo>
                      <a:pt x="32" y="58"/>
                      <a:pt x="31" y="57"/>
                      <a:pt x="31" y="57"/>
                    </a:cubicBezTo>
                    <a:cubicBezTo>
                      <a:pt x="30" y="57"/>
                      <a:pt x="29" y="58"/>
                      <a:pt x="28" y="59"/>
                    </a:cubicBezTo>
                    <a:cubicBezTo>
                      <a:pt x="18" y="67"/>
                      <a:pt x="18" y="67"/>
                      <a:pt x="18" y="67"/>
                    </a:cubicBezTo>
                    <a:cubicBezTo>
                      <a:pt x="11" y="16"/>
                      <a:pt x="11" y="16"/>
                      <a:pt x="11" y="16"/>
                    </a:cubicBezTo>
                    <a:cubicBezTo>
                      <a:pt x="51" y="47"/>
                      <a:pt x="51" y="47"/>
                      <a:pt x="51" y="47"/>
                    </a:cubicBezTo>
                    <a:lnTo>
                      <a:pt x="39" y="5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9" name="Freeform 67">
                <a:extLst>
                  <a:ext uri="{FF2B5EF4-FFF2-40B4-BE49-F238E27FC236}">
                    <a16:creationId xmlns:a16="http://schemas.microsoft.com/office/drawing/2014/main" id="{4A205275-1A2A-1846-8533-3AA358811729}"/>
                  </a:ext>
                </a:extLst>
              </p:cNvPr>
              <p:cNvSpPr>
                <a:spLocks noEditPoints="1"/>
              </p:cNvSpPr>
              <p:nvPr/>
            </p:nvSpPr>
            <p:spPr bwMode="auto">
              <a:xfrm>
                <a:off x="12906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10 w 238"/>
                  <a:gd name="T23" fmla="*/ 10 h 209"/>
                  <a:gd name="T24" fmla="*/ 228 w 238"/>
                  <a:gd name="T25" fmla="*/ 10 h 209"/>
                  <a:gd name="T26" fmla="*/ 228 w 238"/>
                  <a:gd name="T27" fmla="*/ 56 h 209"/>
                  <a:gd name="T28" fmla="*/ 10 w 238"/>
                  <a:gd name="T29" fmla="*/ 56 h 209"/>
                  <a:gd name="T30" fmla="*/ 10 w 238"/>
                  <a:gd name="T31" fmla="*/ 10 h 209"/>
                  <a:gd name="T32" fmla="*/ 10 w 238"/>
                  <a:gd name="T33" fmla="*/ 199 h 209"/>
                  <a:gd name="T34" fmla="*/ 10 w 238"/>
                  <a:gd name="T35" fmla="*/ 66 h 209"/>
                  <a:gd name="T36" fmla="*/ 228 w 238"/>
                  <a:gd name="T37" fmla="*/ 66 h 209"/>
                  <a:gd name="T38" fmla="*/ 228 w 238"/>
                  <a:gd name="T39" fmla="*/ 199 h 209"/>
                  <a:gd name="T40" fmla="*/ 10 w 238"/>
                  <a:gd name="T4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10" y="10"/>
                    </a:moveTo>
                    <a:cubicBezTo>
                      <a:pt x="228" y="10"/>
                      <a:pt x="228" y="10"/>
                      <a:pt x="228" y="10"/>
                    </a:cubicBezTo>
                    <a:cubicBezTo>
                      <a:pt x="228" y="56"/>
                      <a:pt x="228" y="56"/>
                      <a:pt x="228" y="56"/>
                    </a:cubicBezTo>
                    <a:cubicBezTo>
                      <a:pt x="10" y="56"/>
                      <a:pt x="10" y="56"/>
                      <a:pt x="10" y="56"/>
                    </a:cubicBezTo>
                    <a:lnTo>
                      <a:pt x="1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51" name="Freeform 68">
                <a:extLst>
                  <a:ext uri="{FF2B5EF4-FFF2-40B4-BE49-F238E27FC236}">
                    <a16:creationId xmlns:a16="http://schemas.microsoft.com/office/drawing/2014/main" id="{FE334766-BF0E-5C43-AD83-9B478D19F574}"/>
                  </a:ext>
                </a:extLst>
              </p:cNvPr>
              <p:cNvSpPr>
                <a:spLocks/>
              </p:cNvSpPr>
              <p:nvPr/>
            </p:nvSpPr>
            <p:spPr bwMode="auto">
              <a:xfrm>
                <a:off x="1520825" y="5503863"/>
                <a:ext cx="82550" cy="23813"/>
              </a:xfrm>
              <a:custGeom>
                <a:avLst/>
                <a:gdLst>
                  <a:gd name="T0" fmla="*/ 29 w 33"/>
                  <a:gd name="T1" fmla="*/ 0 h 10"/>
                  <a:gd name="T2" fmla="*/ 4 w 33"/>
                  <a:gd name="T3" fmla="*/ 0 h 10"/>
                  <a:gd name="T4" fmla="*/ 0 w 33"/>
                  <a:gd name="T5" fmla="*/ 5 h 10"/>
                  <a:gd name="T6" fmla="*/ 4 w 33"/>
                  <a:gd name="T7" fmla="*/ 10 h 10"/>
                  <a:gd name="T8" fmla="*/ 29 w 33"/>
                  <a:gd name="T9" fmla="*/ 10 h 10"/>
                  <a:gd name="T10" fmla="*/ 33 w 33"/>
                  <a:gd name="T11" fmla="*/ 5 h 10"/>
                  <a:gd name="T12" fmla="*/ 29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9" y="0"/>
                    </a:moveTo>
                    <a:cubicBezTo>
                      <a:pt x="4" y="0"/>
                      <a:pt x="4" y="0"/>
                      <a:pt x="4" y="0"/>
                    </a:cubicBezTo>
                    <a:cubicBezTo>
                      <a:pt x="2" y="0"/>
                      <a:pt x="0" y="3"/>
                      <a:pt x="0" y="5"/>
                    </a:cubicBezTo>
                    <a:cubicBezTo>
                      <a:pt x="0" y="8"/>
                      <a:pt x="2" y="10"/>
                      <a:pt x="4" y="10"/>
                    </a:cubicBezTo>
                    <a:cubicBezTo>
                      <a:pt x="29" y="10"/>
                      <a:pt x="29" y="10"/>
                      <a:pt x="29" y="10"/>
                    </a:cubicBezTo>
                    <a:cubicBezTo>
                      <a:pt x="31" y="10"/>
                      <a:pt x="33" y="8"/>
                      <a:pt x="33" y="5"/>
                    </a:cubicBezTo>
                    <a:cubicBezTo>
                      <a:pt x="33" y="3"/>
                      <a:pt x="31" y="0"/>
                      <a:pt x="2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52" name="Freeform 69">
                <a:extLst>
                  <a:ext uri="{FF2B5EF4-FFF2-40B4-BE49-F238E27FC236}">
                    <a16:creationId xmlns:a16="http://schemas.microsoft.com/office/drawing/2014/main" id="{555607A9-A1FB-B044-9783-F29E4D4A2AEE}"/>
                  </a:ext>
                </a:extLst>
              </p:cNvPr>
              <p:cNvSpPr>
                <a:spLocks/>
              </p:cNvSpPr>
              <p:nvPr/>
            </p:nvSpPr>
            <p:spPr bwMode="auto">
              <a:xfrm>
                <a:off x="1741488" y="5451475"/>
                <a:ext cx="76200" cy="76200"/>
              </a:xfrm>
              <a:custGeom>
                <a:avLst/>
                <a:gdLst>
                  <a:gd name="T0" fmla="*/ 29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6 w 31"/>
                  <a:gd name="T19" fmla="*/ 31 h 31"/>
                  <a:gd name="T20" fmla="*/ 9 w 31"/>
                  <a:gd name="T21" fmla="*/ 30 h 31"/>
                  <a:gd name="T22" fmla="*/ 16 w 31"/>
                  <a:gd name="T23" fmla="*/ 23 h 31"/>
                  <a:gd name="T24" fmla="*/ 23 w 31"/>
                  <a:gd name="T25" fmla="*/ 30 h 31"/>
                  <a:gd name="T26" fmla="*/ 26 w 31"/>
                  <a:gd name="T27" fmla="*/ 31 h 31"/>
                  <a:gd name="T28" fmla="*/ 29 w 31"/>
                  <a:gd name="T29" fmla="*/ 30 h 31"/>
                  <a:gd name="T30" fmla="*/ 29 w 31"/>
                  <a:gd name="T31" fmla="*/ 23 h 31"/>
                  <a:gd name="T32" fmla="*/ 23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0"/>
                      <a:pt x="4" y="31"/>
                      <a:pt x="6" y="31"/>
                    </a:cubicBezTo>
                    <a:cubicBezTo>
                      <a:pt x="7" y="31"/>
                      <a:pt x="8" y="30"/>
                      <a:pt x="9" y="30"/>
                    </a:cubicBezTo>
                    <a:cubicBezTo>
                      <a:pt x="16" y="23"/>
                      <a:pt x="16" y="23"/>
                      <a:pt x="16" y="23"/>
                    </a:cubicBezTo>
                    <a:cubicBezTo>
                      <a:pt x="23" y="30"/>
                      <a:pt x="23" y="30"/>
                      <a:pt x="23" y="30"/>
                    </a:cubicBezTo>
                    <a:cubicBezTo>
                      <a:pt x="24" y="30"/>
                      <a:pt x="25" y="31"/>
                      <a:pt x="26" y="31"/>
                    </a:cubicBezTo>
                    <a:cubicBezTo>
                      <a:pt x="27" y="31"/>
                      <a:pt x="29" y="30"/>
                      <a:pt x="29" y="30"/>
                    </a:cubicBezTo>
                    <a:cubicBezTo>
                      <a:pt x="31" y="28"/>
                      <a:pt x="31" y="25"/>
                      <a:pt x="29" y="23"/>
                    </a:cubicBezTo>
                    <a:cubicBezTo>
                      <a:pt x="23" y="16"/>
                      <a:pt x="23" y="16"/>
                      <a:pt x="23"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53" name="Freeform 70">
                <a:extLst>
                  <a:ext uri="{FF2B5EF4-FFF2-40B4-BE49-F238E27FC236}">
                    <a16:creationId xmlns:a16="http://schemas.microsoft.com/office/drawing/2014/main" id="{0BA200E9-B873-0D4F-A2E9-87D142BDAA19}"/>
                  </a:ext>
                </a:extLst>
              </p:cNvPr>
              <p:cNvSpPr>
                <a:spLocks noEditPoints="1"/>
              </p:cNvSpPr>
              <p:nvPr/>
            </p:nvSpPr>
            <p:spPr bwMode="auto">
              <a:xfrm>
                <a:off x="1631950" y="5456238"/>
                <a:ext cx="74612" cy="71438"/>
              </a:xfrm>
              <a:custGeom>
                <a:avLst/>
                <a:gdLst>
                  <a:gd name="T0" fmla="*/ 25 w 30"/>
                  <a:gd name="T1" fmla="*/ 0 h 29"/>
                  <a:gd name="T2" fmla="*/ 4 w 30"/>
                  <a:gd name="T3" fmla="*/ 0 h 29"/>
                  <a:gd name="T4" fmla="*/ 0 w 30"/>
                  <a:gd name="T5" fmla="*/ 5 h 29"/>
                  <a:gd name="T6" fmla="*/ 0 w 30"/>
                  <a:gd name="T7" fmla="*/ 24 h 29"/>
                  <a:gd name="T8" fmla="*/ 4 w 30"/>
                  <a:gd name="T9" fmla="*/ 29 h 29"/>
                  <a:gd name="T10" fmla="*/ 25 w 30"/>
                  <a:gd name="T11" fmla="*/ 29 h 29"/>
                  <a:gd name="T12" fmla="*/ 30 w 30"/>
                  <a:gd name="T13" fmla="*/ 24 h 29"/>
                  <a:gd name="T14" fmla="*/ 30 w 30"/>
                  <a:gd name="T15" fmla="*/ 5 h 29"/>
                  <a:gd name="T16" fmla="*/ 25 w 30"/>
                  <a:gd name="T17" fmla="*/ 0 h 29"/>
                  <a:gd name="T18" fmla="*/ 21 w 30"/>
                  <a:gd name="T19" fmla="*/ 19 h 29"/>
                  <a:gd name="T20" fmla="*/ 9 w 30"/>
                  <a:gd name="T21" fmla="*/ 19 h 29"/>
                  <a:gd name="T22" fmla="*/ 9 w 30"/>
                  <a:gd name="T23" fmla="*/ 9 h 29"/>
                  <a:gd name="T24" fmla="*/ 21 w 30"/>
                  <a:gd name="T25" fmla="*/ 9 h 29"/>
                  <a:gd name="T26" fmla="*/ 21 w 30"/>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9">
                    <a:moveTo>
                      <a:pt x="25" y="0"/>
                    </a:moveTo>
                    <a:cubicBezTo>
                      <a:pt x="4" y="0"/>
                      <a:pt x="4" y="0"/>
                      <a:pt x="4" y="0"/>
                    </a:cubicBezTo>
                    <a:cubicBezTo>
                      <a:pt x="2" y="0"/>
                      <a:pt x="0" y="2"/>
                      <a:pt x="0" y="5"/>
                    </a:cubicBezTo>
                    <a:cubicBezTo>
                      <a:pt x="0" y="24"/>
                      <a:pt x="0" y="24"/>
                      <a:pt x="0" y="24"/>
                    </a:cubicBezTo>
                    <a:cubicBezTo>
                      <a:pt x="0" y="27"/>
                      <a:pt x="2" y="29"/>
                      <a:pt x="4" y="29"/>
                    </a:cubicBezTo>
                    <a:cubicBezTo>
                      <a:pt x="25" y="29"/>
                      <a:pt x="25" y="29"/>
                      <a:pt x="25" y="29"/>
                    </a:cubicBezTo>
                    <a:cubicBezTo>
                      <a:pt x="28" y="29"/>
                      <a:pt x="30" y="27"/>
                      <a:pt x="30" y="24"/>
                    </a:cubicBezTo>
                    <a:cubicBezTo>
                      <a:pt x="30" y="5"/>
                      <a:pt x="30" y="5"/>
                      <a:pt x="30" y="5"/>
                    </a:cubicBezTo>
                    <a:cubicBezTo>
                      <a:pt x="30" y="2"/>
                      <a:pt x="28" y="0"/>
                      <a:pt x="25"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sp>
        <p:nvSpPr>
          <p:cNvPr id="154" name="Left Bracket 153">
            <a:extLst>
              <a:ext uri="{FF2B5EF4-FFF2-40B4-BE49-F238E27FC236}">
                <a16:creationId xmlns:a16="http://schemas.microsoft.com/office/drawing/2014/main" id="{FEAA033F-97AF-C24B-9486-72AAED5EA9B5}"/>
              </a:ext>
            </a:extLst>
          </p:cNvPr>
          <p:cNvSpPr/>
          <p:nvPr/>
        </p:nvSpPr>
        <p:spPr>
          <a:xfrm>
            <a:off x="4724969" y="2317513"/>
            <a:ext cx="77718" cy="2663659"/>
          </a:xfrm>
          <a:prstGeom prst="leftBracket">
            <a:avLst/>
          </a:prstGeom>
          <a:ln w="22225">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1" name="Rectangle 160">
            <a:extLst>
              <a:ext uri="{FF2B5EF4-FFF2-40B4-BE49-F238E27FC236}">
                <a16:creationId xmlns:a16="http://schemas.microsoft.com/office/drawing/2014/main" id="{25F0FAA6-E4F8-2F4D-9900-448E9F1A9B91}"/>
              </a:ext>
            </a:extLst>
          </p:cNvPr>
          <p:cNvSpPr/>
          <p:nvPr/>
        </p:nvSpPr>
        <p:spPr bwMode="gray">
          <a:xfrm>
            <a:off x="2055221" y="1438767"/>
            <a:ext cx="7586910" cy="3980466"/>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 Cloud Platform</a:t>
            </a:r>
          </a:p>
        </p:txBody>
      </p:sp>
      <p:grpSp>
        <p:nvGrpSpPr>
          <p:cNvPr id="162" name="Group 161">
            <a:extLst>
              <a:ext uri="{FF2B5EF4-FFF2-40B4-BE49-F238E27FC236}">
                <a16:creationId xmlns:a16="http://schemas.microsoft.com/office/drawing/2014/main" id="{7EC07CFA-8AC7-E548-B14B-CD5A92CBCD41}"/>
              </a:ext>
            </a:extLst>
          </p:cNvPr>
          <p:cNvGrpSpPr/>
          <p:nvPr/>
        </p:nvGrpSpPr>
        <p:grpSpPr>
          <a:xfrm>
            <a:off x="6913851" y="3200166"/>
            <a:ext cx="497776" cy="517982"/>
            <a:chOff x="2711368" y="5371524"/>
            <a:chExt cx="497776" cy="517982"/>
          </a:xfrm>
        </p:grpSpPr>
        <p:sp>
          <p:nvSpPr>
            <p:cNvPr id="163" name="Freeform 77">
              <a:extLst>
                <a:ext uri="{FF2B5EF4-FFF2-40B4-BE49-F238E27FC236}">
                  <a16:creationId xmlns:a16="http://schemas.microsoft.com/office/drawing/2014/main" id="{C17CA209-BFD2-1144-95FF-FB93EEE3B890}"/>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64" name="Freeform 244">
              <a:extLst>
                <a:ext uri="{FF2B5EF4-FFF2-40B4-BE49-F238E27FC236}">
                  <a16:creationId xmlns:a16="http://schemas.microsoft.com/office/drawing/2014/main" id="{4213C24A-CCBD-DB49-AB7F-3C1C7B28DEFA}"/>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65" name="Rectangle 164">
            <a:extLst>
              <a:ext uri="{FF2B5EF4-FFF2-40B4-BE49-F238E27FC236}">
                <a16:creationId xmlns:a16="http://schemas.microsoft.com/office/drawing/2014/main" id="{1C29EA82-5F9C-2D45-9366-AE761B4CF763}"/>
              </a:ext>
            </a:extLst>
          </p:cNvPr>
          <p:cNvSpPr/>
          <p:nvPr/>
        </p:nvSpPr>
        <p:spPr>
          <a:xfrm>
            <a:off x="6691140" y="3817793"/>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Analytics Platform</a:t>
            </a:r>
          </a:p>
        </p:txBody>
      </p:sp>
      <p:grpSp>
        <p:nvGrpSpPr>
          <p:cNvPr id="166" name="Group 165">
            <a:extLst>
              <a:ext uri="{FF2B5EF4-FFF2-40B4-BE49-F238E27FC236}">
                <a16:creationId xmlns:a16="http://schemas.microsoft.com/office/drawing/2014/main" id="{75BC4FDF-57B9-C34B-B3A5-3B2DA239FD0D}"/>
              </a:ext>
            </a:extLst>
          </p:cNvPr>
          <p:cNvGrpSpPr/>
          <p:nvPr/>
        </p:nvGrpSpPr>
        <p:grpSpPr>
          <a:xfrm>
            <a:off x="4408808" y="1486194"/>
            <a:ext cx="1756474" cy="791158"/>
            <a:chOff x="7386994" y="1990138"/>
            <a:chExt cx="1756474" cy="791158"/>
          </a:xfrm>
        </p:grpSpPr>
        <p:sp>
          <p:nvSpPr>
            <p:cNvPr id="167" name="TextBox 166">
              <a:extLst>
                <a:ext uri="{FF2B5EF4-FFF2-40B4-BE49-F238E27FC236}">
                  <a16:creationId xmlns:a16="http://schemas.microsoft.com/office/drawing/2014/main" id="{BAD8E741-AE28-2149-9D3D-8AFE30573F6E}"/>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ervices</a:t>
              </a:r>
            </a:p>
          </p:txBody>
        </p:sp>
        <p:sp>
          <p:nvSpPr>
            <p:cNvPr id="168" name="TextBox 167">
              <a:extLst>
                <a:ext uri="{FF2B5EF4-FFF2-40B4-BE49-F238E27FC236}">
                  <a16:creationId xmlns:a16="http://schemas.microsoft.com/office/drawing/2014/main" id="{128419A7-12FB-F54F-9786-CA7B2F51CFD0}"/>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Big data processing, search, and automatic catalog services to enable discoverability and insights</a:t>
              </a:r>
            </a:p>
          </p:txBody>
        </p:sp>
      </p:grpSp>
      <p:grpSp>
        <p:nvGrpSpPr>
          <p:cNvPr id="169" name="Group 168">
            <a:extLst>
              <a:ext uri="{FF2B5EF4-FFF2-40B4-BE49-F238E27FC236}">
                <a16:creationId xmlns:a16="http://schemas.microsoft.com/office/drawing/2014/main" id="{5669BC2D-019B-3347-8D69-0E728BA66970}"/>
              </a:ext>
            </a:extLst>
          </p:cNvPr>
          <p:cNvGrpSpPr/>
          <p:nvPr/>
        </p:nvGrpSpPr>
        <p:grpSpPr>
          <a:xfrm>
            <a:off x="6257052" y="2286356"/>
            <a:ext cx="1756474" cy="791158"/>
            <a:chOff x="7386994" y="1990138"/>
            <a:chExt cx="1756474" cy="791158"/>
          </a:xfrm>
        </p:grpSpPr>
        <p:sp>
          <p:nvSpPr>
            <p:cNvPr id="170" name="TextBox 169">
              <a:extLst>
                <a:ext uri="{FF2B5EF4-FFF2-40B4-BE49-F238E27FC236}">
                  <a16:creationId xmlns:a16="http://schemas.microsoft.com/office/drawing/2014/main" id="{F99B2707-F72A-2749-A476-52BBAFCA0A51}"/>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Analytics</a:t>
              </a:r>
            </a:p>
          </p:txBody>
        </p:sp>
        <p:sp>
          <p:nvSpPr>
            <p:cNvPr id="171" name="TextBox 170">
              <a:extLst>
                <a:ext uri="{FF2B5EF4-FFF2-40B4-BE49-F238E27FC236}">
                  <a16:creationId xmlns:a16="http://schemas.microsoft.com/office/drawing/2014/main" id="{42164EB2-165E-3B4E-9B61-3E0BDF664E37}"/>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Analytic and machine learning capabilities offering Notebook, Big Data Compute, and frameworks</a:t>
              </a:r>
            </a:p>
          </p:txBody>
        </p:sp>
      </p:grpSp>
      <p:sp>
        <p:nvSpPr>
          <p:cNvPr id="176" name="Left Bracket 175">
            <a:extLst>
              <a:ext uri="{FF2B5EF4-FFF2-40B4-BE49-F238E27FC236}">
                <a16:creationId xmlns:a16="http://schemas.microsoft.com/office/drawing/2014/main" id="{BD13314A-E24B-BB4B-A3B6-7C9C0D4A7567}"/>
              </a:ext>
            </a:extLst>
          </p:cNvPr>
          <p:cNvSpPr/>
          <p:nvPr/>
        </p:nvSpPr>
        <p:spPr>
          <a:xfrm flipH="1">
            <a:off x="5671379" y="2302200"/>
            <a:ext cx="72341" cy="2663659"/>
          </a:xfrm>
          <a:prstGeom prst="leftBracket">
            <a:avLst/>
          </a:prstGeom>
          <a:ln w="22225">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1" name="Straight Connector 74">
            <a:extLst>
              <a:ext uri="{FF2B5EF4-FFF2-40B4-BE49-F238E27FC236}">
                <a16:creationId xmlns:a16="http://schemas.microsoft.com/office/drawing/2014/main" id="{B9E914FC-89BF-AA4A-BC26-7D5FC5F86160}"/>
              </a:ext>
            </a:extLst>
          </p:cNvPr>
          <p:cNvCxnSpPr>
            <a:cxnSpLocks/>
          </p:cNvCxnSpPr>
          <p:nvPr/>
        </p:nvCxnSpPr>
        <p:spPr>
          <a:xfrm>
            <a:off x="5920482" y="3863873"/>
            <a:ext cx="915799" cy="872782"/>
          </a:xfrm>
          <a:prstGeom prst="bentConnector3">
            <a:avLst>
              <a:gd name="adj1" fmla="val 50000"/>
            </a:avLst>
          </a:prstGeom>
          <a:noFill/>
          <a:ln w="22225" cmpd="sng">
            <a:solidFill>
              <a:srgbClr val="D6D6D6"/>
            </a:solidFill>
            <a:tailEnd type="triangle"/>
          </a:ln>
          <a:effectLst/>
        </p:spPr>
      </p:cxnSp>
      <p:cxnSp>
        <p:nvCxnSpPr>
          <p:cNvPr id="188" name="Straight Connector 74">
            <a:extLst>
              <a:ext uri="{FF2B5EF4-FFF2-40B4-BE49-F238E27FC236}">
                <a16:creationId xmlns:a16="http://schemas.microsoft.com/office/drawing/2014/main" id="{7E777A89-9EE6-0E4A-8E2B-57D0F12227C5}"/>
              </a:ext>
            </a:extLst>
          </p:cNvPr>
          <p:cNvCxnSpPr>
            <a:cxnSpLocks/>
          </p:cNvCxnSpPr>
          <p:nvPr/>
        </p:nvCxnSpPr>
        <p:spPr>
          <a:xfrm>
            <a:off x="5951000" y="3482651"/>
            <a:ext cx="794030" cy="0"/>
          </a:xfrm>
          <a:prstGeom prst="straightConnector1">
            <a:avLst/>
          </a:prstGeom>
          <a:noFill/>
          <a:ln w="22225" cmpd="sng">
            <a:solidFill>
              <a:srgbClr val="D6D6D6"/>
            </a:solidFill>
            <a:tailEnd type="triangle"/>
          </a:ln>
          <a:effectLst/>
        </p:spPr>
      </p:cxnSp>
      <p:sp>
        <p:nvSpPr>
          <p:cNvPr id="191" name="Rectangle 190">
            <a:extLst>
              <a:ext uri="{FF2B5EF4-FFF2-40B4-BE49-F238E27FC236}">
                <a16:creationId xmlns:a16="http://schemas.microsoft.com/office/drawing/2014/main" id="{D7CA0763-DBB1-4740-B7A1-C7BC584F9081}"/>
              </a:ext>
            </a:extLst>
          </p:cNvPr>
          <p:cNvSpPr/>
          <p:nvPr/>
        </p:nvSpPr>
        <p:spPr bwMode="gray">
          <a:xfrm>
            <a:off x="9770736" y="3655582"/>
            <a:ext cx="2163390" cy="2997085"/>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 Container Orchestration</a:t>
            </a:r>
          </a:p>
        </p:txBody>
      </p:sp>
      <p:sp>
        <p:nvSpPr>
          <p:cNvPr id="194" name="Rectangle 193">
            <a:extLst>
              <a:ext uri="{FF2B5EF4-FFF2-40B4-BE49-F238E27FC236}">
                <a16:creationId xmlns:a16="http://schemas.microsoft.com/office/drawing/2014/main" id="{20083D4D-BB55-0140-9E31-31B105D278F0}"/>
              </a:ext>
            </a:extLst>
          </p:cNvPr>
          <p:cNvSpPr/>
          <p:nvPr/>
        </p:nvSpPr>
        <p:spPr>
          <a:xfrm>
            <a:off x="8488628" y="6294042"/>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Code Repository</a:t>
            </a:r>
          </a:p>
        </p:txBody>
      </p:sp>
      <p:grpSp>
        <p:nvGrpSpPr>
          <p:cNvPr id="195" name="Group 194">
            <a:extLst>
              <a:ext uri="{FF2B5EF4-FFF2-40B4-BE49-F238E27FC236}">
                <a16:creationId xmlns:a16="http://schemas.microsoft.com/office/drawing/2014/main" id="{C43B5FFD-29E5-A848-A6B6-C250136945CF}"/>
              </a:ext>
            </a:extLst>
          </p:cNvPr>
          <p:cNvGrpSpPr/>
          <p:nvPr/>
        </p:nvGrpSpPr>
        <p:grpSpPr>
          <a:xfrm>
            <a:off x="8700633" y="5751654"/>
            <a:ext cx="497776" cy="517982"/>
            <a:chOff x="1742992" y="3606769"/>
            <a:chExt cx="497776" cy="517982"/>
          </a:xfrm>
        </p:grpSpPr>
        <p:grpSp>
          <p:nvGrpSpPr>
            <p:cNvPr id="196" name="Group 195">
              <a:extLst>
                <a:ext uri="{FF2B5EF4-FFF2-40B4-BE49-F238E27FC236}">
                  <a16:creationId xmlns:a16="http://schemas.microsoft.com/office/drawing/2014/main" id="{BACECDEB-D483-BC41-BDDC-D04849D55FDE}"/>
                </a:ext>
              </a:extLst>
            </p:cNvPr>
            <p:cNvGrpSpPr/>
            <p:nvPr/>
          </p:nvGrpSpPr>
          <p:grpSpPr>
            <a:xfrm>
              <a:off x="1822814" y="3690402"/>
              <a:ext cx="350704" cy="350704"/>
              <a:chOff x="5562600" y="4875213"/>
              <a:chExt cx="790575" cy="790575"/>
            </a:xfrm>
          </p:grpSpPr>
          <p:sp>
            <p:nvSpPr>
              <p:cNvPr id="198" name="Freeform 55">
                <a:extLst>
                  <a:ext uri="{FF2B5EF4-FFF2-40B4-BE49-F238E27FC236}">
                    <a16:creationId xmlns:a16="http://schemas.microsoft.com/office/drawing/2014/main" id="{6DBFF416-DF3C-A246-9616-AE626EAFA3BA}"/>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99" name="Freeform 56">
                <a:extLst>
                  <a:ext uri="{FF2B5EF4-FFF2-40B4-BE49-F238E27FC236}">
                    <a16:creationId xmlns:a16="http://schemas.microsoft.com/office/drawing/2014/main" id="{9EEDE1BC-03A2-C242-A357-AB86EB8282D8}"/>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97" name="Freeform 244">
              <a:extLst>
                <a:ext uri="{FF2B5EF4-FFF2-40B4-BE49-F238E27FC236}">
                  <a16:creationId xmlns:a16="http://schemas.microsoft.com/office/drawing/2014/main" id="{54AA0FAC-9034-CA46-9C56-09761BC667AF}"/>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06" name="Group 205">
            <a:extLst>
              <a:ext uri="{FF2B5EF4-FFF2-40B4-BE49-F238E27FC236}">
                <a16:creationId xmlns:a16="http://schemas.microsoft.com/office/drawing/2014/main" id="{3162A3F2-A9D3-8846-8F77-4719E7D500D6}"/>
              </a:ext>
            </a:extLst>
          </p:cNvPr>
          <p:cNvGrpSpPr/>
          <p:nvPr/>
        </p:nvGrpSpPr>
        <p:grpSpPr>
          <a:xfrm>
            <a:off x="10135123" y="5719305"/>
            <a:ext cx="497776" cy="517982"/>
            <a:chOff x="1742992" y="3606769"/>
            <a:chExt cx="497776" cy="517982"/>
          </a:xfrm>
        </p:grpSpPr>
        <p:grpSp>
          <p:nvGrpSpPr>
            <p:cNvPr id="207" name="Group 206">
              <a:extLst>
                <a:ext uri="{FF2B5EF4-FFF2-40B4-BE49-F238E27FC236}">
                  <a16:creationId xmlns:a16="http://schemas.microsoft.com/office/drawing/2014/main" id="{97B9BB1F-662E-BC45-8D66-687ABB5B1BCB}"/>
                </a:ext>
              </a:extLst>
            </p:cNvPr>
            <p:cNvGrpSpPr/>
            <p:nvPr/>
          </p:nvGrpSpPr>
          <p:grpSpPr>
            <a:xfrm>
              <a:off x="1822814" y="3690402"/>
              <a:ext cx="350704" cy="350704"/>
              <a:chOff x="5562600" y="4875213"/>
              <a:chExt cx="790575" cy="790575"/>
            </a:xfrm>
          </p:grpSpPr>
          <p:sp>
            <p:nvSpPr>
              <p:cNvPr id="209" name="Freeform 55">
                <a:extLst>
                  <a:ext uri="{FF2B5EF4-FFF2-40B4-BE49-F238E27FC236}">
                    <a16:creationId xmlns:a16="http://schemas.microsoft.com/office/drawing/2014/main" id="{7D18CD50-C655-994C-98C1-FDF84E997599}"/>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10" name="Freeform 56">
                <a:extLst>
                  <a:ext uri="{FF2B5EF4-FFF2-40B4-BE49-F238E27FC236}">
                    <a16:creationId xmlns:a16="http://schemas.microsoft.com/office/drawing/2014/main" id="{7B5AF55D-6757-2147-A7CA-8397E04AE9B9}"/>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208" name="Freeform 244">
              <a:extLst>
                <a:ext uri="{FF2B5EF4-FFF2-40B4-BE49-F238E27FC236}">
                  <a16:creationId xmlns:a16="http://schemas.microsoft.com/office/drawing/2014/main" id="{19F1F26B-78EB-FE4F-81BE-6D6E89FC9A00}"/>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1" name="Rectangle 210">
            <a:extLst>
              <a:ext uri="{FF2B5EF4-FFF2-40B4-BE49-F238E27FC236}">
                <a16:creationId xmlns:a16="http://schemas.microsoft.com/office/drawing/2014/main" id="{C35093F1-08D0-A940-8646-8A82221F05B9}"/>
              </a:ext>
            </a:extLst>
          </p:cNvPr>
          <p:cNvSpPr/>
          <p:nvPr/>
        </p:nvSpPr>
        <p:spPr>
          <a:xfrm>
            <a:off x="9751240" y="6426392"/>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Build Service</a:t>
            </a:r>
          </a:p>
        </p:txBody>
      </p:sp>
      <p:grpSp>
        <p:nvGrpSpPr>
          <p:cNvPr id="217" name="Group 216">
            <a:extLst>
              <a:ext uri="{FF2B5EF4-FFF2-40B4-BE49-F238E27FC236}">
                <a16:creationId xmlns:a16="http://schemas.microsoft.com/office/drawing/2014/main" id="{0BD10D0E-3A96-F647-96AA-29093CAD9B9A}"/>
              </a:ext>
            </a:extLst>
          </p:cNvPr>
          <p:cNvGrpSpPr/>
          <p:nvPr/>
        </p:nvGrpSpPr>
        <p:grpSpPr>
          <a:xfrm>
            <a:off x="2143026" y="1899577"/>
            <a:ext cx="1932602" cy="713958"/>
            <a:chOff x="3340968" y="2002841"/>
            <a:chExt cx="1508920" cy="713958"/>
          </a:xfrm>
        </p:grpSpPr>
        <p:sp>
          <p:nvSpPr>
            <p:cNvPr id="218" name="TextBox 217">
              <a:extLst>
                <a:ext uri="{FF2B5EF4-FFF2-40B4-BE49-F238E27FC236}">
                  <a16:creationId xmlns:a16="http://schemas.microsoft.com/office/drawing/2014/main" id="{B85EDEDB-5DB2-F842-8A3F-3D7EB98A8D31}"/>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219" name="TextBox 218">
              <a:extLst>
                <a:ext uri="{FF2B5EF4-FFF2-40B4-BE49-F238E27FC236}">
                  <a16:creationId xmlns:a16="http://schemas.microsoft.com/office/drawing/2014/main" id="{3F9E4CEE-060F-4D49-8E94-E9F24AC36403}"/>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pipelines for unstructured and structured data</a:t>
              </a:r>
            </a:p>
          </p:txBody>
        </p:sp>
      </p:grpSp>
      <p:grpSp>
        <p:nvGrpSpPr>
          <p:cNvPr id="221" name="Group 220">
            <a:extLst>
              <a:ext uri="{FF2B5EF4-FFF2-40B4-BE49-F238E27FC236}">
                <a16:creationId xmlns:a16="http://schemas.microsoft.com/office/drawing/2014/main" id="{DC9C27C1-05A1-E545-A354-99BD96C6B8EF}"/>
              </a:ext>
            </a:extLst>
          </p:cNvPr>
          <p:cNvGrpSpPr/>
          <p:nvPr/>
        </p:nvGrpSpPr>
        <p:grpSpPr>
          <a:xfrm>
            <a:off x="10120832" y="4360259"/>
            <a:ext cx="497776" cy="517982"/>
            <a:chOff x="1742992" y="3606769"/>
            <a:chExt cx="497776" cy="517982"/>
          </a:xfrm>
        </p:grpSpPr>
        <p:grpSp>
          <p:nvGrpSpPr>
            <p:cNvPr id="222" name="Group 221">
              <a:extLst>
                <a:ext uri="{FF2B5EF4-FFF2-40B4-BE49-F238E27FC236}">
                  <a16:creationId xmlns:a16="http://schemas.microsoft.com/office/drawing/2014/main" id="{F0A8A0F0-1198-7243-939E-BAFA14D23901}"/>
                </a:ext>
              </a:extLst>
            </p:cNvPr>
            <p:cNvGrpSpPr/>
            <p:nvPr/>
          </p:nvGrpSpPr>
          <p:grpSpPr>
            <a:xfrm>
              <a:off x="1822814" y="3690402"/>
              <a:ext cx="350704" cy="350704"/>
              <a:chOff x="5562600" y="4875213"/>
              <a:chExt cx="790575" cy="790575"/>
            </a:xfrm>
          </p:grpSpPr>
          <p:sp>
            <p:nvSpPr>
              <p:cNvPr id="224" name="Freeform 55">
                <a:extLst>
                  <a:ext uri="{FF2B5EF4-FFF2-40B4-BE49-F238E27FC236}">
                    <a16:creationId xmlns:a16="http://schemas.microsoft.com/office/drawing/2014/main" id="{756EE77E-B272-9D4B-B8E9-DD5C883268B2}"/>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25" name="Freeform 56">
                <a:extLst>
                  <a:ext uri="{FF2B5EF4-FFF2-40B4-BE49-F238E27FC236}">
                    <a16:creationId xmlns:a16="http://schemas.microsoft.com/office/drawing/2014/main" id="{66E87654-23BB-1847-8F8A-E45726691057}"/>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223" name="Freeform 244">
              <a:extLst>
                <a:ext uri="{FF2B5EF4-FFF2-40B4-BE49-F238E27FC236}">
                  <a16:creationId xmlns:a16="http://schemas.microsoft.com/office/drawing/2014/main" id="{4948DE65-4FE8-6D47-A8B7-A4820F615F4E}"/>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26" name="Rectangle 225">
            <a:extLst>
              <a:ext uri="{FF2B5EF4-FFF2-40B4-BE49-F238E27FC236}">
                <a16:creationId xmlns:a16="http://schemas.microsoft.com/office/drawing/2014/main" id="{167CEDE2-D35C-1C43-9EC2-DCF544A336E9}"/>
              </a:ext>
            </a:extLst>
          </p:cNvPr>
          <p:cNvSpPr/>
          <p:nvPr/>
        </p:nvSpPr>
        <p:spPr>
          <a:xfrm>
            <a:off x="9926811" y="4971637"/>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Firewall</a:t>
            </a:r>
          </a:p>
        </p:txBody>
      </p:sp>
      <p:cxnSp>
        <p:nvCxnSpPr>
          <p:cNvPr id="243" name="Straight Connector 74">
            <a:extLst>
              <a:ext uri="{FF2B5EF4-FFF2-40B4-BE49-F238E27FC236}">
                <a16:creationId xmlns:a16="http://schemas.microsoft.com/office/drawing/2014/main" id="{980390F2-0A3C-894F-B7C6-5C7DA81DAF81}"/>
              </a:ext>
            </a:extLst>
          </p:cNvPr>
          <p:cNvCxnSpPr>
            <a:cxnSpLocks/>
          </p:cNvCxnSpPr>
          <p:nvPr/>
        </p:nvCxnSpPr>
        <p:spPr>
          <a:xfrm flipV="1">
            <a:off x="10702469" y="4656474"/>
            <a:ext cx="334580" cy="0"/>
          </a:xfrm>
          <a:prstGeom prst="straightConnector1">
            <a:avLst/>
          </a:prstGeom>
          <a:noFill/>
          <a:ln w="22225" cmpd="sng">
            <a:solidFill>
              <a:srgbClr val="D6D6D6"/>
            </a:solidFill>
            <a:tailEnd type="triangle"/>
          </a:ln>
          <a:effectLst/>
        </p:spPr>
      </p:cxnSp>
      <p:cxnSp>
        <p:nvCxnSpPr>
          <p:cNvPr id="245" name="Straight Connector 74">
            <a:extLst>
              <a:ext uri="{FF2B5EF4-FFF2-40B4-BE49-F238E27FC236}">
                <a16:creationId xmlns:a16="http://schemas.microsoft.com/office/drawing/2014/main" id="{8294B859-91F1-1743-8497-ED0BA5FCC5B2}"/>
              </a:ext>
            </a:extLst>
          </p:cNvPr>
          <p:cNvCxnSpPr>
            <a:cxnSpLocks/>
          </p:cNvCxnSpPr>
          <p:nvPr/>
        </p:nvCxnSpPr>
        <p:spPr>
          <a:xfrm>
            <a:off x="9399726" y="6002168"/>
            <a:ext cx="598695" cy="0"/>
          </a:xfrm>
          <a:prstGeom prst="straightConnector1">
            <a:avLst/>
          </a:prstGeom>
          <a:noFill/>
          <a:ln w="22225" cmpd="sng">
            <a:solidFill>
              <a:srgbClr val="D6D6D6"/>
            </a:solidFill>
            <a:tailEnd type="triangle"/>
          </a:ln>
          <a:effectLst/>
        </p:spPr>
      </p:cxnSp>
      <p:cxnSp>
        <p:nvCxnSpPr>
          <p:cNvPr id="131" name="Straight Connector 74">
            <a:extLst>
              <a:ext uri="{FF2B5EF4-FFF2-40B4-BE49-F238E27FC236}">
                <a16:creationId xmlns:a16="http://schemas.microsoft.com/office/drawing/2014/main" id="{D3E2A471-3B6C-3A42-B4B9-024EB09DB3DC}"/>
              </a:ext>
            </a:extLst>
          </p:cNvPr>
          <p:cNvCxnSpPr>
            <a:cxnSpLocks/>
          </p:cNvCxnSpPr>
          <p:nvPr/>
        </p:nvCxnSpPr>
        <p:spPr>
          <a:xfrm>
            <a:off x="4254116" y="3551848"/>
            <a:ext cx="341830" cy="0"/>
          </a:xfrm>
          <a:prstGeom prst="straightConnector1">
            <a:avLst/>
          </a:prstGeom>
          <a:noFill/>
          <a:ln w="22225" cmpd="sng">
            <a:solidFill>
              <a:srgbClr val="D6D6D6"/>
            </a:solidFill>
            <a:tailEnd type="triangle"/>
          </a:ln>
          <a:effectLst/>
        </p:spPr>
      </p:cxnSp>
      <p:sp>
        <p:nvSpPr>
          <p:cNvPr id="5" name="TextBox 4">
            <a:extLst>
              <a:ext uri="{FF2B5EF4-FFF2-40B4-BE49-F238E27FC236}">
                <a16:creationId xmlns:a16="http://schemas.microsoft.com/office/drawing/2014/main" id="{34113968-BF0F-D24F-9EE2-E31507BCD693}"/>
              </a:ext>
            </a:extLst>
          </p:cNvPr>
          <p:cNvSpPr txBox="1"/>
          <p:nvPr/>
        </p:nvSpPr>
        <p:spPr>
          <a:xfrm>
            <a:off x="9834175" y="1721491"/>
            <a:ext cx="2071168" cy="1200329"/>
          </a:xfrm>
          <a:prstGeom prst="rect">
            <a:avLst/>
          </a:prstGeom>
          <a:noFill/>
        </p:spPr>
        <p:txBody>
          <a:bodyPr wrap="square" rtlCol="0">
            <a:spAutoFit/>
          </a:bodyPr>
          <a:lstStyle/>
          <a:p>
            <a:pPr marL="171450" indent="-171450">
              <a:buFont typeface="Arial" panose="020B0604020202020204" pitchFamily="34" charset="0"/>
              <a:buChar char="•"/>
            </a:pPr>
            <a:r>
              <a:rPr lang="en-US" sz="1200" b="1"/>
              <a:t>Cloud IaaS </a:t>
            </a:r>
            <a:r>
              <a:rPr lang="en-US" sz="1200"/>
              <a:t>as the data infrastructure</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b="1"/>
              <a:t>Container PaaS </a:t>
            </a:r>
            <a:r>
              <a:rPr lang="en-US" sz="1200"/>
              <a:t>as the application infrastructure</a:t>
            </a:r>
          </a:p>
        </p:txBody>
      </p:sp>
    </p:spTree>
    <p:extLst>
      <p:ext uri="{BB962C8B-B14F-4D97-AF65-F5344CB8AC3E}">
        <p14:creationId xmlns:p14="http://schemas.microsoft.com/office/powerpoint/2010/main" val="13077333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854D0-FCB5-4D80-A1E4-D715E3B082A4}"/>
              </a:ext>
            </a:extLst>
          </p:cNvPr>
          <p:cNvSpPr>
            <a:spLocks noGrp="1"/>
          </p:cNvSpPr>
          <p:nvPr>
            <p:ph type="title"/>
          </p:nvPr>
        </p:nvSpPr>
        <p:spPr/>
        <p:txBody>
          <a:bodyPr/>
          <a:lstStyle/>
          <a:p>
            <a:r>
              <a:rPr lang="en-US" sz="3600">
                <a:ea typeface="+mj-lt"/>
                <a:cs typeface="+mj-lt"/>
              </a:rPr>
              <a:t>Cloud Infrastructure</a:t>
            </a:r>
            <a:endParaRPr lang="en-US" sz="3600"/>
          </a:p>
        </p:txBody>
      </p:sp>
      <p:sp>
        <p:nvSpPr>
          <p:cNvPr id="3" name="Content Placeholder 2">
            <a:extLst>
              <a:ext uri="{FF2B5EF4-FFF2-40B4-BE49-F238E27FC236}">
                <a16:creationId xmlns:a16="http://schemas.microsoft.com/office/drawing/2014/main" id="{FCAAF10E-1C27-4D0E-BBF1-77B67261FAAD}"/>
              </a:ext>
            </a:extLst>
          </p:cNvPr>
          <p:cNvSpPr>
            <a:spLocks noGrp="1"/>
          </p:cNvSpPr>
          <p:nvPr>
            <p:ph sz="half" idx="1"/>
          </p:nvPr>
        </p:nvSpPr>
        <p:spPr/>
        <p:txBody>
          <a:bodyPr vert="horz" lIns="91440" tIns="45720" rIns="91440" bIns="45720" rtlCol="0" anchor="t">
            <a:normAutofit fontScale="92500" lnSpcReduction="20000"/>
          </a:bodyPr>
          <a:lstStyle/>
          <a:p>
            <a:r>
              <a:rPr lang="en-US" b="1">
                <a:cs typeface="Calibri"/>
              </a:rPr>
              <a:t>Key Questions</a:t>
            </a:r>
          </a:p>
          <a:p>
            <a:r>
              <a:rPr lang="en-US">
                <a:cs typeface="Calibri"/>
              </a:rPr>
              <a:t>What are our options and roadmap for CDC cloud platform?</a:t>
            </a:r>
          </a:p>
          <a:p>
            <a:r>
              <a:rPr lang="en-US">
                <a:cs typeface="Calibri"/>
              </a:rPr>
              <a:t>How can we reduce costs across environments</a:t>
            </a:r>
          </a:p>
          <a:p>
            <a:pPr marL="406644" lvl="2" indent="-171450"/>
            <a:r>
              <a:rPr lang="en-US" b="0">
                <a:cs typeface="Calibri"/>
              </a:rPr>
              <a:t>Deloitte Dev</a:t>
            </a:r>
          </a:p>
          <a:p>
            <a:pPr marL="406644" lvl="2" indent="-171450"/>
            <a:r>
              <a:rPr lang="en-US" b="0">
                <a:cs typeface="Calibri"/>
              </a:rPr>
              <a:t>CDC Dev/Prod</a:t>
            </a:r>
          </a:p>
          <a:p>
            <a:pPr indent="-457200"/>
            <a:r>
              <a:rPr lang="en-US">
                <a:cs typeface="Calibri"/>
              </a:rPr>
              <a:t>What processes can springboard new application pods?</a:t>
            </a:r>
          </a:p>
          <a:p>
            <a:pPr indent="-457200"/>
            <a:r>
              <a:rPr lang="en-US">
                <a:cs typeface="Calibri"/>
              </a:rPr>
              <a:t>How can we reduce infrastructure maintenance?</a:t>
            </a:r>
          </a:p>
          <a:p>
            <a:pPr indent="-457200"/>
            <a:r>
              <a:rPr lang="en-US">
                <a:cs typeface="Calibri"/>
              </a:rPr>
              <a:t>What are our cloud resources that are compatible/incompatible with other cloud vendors?</a:t>
            </a:r>
          </a:p>
        </p:txBody>
      </p:sp>
      <p:sp>
        <p:nvSpPr>
          <p:cNvPr id="4" name="Content Placeholder 3">
            <a:extLst>
              <a:ext uri="{FF2B5EF4-FFF2-40B4-BE49-F238E27FC236}">
                <a16:creationId xmlns:a16="http://schemas.microsoft.com/office/drawing/2014/main" id="{411D8D10-9715-422E-94DE-41E1C2659267}"/>
              </a:ext>
            </a:extLst>
          </p:cNvPr>
          <p:cNvSpPr>
            <a:spLocks noGrp="1"/>
          </p:cNvSpPr>
          <p:nvPr>
            <p:ph sz="half" idx="2"/>
          </p:nvPr>
        </p:nvSpPr>
        <p:spPr/>
        <p:txBody>
          <a:bodyPr>
            <a:normAutofit fontScale="92500" lnSpcReduction="20000"/>
          </a:bodyPr>
          <a:lstStyle/>
          <a:p>
            <a:endParaRPr lang="en-US"/>
          </a:p>
        </p:txBody>
      </p:sp>
    </p:spTree>
    <p:extLst>
      <p:ext uri="{BB962C8B-B14F-4D97-AF65-F5344CB8AC3E}">
        <p14:creationId xmlns:p14="http://schemas.microsoft.com/office/powerpoint/2010/main" val="28247426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44E64-F954-4288-A504-12E14B683D66}"/>
              </a:ext>
            </a:extLst>
          </p:cNvPr>
          <p:cNvSpPr>
            <a:spLocks noGrp="1"/>
          </p:cNvSpPr>
          <p:nvPr>
            <p:ph type="title"/>
          </p:nvPr>
        </p:nvSpPr>
        <p:spPr/>
        <p:txBody>
          <a:bodyPr/>
          <a:lstStyle/>
          <a:p>
            <a:r>
              <a:rPr lang="en-US" sz="3600">
                <a:ea typeface="+mj-lt"/>
                <a:cs typeface="+mj-lt"/>
              </a:rPr>
              <a:t>Data Processing and Analytics: Future State (</a:t>
            </a:r>
            <a:r>
              <a:rPr lang="en-US" sz="3600">
                <a:solidFill>
                  <a:srgbClr val="FF0000"/>
                </a:solidFill>
                <a:ea typeface="+mj-lt"/>
                <a:cs typeface="+mj-lt"/>
              </a:rPr>
              <a:t>WIP</a:t>
            </a:r>
            <a:r>
              <a:rPr lang="en-US" sz="3600">
                <a:ea typeface="+mj-lt"/>
                <a:cs typeface="+mj-lt"/>
              </a:rPr>
              <a:t>)</a:t>
            </a:r>
          </a:p>
        </p:txBody>
      </p:sp>
      <p:sp>
        <p:nvSpPr>
          <p:cNvPr id="7" name="Rectangle 6">
            <a:extLst>
              <a:ext uri="{FF2B5EF4-FFF2-40B4-BE49-F238E27FC236}">
                <a16:creationId xmlns:a16="http://schemas.microsoft.com/office/drawing/2014/main" id="{4E9CEC12-395F-094A-BE02-C26A65ACDAE5}"/>
              </a:ext>
            </a:extLst>
          </p:cNvPr>
          <p:cNvSpPr/>
          <p:nvPr/>
        </p:nvSpPr>
        <p:spPr>
          <a:xfrm>
            <a:off x="8356069" y="3018191"/>
            <a:ext cx="914400" cy="284117"/>
          </a:xfrm>
          <a:prstGeom prst="rect">
            <a:avLst/>
          </a:prstGeom>
          <a:noFill/>
          <a:ln w="6350" algn="ctr">
            <a:noFill/>
            <a:miter lim="800000"/>
            <a:headEnd type="none" w="sm" len="sm"/>
            <a:tailEnd type="none" w="sm" len="sm"/>
          </a:ln>
        </p:spPr>
        <p:txBody>
          <a:bodyPr wrap="square" lIns="0" tIns="0" rIns="0" bIns="0" anchor="ctr"/>
          <a:lstStyle/>
          <a:p>
            <a:pPr algn="ctr"/>
            <a:r>
              <a:rPr lang="en-US" sz="850"/>
              <a:t>Data Catalog</a:t>
            </a:r>
          </a:p>
        </p:txBody>
      </p:sp>
      <p:sp>
        <p:nvSpPr>
          <p:cNvPr id="8" name="Rectangle 7">
            <a:extLst>
              <a:ext uri="{FF2B5EF4-FFF2-40B4-BE49-F238E27FC236}">
                <a16:creationId xmlns:a16="http://schemas.microsoft.com/office/drawing/2014/main" id="{E21D9AD7-3A74-4A47-89A6-E3EDE1DECB5F}"/>
              </a:ext>
            </a:extLst>
          </p:cNvPr>
          <p:cNvSpPr/>
          <p:nvPr/>
        </p:nvSpPr>
        <p:spPr>
          <a:xfrm>
            <a:off x="2260783" y="3794343"/>
            <a:ext cx="1000752" cy="462977"/>
          </a:xfrm>
          <a:prstGeom prst="rect">
            <a:avLst/>
          </a:prstGeom>
          <a:noFill/>
          <a:ln w="6350" algn="ctr">
            <a:noFill/>
            <a:miter lim="800000"/>
            <a:headEnd type="none" w="sm" len="sm"/>
            <a:tailEnd type="none" w="sm" len="sm"/>
          </a:ln>
        </p:spPr>
        <p:txBody>
          <a:bodyPr wrap="square" lIns="0" tIns="0" rIns="0" bIns="0" anchor="ctr"/>
          <a:lstStyle/>
          <a:p>
            <a:pPr algn="ctr"/>
            <a:r>
              <a:rPr lang="en-US" sz="850"/>
              <a:t>Ingestion Pipeline</a:t>
            </a:r>
          </a:p>
        </p:txBody>
      </p:sp>
      <p:cxnSp>
        <p:nvCxnSpPr>
          <p:cNvPr id="9" name="Straight Connector 74">
            <a:extLst>
              <a:ext uri="{FF2B5EF4-FFF2-40B4-BE49-F238E27FC236}">
                <a16:creationId xmlns:a16="http://schemas.microsoft.com/office/drawing/2014/main" id="{2FFBA4E3-AE8C-5342-B216-F42005224839}"/>
              </a:ext>
            </a:extLst>
          </p:cNvPr>
          <p:cNvCxnSpPr>
            <a:cxnSpLocks/>
            <a:endCxn id="8" idx="1"/>
          </p:cNvCxnSpPr>
          <p:nvPr/>
        </p:nvCxnSpPr>
        <p:spPr>
          <a:xfrm>
            <a:off x="1536943" y="3424058"/>
            <a:ext cx="723840" cy="601774"/>
          </a:xfrm>
          <a:prstGeom prst="bentConnector3">
            <a:avLst>
              <a:gd name="adj1" fmla="val 50000"/>
            </a:avLst>
          </a:prstGeom>
          <a:noFill/>
          <a:ln w="22225" cmpd="sng">
            <a:solidFill>
              <a:srgbClr val="D6D6D6"/>
            </a:solidFill>
            <a:tailEnd type="triangle"/>
          </a:ln>
          <a:effectLst/>
        </p:spPr>
      </p:cxnSp>
      <p:cxnSp>
        <p:nvCxnSpPr>
          <p:cNvPr id="10" name="Straight Connector 74">
            <a:extLst>
              <a:ext uri="{FF2B5EF4-FFF2-40B4-BE49-F238E27FC236}">
                <a16:creationId xmlns:a16="http://schemas.microsoft.com/office/drawing/2014/main" id="{2CD82536-A722-E842-85D8-9256B9AD823B}"/>
              </a:ext>
            </a:extLst>
          </p:cNvPr>
          <p:cNvCxnSpPr>
            <a:cxnSpLocks/>
            <a:endCxn id="8" idx="2"/>
          </p:cNvCxnSpPr>
          <p:nvPr/>
        </p:nvCxnSpPr>
        <p:spPr>
          <a:xfrm flipV="1">
            <a:off x="1460103" y="4257320"/>
            <a:ext cx="1301056" cy="1258751"/>
          </a:xfrm>
          <a:prstGeom prst="bentConnector2">
            <a:avLst/>
          </a:prstGeom>
          <a:noFill/>
          <a:ln w="22225" cmpd="sng">
            <a:solidFill>
              <a:srgbClr val="D6D6D6"/>
            </a:solidFill>
            <a:tailEnd type="triangle"/>
          </a:ln>
          <a:effectLst/>
        </p:spPr>
      </p:cxnSp>
      <p:cxnSp>
        <p:nvCxnSpPr>
          <p:cNvPr id="11" name="Straight Connector 74">
            <a:extLst>
              <a:ext uri="{FF2B5EF4-FFF2-40B4-BE49-F238E27FC236}">
                <a16:creationId xmlns:a16="http://schemas.microsoft.com/office/drawing/2014/main" id="{30C23F67-7F47-024F-82AB-421BAF02AF28}"/>
              </a:ext>
            </a:extLst>
          </p:cNvPr>
          <p:cNvCxnSpPr>
            <a:cxnSpLocks/>
          </p:cNvCxnSpPr>
          <p:nvPr/>
        </p:nvCxnSpPr>
        <p:spPr>
          <a:xfrm flipV="1">
            <a:off x="3153362" y="3424540"/>
            <a:ext cx="591932" cy="2014"/>
          </a:xfrm>
          <a:prstGeom prst="bentConnector3">
            <a:avLst>
              <a:gd name="adj1" fmla="val 93769"/>
            </a:avLst>
          </a:prstGeom>
          <a:noFill/>
          <a:ln w="22225" cmpd="sng">
            <a:solidFill>
              <a:srgbClr val="D6D6D6"/>
            </a:solidFill>
            <a:tailEnd type="triangle"/>
          </a:ln>
          <a:effectLst/>
        </p:spPr>
      </p:cxnSp>
      <p:sp>
        <p:nvSpPr>
          <p:cNvPr id="15" name="Rectangle 14">
            <a:extLst>
              <a:ext uri="{FF2B5EF4-FFF2-40B4-BE49-F238E27FC236}">
                <a16:creationId xmlns:a16="http://schemas.microsoft.com/office/drawing/2014/main" id="{8042F71D-164A-8146-BBA9-4C06E807FB02}"/>
              </a:ext>
            </a:extLst>
          </p:cNvPr>
          <p:cNvSpPr/>
          <p:nvPr/>
        </p:nvSpPr>
        <p:spPr>
          <a:xfrm>
            <a:off x="3886636" y="4287897"/>
            <a:ext cx="914400" cy="176109"/>
          </a:xfrm>
          <a:prstGeom prst="rect">
            <a:avLst/>
          </a:prstGeom>
          <a:noFill/>
          <a:ln w="6350" algn="ctr">
            <a:noFill/>
            <a:miter lim="800000"/>
            <a:headEnd type="none" w="sm" len="sm"/>
            <a:tailEnd type="none" w="sm" len="sm"/>
          </a:ln>
        </p:spPr>
        <p:txBody>
          <a:bodyPr wrap="square" lIns="0" tIns="0" rIns="0" bIns="0" anchor="ctr"/>
          <a:lstStyle/>
          <a:p>
            <a:pPr algn="ctr"/>
            <a:r>
              <a:rPr lang="en-US" sz="850"/>
              <a:t>Object Storage</a:t>
            </a:r>
          </a:p>
        </p:txBody>
      </p:sp>
      <p:sp>
        <p:nvSpPr>
          <p:cNvPr id="16" name="Rectangle 15">
            <a:extLst>
              <a:ext uri="{FF2B5EF4-FFF2-40B4-BE49-F238E27FC236}">
                <a16:creationId xmlns:a16="http://schemas.microsoft.com/office/drawing/2014/main" id="{629387AF-8619-EB42-B4B4-D9DFA3B6FB4D}"/>
              </a:ext>
            </a:extLst>
          </p:cNvPr>
          <p:cNvSpPr/>
          <p:nvPr/>
        </p:nvSpPr>
        <p:spPr>
          <a:xfrm>
            <a:off x="7030212" y="5053154"/>
            <a:ext cx="914400" cy="201307"/>
          </a:xfrm>
          <a:prstGeom prst="rect">
            <a:avLst/>
          </a:prstGeom>
          <a:noFill/>
          <a:ln w="6350" algn="ctr">
            <a:noFill/>
            <a:miter lim="800000"/>
            <a:headEnd type="none" w="sm" len="sm"/>
            <a:tailEnd type="none" w="sm" len="sm"/>
          </a:ln>
        </p:spPr>
        <p:txBody>
          <a:bodyPr wrap="square" lIns="0" tIns="0" rIns="0" bIns="0" anchor="ctr"/>
          <a:lstStyle/>
          <a:p>
            <a:pPr algn="ctr"/>
            <a:r>
              <a:rPr lang="en-US" sz="850"/>
              <a:t>Purposeful</a:t>
            </a:r>
          </a:p>
          <a:p>
            <a:pPr algn="ctr"/>
            <a:r>
              <a:rPr lang="en-US" sz="850"/>
              <a:t>Data Warehouse</a:t>
            </a:r>
          </a:p>
        </p:txBody>
      </p:sp>
      <p:sp>
        <p:nvSpPr>
          <p:cNvPr id="17" name="Rectangle 16">
            <a:extLst>
              <a:ext uri="{FF2B5EF4-FFF2-40B4-BE49-F238E27FC236}">
                <a16:creationId xmlns:a16="http://schemas.microsoft.com/office/drawing/2014/main" id="{9B5BA45B-ABFD-0443-A1A3-389339AF050C}"/>
              </a:ext>
            </a:extLst>
          </p:cNvPr>
          <p:cNvSpPr/>
          <p:nvPr/>
        </p:nvSpPr>
        <p:spPr>
          <a:xfrm>
            <a:off x="5173975" y="3731212"/>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Orchestration / Processing</a:t>
            </a:r>
          </a:p>
        </p:txBody>
      </p:sp>
      <p:cxnSp>
        <p:nvCxnSpPr>
          <p:cNvPr id="19" name="Straight Connector 74">
            <a:extLst>
              <a:ext uri="{FF2B5EF4-FFF2-40B4-BE49-F238E27FC236}">
                <a16:creationId xmlns:a16="http://schemas.microsoft.com/office/drawing/2014/main" id="{8A4FCCDE-CB6D-E94F-A9EB-69B5CAE7AD90}"/>
              </a:ext>
            </a:extLst>
          </p:cNvPr>
          <p:cNvCxnSpPr>
            <a:cxnSpLocks/>
          </p:cNvCxnSpPr>
          <p:nvPr/>
        </p:nvCxnSpPr>
        <p:spPr>
          <a:xfrm>
            <a:off x="1561965" y="1992292"/>
            <a:ext cx="819487" cy="0"/>
          </a:xfrm>
          <a:prstGeom prst="straightConnector1">
            <a:avLst/>
          </a:prstGeom>
          <a:noFill/>
          <a:ln w="22225" cmpd="sng">
            <a:solidFill>
              <a:srgbClr val="D6D6D6"/>
            </a:solidFill>
            <a:tailEnd type="triangle"/>
          </a:ln>
          <a:effectLst/>
        </p:spPr>
      </p:cxnSp>
      <p:sp>
        <p:nvSpPr>
          <p:cNvPr id="20" name="Rectangle 19">
            <a:extLst>
              <a:ext uri="{FF2B5EF4-FFF2-40B4-BE49-F238E27FC236}">
                <a16:creationId xmlns:a16="http://schemas.microsoft.com/office/drawing/2014/main" id="{0F7517DF-4910-1445-96B3-E236A68A46C2}"/>
              </a:ext>
            </a:extLst>
          </p:cNvPr>
          <p:cNvSpPr/>
          <p:nvPr/>
        </p:nvSpPr>
        <p:spPr>
          <a:xfrm>
            <a:off x="10844680" y="5378449"/>
            <a:ext cx="914400" cy="316441"/>
          </a:xfrm>
          <a:prstGeom prst="rect">
            <a:avLst/>
          </a:prstGeom>
          <a:noFill/>
          <a:ln w="6350" algn="ctr">
            <a:noFill/>
            <a:miter lim="800000"/>
            <a:headEnd type="none" w="sm" len="sm"/>
            <a:tailEnd type="none" w="sm" len="sm"/>
          </a:ln>
        </p:spPr>
        <p:txBody>
          <a:bodyPr wrap="square" lIns="0" tIns="0" rIns="0" bIns="0" anchor="ctr"/>
          <a:lstStyle/>
          <a:p>
            <a:pPr algn="ctr"/>
            <a:r>
              <a:rPr lang="en-US" sz="850"/>
              <a:t>Data Reporting &amp; Visualizations</a:t>
            </a:r>
          </a:p>
        </p:txBody>
      </p:sp>
      <p:sp>
        <p:nvSpPr>
          <p:cNvPr id="22" name="Rectangle 21">
            <a:extLst>
              <a:ext uri="{FF2B5EF4-FFF2-40B4-BE49-F238E27FC236}">
                <a16:creationId xmlns:a16="http://schemas.microsoft.com/office/drawing/2014/main" id="{12072074-4C5C-5948-BDA1-9466EE208064}"/>
              </a:ext>
            </a:extLst>
          </p:cNvPr>
          <p:cNvSpPr/>
          <p:nvPr/>
        </p:nvSpPr>
        <p:spPr>
          <a:xfrm>
            <a:off x="8383058" y="4108320"/>
            <a:ext cx="914400" cy="229472"/>
          </a:xfrm>
          <a:prstGeom prst="rect">
            <a:avLst/>
          </a:prstGeom>
          <a:noFill/>
          <a:ln w="6350" algn="ctr">
            <a:noFill/>
            <a:miter lim="800000"/>
            <a:headEnd type="none" w="sm" len="sm"/>
            <a:tailEnd type="none" w="sm" len="sm"/>
          </a:ln>
        </p:spPr>
        <p:txBody>
          <a:bodyPr wrap="square" lIns="0" tIns="0" rIns="0" bIns="0" anchor="ctr"/>
          <a:lstStyle/>
          <a:p>
            <a:pPr algn="ctr"/>
            <a:r>
              <a:rPr lang="en-US" sz="850"/>
              <a:t>Search Engine</a:t>
            </a:r>
          </a:p>
        </p:txBody>
      </p:sp>
      <p:cxnSp>
        <p:nvCxnSpPr>
          <p:cNvPr id="23" name="Straight Connector 74">
            <a:extLst>
              <a:ext uri="{FF2B5EF4-FFF2-40B4-BE49-F238E27FC236}">
                <a16:creationId xmlns:a16="http://schemas.microsoft.com/office/drawing/2014/main" id="{53147BF0-5701-B845-9BEC-3E8C7D6B2F98}"/>
              </a:ext>
            </a:extLst>
          </p:cNvPr>
          <p:cNvCxnSpPr>
            <a:cxnSpLocks/>
          </p:cNvCxnSpPr>
          <p:nvPr/>
        </p:nvCxnSpPr>
        <p:spPr>
          <a:xfrm>
            <a:off x="10614708" y="3443076"/>
            <a:ext cx="322339" cy="0"/>
          </a:xfrm>
          <a:prstGeom prst="straightConnector1">
            <a:avLst/>
          </a:prstGeom>
          <a:noFill/>
          <a:ln w="22225" cmpd="sng">
            <a:solidFill>
              <a:srgbClr val="D6D6D6"/>
            </a:solidFill>
            <a:tailEnd type="triangle"/>
          </a:ln>
          <a:effectLst/>
        </p:spPr>
      </p:cxnSp>
      <p:cxnSp>
        <p:nvCxnSpPr>
          <p:cNvPr id="24" name="Straight Connector 74">
            <a:extLst>
              <a:ext uri="{FF2B5EF4-FFF2-40B4-BE49-F238E27FC236}">
                <a16:creationId xmlns:a16="http://schemas.microsoft.com/office/drawing/2014/main" id="{C0D59FA1-16AE-D44D-B282-C8ACDA10D262}"/>
              </a:ext>
            </a:extLst>
          </p:cNvPr>
          <p:cNvCxnSpPr>
            <a:cxnSpLocks/>
          </p:cNvCxnSpPr>
          <p:nvPr/>
        </p:nvCxnSpPr>
        <p:spPr>
          <a:xfrm flipH="1">
            <a:off x="7439329" y="3002920"/>
            <a:ext cx="3832158" cy="2322"/>
          </a:xfrm>
          <a:prstGeom prst="bentConnector5">
            <a:avLst>
              <a:gd name="adj1" fmla="val 284"/>
              <a:gd name="adj2" fmla="val -30198880"/>
              <a:gd name="adj3" fmla="val 99986"/>
            </a:avLst>
          </a:prstGeom>
          <a:noFill/>
          <a:ln w="22225" cmpd="sng">
            <a:solidFill>
              <a:srgbClr val="D6D6D6"/>
            </a:solidFill>
            <a:prstDash val="dash"/>
            <a:tailEnd type="triangle"/>
          </a:ln>
          <a:effectLst/>
        </p:spPr>
      </p:cxnSp>
      <p:grpSp>
        <p:nvGrpSpPr>
          <p:cNvPr id="25" name="Group 24">
            <a:extLst>
              <a:ext uri="{FF2B5EF4-FFF2-40B4-BE49-F238E27FC236}">
                <a16:creationId xmlns:a16="http://schemas.microsoft.com/office/drawing/2014/main" id="{8B3D33C4-669D-DF43-BF58-9FD9AC4D7923}"/>
              </a:ext>
            </a:extLst>
          </p:cNvPr>
          <p:cNvGrpSpPr/>
          <p:nvPr/>
        </p:nvGrpSpPr>
        <p:grpSpPr>
          <a:xfrm>
            <a:off x="3360497" y="7381140"/>
            <a:ext cx="1775053" cy="751513"/>
            <a:chOff x="5302152" y="1990215"/>
            <a:chExt cx="1756474" cy="751513"/>
          </a:xfrm>
        </p:grpSpPr>
        <p:sp>
          <p:nvSpPr>
            <p:cNvPr id="26" name="TextBox 25">
              <a:extLst>
                <a:ext uri="{FF2B5EF4-FFF2-40B4-BE49-F238E27FC236}">
                  <a16:creationId xmlns:a16="http://schemas.microsoft.com/office/drawing/2014/main" id="{F288F8E1-298F-BC4F-9E97-FB0BB5A5B853}"/>
                </a:ext>
              </a:extLst>
            </p:cNvPr>
            <p:cNvSpPr txBox="1"/>
            <p:nvPr/>
          </p:nvSpPr>
          <p:spPr>
            <a:xfrm>
              <a:off x="5396764" y="1990215"/>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050">
                  <a:solidFill>
                    <a:schemeClr val="tx1"/>
                  </a:solidFill>
                  <a:latin typeface="+mn-lt"/>
                </a:rPr>
                <a:t>Storage</a:t>
              </a:r>
            </a:p>
          </p:txBody>
        </p:sp>
        <p:sp>
          <p:nvSpPr>
            <p:cNvPr id="27" name="TextBox 26">
              <a:extLst>
                <a:ext uri="{FF2B5EF4-FFF2-40B4-BE49-F238E27FC236}">
                  <a16:creationId xmlns:a16="http://schemas.microsoft.com/office/drawing/2014/main" id="{91E5CC26-AD36-0949-A88C-DAE75BFAF20A}"/>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800" b="0">
                  <a:solidFill>
                    <a:schemeClr val="tx1"/>
                  </a:solidFill>
                  <a:latin typeface="+mn-lt"/>
                </a:rPr>
                <a:t>Highly scalable enterprise data warehouses for data mart or performant analytic usages</a:t>
              </a:r>
            </a:p>
          </p:txBody>
        </p:sp>
      </p:grpSp>
      <p:grpSp>
        <p:nvGrpSpPr>
          <p:cNvPr id="28" name="Group 27">
            <a:extLst>
              <a:ext uri="{FF2B5EF4-FFF2-40B4-BE49-F238E27FC236}">
                <a16:creationId xmlns:a16="http://schemas.microsoft.com/office/drawing/2014/main" id="{89A7FDF5-1A99-8947-92C8-400563E0F8A8}"/>
              </a:ext>
            </a:extLst>
          </p:cNvPr>
          <p:cNvGrpSpPr/>
          <p:nvPr/>
        </p:nvGrpSpPr>
        <p:grpSpPr>
          <a:xfrm>
            <a:off x="2530443" y="3280886"/>
            <a:ext cx="497776" cy="517982"/>
            <a:chOff x="3049518" y="2956489"/>
            <a:chExt cx="497776" cy="517982"/>
          </a:xfrm>
        </p:grpSpPr>
        <p:sp>
          <p:nvSpPr>
            <p:cNvPr id="29" name="Freeform 664">
              <a:extLst>
                <a:ext uri="{FF2B5EF4-FFF2-40B4-BE49-F238E27FC236}">
                  <a16:creationId xmlns:a16="http://schemas.microsoft.com/office/drawing/2014/main" id="{4A7FEE34-E0C7-9247-A202-4B082BD869D5}"/>
                </a:ext>
              </a:extLst>
            </p:cNvPr>
            <p:cNvSpPr>
              <a:spLocks/>
            </p:cNvSpPr>
            <p:nvPr/>
          </p:nvSpPr>
          <p:spPr bwMode="auto">
            <a:xfrm>
              <a:off x="3120532" y="3048855"/>
              <a:ext cx="309983" cy="334385"/>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244">
              <a:extLst>
                <a:ext uri="{FF2B5EF4-FFF2-40B4-BE49-F238E27FC236}">
                  <a16:creationId xmlns:a16="http://schemas.microsoft.com/office/drawing/2014/main" id="{889B2266-99A2-AB44-ADDE-E8BE23CD6FF0}"/>
                </a:ext>
              </a:extLst>
            </p:cNvPr>
            <p:cNvSpPr>
              <a:spLocks noEditPoints="1"/>
            </p:cNvSpPr>
            <p:nvPr/>
          </p:nvSpPr>
          <p:spPr bwMode="auto">
            <a:xfrm>
              <a:off x="3049518" y="295648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1"/>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5" name="Group 84">
            <a:extLst>
              <a:ext uri="{FF2B5EF4-FFF2-40B4-BE49-F238E27FC236}">
                <a16:creationId xmlns:a16="http://schemas.microsoft.com/office/drawing/2014/main" id="{D0210733-427E-1E4B-90F3-B23B21ADEA4D}"/>
              </a:ext>
            </a:extLst>
          </p:cNvPr>
          <p:cNvGrpSpPr/>
          <p:nvPr/>
        </p:nvGrpSpPr>
        <p:grpSpPr>
          <a:xfrm>
            <a:off x="609062" y="1705557"/>
            <a:ext cx="914400" cy="756823"/>
            <a:chOff x="614503" y="1705557"/>
            <a:chExt cx="914400" cy="756823"/>
          </a:xfrm>
        </p:grpSpPr>
        <p:sp>
          <p:nvSpPr>
            <p:cNvPr id="14" name="Rectangle 13">
              <a:extLst>
                <a:ext uri="{FF2B5EF4-FFF2-40B4-BE49-F238E27FC236}">
                  <a16:creationId xmlns:a16="http://schemas.microsoft.com/office/drawing/2014/main" id="{725AB122-3F17-634A-BAA9-8677BB6423F3}"/>
                </a:ext>
              </a:extLst>
            </p:cNvPr>
            <p:cNvSpPr/>
            <p:nvPr/>
          </p:nvSpPr>
          <p:spPr>
            <a:xfrm>
              <a:off x="614503" y="2277703"/>
              <a:ext cx="914400" cy="184677"/>
            </a:xfrm>
            <a:prstGeom prst="rect">
              <a:avLst/>
            </a:prstGeom>
            <a:noFill/>
            <a:ln w="6350" algn="ctr">
              <a:noFill/>
              <a:miter lim="800000"/>
              <a:headEnd type="none" w="sm" len="sm"/>
              <a:tailEnd type="none" w="sm" len="sm"/>
            </a:ln>
          </p:spPr>
          <p:txBody>
            <a:bodyPr wrap="square" lIns="0" tIns="0" rIns="0" bIns="0" anchor="ctr"/>
            <a:lstStyle/>
            <a:p>
              <a:pPr algn="ctr"/>
              <a:r>
                <a:rPr lang="en-US" sz="850"/>
                <a:t>Stream Data</a:t>
              </a:r>
            </a:p>
          </p:txBody>
        </p:sp>
        <p:grpSp>
          <p:nvGrpSpPr>
            <p:cNvPr id="31" name="Group 30">
              <a:extLst>
                <a:ext uri="{FF2B5EF4-FFF2-40B4-BE49-F238E27FC236}">
                  <a16:creationId xmlns:a16="http://schemas.microsoft.com/office/drawing/2014/main" id="{2F3D906C-AFBB-7348-8A54-99EF0C992060}"/>
                </a:ext>
              </a:extLst>
            </p:cNvPr>
            <p:cNvGrpSpPr/>
            <p:nvPr/>
          </p:nvGrpSpPr>
          <p:grpSpPr>
            <a:xfrm>
              <a:off x="822815" y="1705557"/>
              <a:ext cx="497776" cy="517982"/>
              <a:chOff x="914473" y="2835335"/>
              <a:chExt cx="497776" cy="517982"/>
            </a:xfrm>
          </p:grpSpPr>
          <p:grpSp>
            <p:nvGrpSpPr>
              <p:cNvPr id="32" name="Group 31">
                <a:extLst>
                  <a:ext uri="{FF2B5EF4-FFF2-40B4-BE49-F238E27FC236}">
                    <a16:creationId xmlns:a16="http://schemas.microsoft.com/office/drawing/2014/main" id="{4F9E8741-7DDA-AA4D-8C93-1D3864611A3A}"/>
                  </a:ext>
                </a:extLst>
              </p:cNvPr>
              <p:cNvGrpSpPr/>
              <p:nvPr/>
            </p:nvGrpSpPr>
            <p:grpSpPr>
              <a:xfrm>
                <a:off x="1047143" y="2923002"/>
                <a:ext cx="249436" cy="328107"/>
                <a:chOff x="3727450" y="5280026"/>
                <a:chExt cx="627063" cy="781050"/>
              </a:xfrm>
            </p:grpSpPr>
            <p:sp>
              <p:nvSpPr>
                <p:cNvPr id="34" name="Freeform 45">
                  <a:extLst>
                    <a:ext uri="{FF2B5EF4-FFF2-40B4-BE49-F238E27FC236}">
                      <a16:creationId xmlns:a16="http://schemas.microsoft.com/office/drawing/2014/main" id="{57CECC1F-C01C-FE4D-890B-A99007DA0EF8}"/>
                    </a:ext>
                  </a:extLst>
                </p:cNvPr>
                <p:cNvSpPr>
                  <a:spLocks/>
                </p:cNvSpPr>
                <p:nvPr/>
              </p:nvSpPr>
              <p:spPr bwMode="auto">
                <a:xfrm>
                  <a:off x="3848100" y="5553076"/>
                  <a:ext cx="71438" cy="177800"/>
                </a:xfrm>
                <a:custGeom>
                  <a:avLst/>
                  <a:gdLst>
                    <a:gd name="T0" fmla="*/ 6 w 17"/>
                    <a:gd name="T1" fmla="*/ 10 h 43"/>
                    <a:gd name="T2" fmla="*/ 9 w 17"/>
                    <a:gd name="T3" fmla="*/ 9 h 43"/>
                    <a:gd name="T4" fmla="*/ 9 w 17"/>
                    <a:gd name="T5" fmla="*/ 39 h 43"/>
                    <a:gd name="T6" fmla="*/ 13 w 17"/>
                    <a:gd name="T7" fmla="*/ 43 h 43"/>
                    <a:gd name="T8" fmla="*/ 17 w 17"/>
                    <a:gd name="T9" fmla="*/ 39 h 43"/>
                    <a:gd name="T10" fmla="*/ 17 w 17"/>
                    <a:gd name="T11" fmla="*/ 4 h 43"/>
                    <a:gd name="T12" fmla="*/ 13 w 17"/>
                    <a:gd name="T13" fmla="*/ 0 h 43"/>
                    <a:gd name="T14" fmla="*/ 10 w 17"/>
                    <a:gd name="T15" fmla="*/ 1 h 43"/>
                    <a:gd name="T16" fmla="*/ 3 w 17"/>
                    <a:gd name="T17" fmla="*/ 3 h 43"/>
                    <a:gd name="T18" fmla="*/ 0 w 17"/>
                    <a:gd name="T19" fmla="*/ 6 h 43"/>
                    <a:gd name="T20" fmla="*/ 6 w 17"/>
                    <a:gd name="T21"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3">
                      <a:moveTo>
                        <a:pt x="6" y="10"/>
                      </a:moveTo>
                      <a:cubicBezTo>
                        <a:pt x="9" y="9"/>
                        <a:pt x="9" y="9"/>
                        <a:pt x="9" y="9"/>
                      </a:cubicBezTo>
                      <a:cubicBezTo>
                        <a:pt x="9" y="39"/>
                        <a:pt x="9" y="39"/>
                        <a:pt x="9" y="39"/>
                      </a:cubicBezTo>
                      <a:cubicBezTo>
                        <a:pt x="9" y="41"/>
                        <a:pt x="10" y="43"/>
                        <a:pt x="13" y="43"/>
                      </a:cubicBezTo>
                      <a:cubicBezTo>
                        <a:pt x="15" y="43"/>
                        <a:pt x="17" y="41"/>
                        <a:pt x="17" y="39"/>
                      </a:cubicBezTo>
                      <a:cubicBezTo>
                        <a:pt x="17" y="4"/>
                        <a:pt x="17" y="4"/>
                        <a:pt x="17" y="4"/>
                      </a:cubicBezTo>
                      <a:cubicBezTo>
                        <a:pt x="17" y="2"/>
                        <a:pt x="15" y="0"/>
                        <a:pt x="13" y="0"/>
                      </a:cubicBezTo>
                      <a:cubicBezTo>
                        <a:pt x="12" y="0"/>
                        <a:pt x="11" y="0"/>
                        <a:pt x="10" y="1"/>
                      </a:cubicBezTo>
                      <a:cubicBezTo>
                        <a:pt x="3" y="3"/>
                        <a:pt x="3" y="3"/>
                        <a:pt x="3" y="3"/>
                      </a:cubicBezTo>
                      <a:cubicBezTo>
                        <a:pt x="1" y="3"/>
                        <a:pt x="0" y="5"/>
                        <a:pt x="0" y="6"/>
                      </a:cubicBezTo>
                      <a:cubicBezTo>
                        <a:pt x="0" y="9"/>
                        <a:pt x="3" y="11"/>
                        <a:pt x="6"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5" name="Freeform 46">
                  <a:extLst>
                    <a:ext uri="{FF2B5EF4-FFF2-40B4-BE49-F238E27FC236}">
                      <a16:creationId xmlns:a16="http://schemas.microsoft.com/office/drawing/2014/main" id="{DD1545BD-B463-884E-AD33-0A4F12715F56}"/>
                    </a:ext>
                  </a:extLst>
                </p:cNvPr>
                <p:cNvSpPr>
                  <a:spLocks noEditPoints="1"/>
                </p:cNvSpPr>
                <p:nvPr/>
              </p:nvSpPr>
              <p:spPr bwMode="auto">
                <a:xfrm>
                  <a:off x="3960813" y="5553076"/>
                  <a:ext cx="149225" cy="177800"/>
                </a:xfrm>
                <a:custGeom>
                  <a:avLst/>
                  <a:gdLst>
                    <a:gd name="T0" fmla="*/ 18 w 36"/>
                    <a:gd name="T1" fmla="*/ 0 h 43"/>
                    <a:gd name="T2" fmla="*/ 0 w 36"/>
                    <a:gd name="T3" fmla="*/ 22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2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2"/>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2"/>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6" name="Freeform 47">
                  <a:extLst>
                    <a:ext uri="{FF2B5EF4-FFF2-40B4-BE49-F238E27FC236}">
                      <a16:creationId xmlns:a16="http://schemas.microsoft.com/office/drawing/2014/main" id="{665DC303-7A7D-194F-8FCA-9C007C7E096A}"/>
                    </a:ext>
                  </a:extLst>
                </p:cNvPr>
                <p:cNvSpPr>
                  <a:spLocks/>
                </p:cNvSpPr>
                <p:nvPr/>
              </p:nvSpPr>
              <p:spPr bwMode="auto">
                <a:xfrm>
                  <a:off x="4138613" y="5553076"/>
                  <a:ext cx="66675" cy="177800"/>
                </a:xfrm>
                <a:custGeom>
                  <a:avLst/>
                  <a:gdLst>
                    <a:gd name="T0" fmla="*/ 12 w 16"/>
                    <a:gd name="T1" fmla="*/ 0 h 43"/>
                    <a:gd name="T2" fmla="*/ 9 w 16"/>
                    <a:gd name="T3" fmla="*/ 1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1"/>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7" name="Freeform 48">
                  <a:extLst>
                    <a:ext uri="{FF2B5EF4-FFF2-40B4-BE49-F238E27FC236}">
                      <a16:creationId xmlns:a16="http://schemas.microsoft.com/office/drawing/2014/main" id="{CB5911B9-75B0-9F43-82A2-59989A76BE81}"/>
                    </a:ext>
                  </a:extLst>
                </p:cNvPr>
                <p:cNvSpPr>
                  <a:spLocks noEditPoints="1"/>
                </p:cNvSpPr>
                <p:nvPr/>
              </p:nvSpPr>
              <p:spPr bwMode="auto">
                <a:xfrm>
                  <a:off x="3856038" y="5775326"/>
                  <a:ext cx="150813" cy="177800"/>
                </a:xfrm>
                <a:custGeom>
                  <a:avLst/>
                  <a:gdLst>
                    <a:gd name="T0" fmla="*/ 18 w 36"/>
                    <a:gd name="T1" fmla="*/ 0 h 43"/>
                    <a:gd name="T2" fmla="*/ 0 w 36"/>
                    <a:gd name="T3" fmla="*/ 21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1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1"/>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1"/>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49">
                  <a:extLst>
                    <a:ext uri="{FF2B5EF4-FFF2-40B4-BE49-F238E27FC236}">
                      <a16:creationId xmlns:a16="http://schemas.microsoft.com/office/drawing/2014/main" id="{8BA574E8-FCE3-4345-9E41-DD86BF7BEF4B}"/>
                    </a:ext>
                  </a:extLst>
                </p:cNvPr>
                <p:cNvSpPr>
                  <a:spLocks/>
                </p:cNvSpPr>
                <p:nvPr/>
              </p:nvSpPr>
              <p:spPr bwMode="auto">
                <a:xfrm>
                  <a:off x="4035425"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9" name="Freeform 50">
                  <a:extLst>
                    <a:ext uri="{FF2B5EF4-FFF2-40B4-BE49-F238E27FC236}">
                      <a16:creationId xmlns:a16="http://schemas.microsoft.com/office/drawing/2014/main" id="{E038E8DA-F784-6448-83E3-A8D31FBC35C7}"/>
                    </a:ext>
                  </a:extLst>
                </p:cNvPr>
                <p:cNvSpPr>
                  <a:spLocks/>
                </p:cNvSpPr>
                <p:nvPr/>
              </p:nvSpPr>
              <p:spPr bwMode="auto">
                <a:xfrm>
                  <a:off x="4138613"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0" name="Freeform 51">
                  <a:extLst>
                    <a:ext uri="{FF2B5EF4-FFF2-40B4-BE49-F238E27FC236}">
                      <a16:creationId xmlns:a16="http://schemas.microsoft.com/office/drawing/2014/main" id="{373265B8-B917-2643-9637-820C2EBBCCBB}"/>
                    </a:ext>
                  </a:extLst>
                </p:cNvPr>
                <p:cNvSpPr>
                  <a:spLocks noEditPoints="1"/>
                </p:cNvSpPr>
                <p:nvPr/>
              </p:nvSpPr>
              <p:spPr bwMode="auto">
                <a:xfrm>
                  <a:off x="3727450" y="5280026"/>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7 h 189"/>
                    <a:gd name="T22" fmla="*/ 148 w 151"/>
                    <a:gd name="T23" fmla="*/ 29 h 189"/>
                    <a:gd name="T24" fmla="*/ 141 w 151"/>
                    <a:gd name="T25" fmla="*/ 33 h 189"/>
                    <a:gd name="T26" fmla="*/ 119 w 151"/>
                    <a:gd name="T27" fmla="*/ 33 h 189"/>
                    <a:gd name="T28" fmla="*/ 119 w 151"/>
                    <a:gd name="T29" fmla="*/ 11 h 189"/>
                    <a:gd name="T30" fmla="*/ 141 w 151"/>
                    <a:gd name="T31" fmla="*/ 33 h 189"/>
                    <a:gd name="T32" fmla="*/ 141 w 151"/>
                    <a:gd name="T33" fmla="*/ 182 h 189"/>
                    <a:gd name="T34" fmla="*/ 10 w 151"/>
                    <a:gd name="T35" fmla="*/ 182 h 189"/>
                    <a:gd name="T36" fmla="*/ 8 w 151"/>
                    <a:gd name="T37" fmla="*/ 179 h 189"/>
                    <a:gd name="T38" fmla="*/ 8 w 151"/>
                    <a:gd name="T39" fmla="*/ 10 h 189"/>
                    <a:gd name="T40" fmla="*/ 10 w 151"/>
                    <a:gd name="T41" fmla="*/ 8 h 189"/>
                    <a:gd name="T42" fmla="*/ 111 w 151"/>
                    <a:gd name="T43" fmla="*/ 8 h 189"/>
                    <a:gd name="T44" fmla="*/ 111 w 151"/>
                    <a:gd name="T45" fmla="*/ 37 h 189"/>
                    <a:gd name="T46" fmla="*/ 115 w 151"/>
                    <a:gd name="T47" fmla="*/ 40 h 189"/>
                    <a:gd name="T48" fmla="*/ 144 w 151"/>
                    <a:gd name="T49" fmla="*/ 40 h 189"/>
                    <a:gd name="T50" fmla="*/ 144 w 151"/>
                    <a:gd name="T51" fmla="*/ 179 h 189"/>
                    <a:gd name="T52" fmla="*/ 141 w 151"/>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5"/>
                        <a:pt x="0" y="10"/>
                      </a:cubicBezTo>
                      <a:cubicBezTo>
                        <a:pt x="0" y="179"/>
                        <a:pt x="0" y="179"/>
                        <a:pt x="0" y="179"/>
                      </a:cubicBezTo>
                      <a:cubicBezTo>
                        <a:pt x="0" y="185"/>
                        <a:pt x="4" y="189"/>
                        <a:pt x="10" y="189"/>
                      </a:cubicBezTo>
                      <a:cubicBezTo>
                        <a:pt x="141" y="189"/>
                        <a:pt x="141" y="189"/>
                        <a:pt x="141" y="189"/>
                      </a:cubicBezTo>
                      <a:cubicBezTo>
                        <a:pt x="147" y="189"/>
                        <a:pt x="151" y="185"/>
                        <a:pt x="151" y="179"/>
                      </a:cubicBezTo>
                      <a:cubicBezTo>
                        <a:pt x="151" y="37"/>
                        <a:pt x="151" y="37"/>
                        <a:pt x="151" y="37"/>
                      </a:cubicBezTo>
                      <a:cubicBezTo>
                        <a:pt x="151" y="34"/>
                        <a:pt x="150" y="31"/>
                        <a:pt x="148" y="29"/>
                      </a:cubicBezTo>
                      <a:close/>
                      <a:moveTo>
                        <a:pt x="141" y="33"/>
                      </a:moveTo>
                      <a:cubicBezTo>
                        <a:pt x="119" y="33"/>
                        <a:pt x="119" y="33"/>
                        <a:pt x="119" y="33"/>
                      </a:cubicBezTo>
                      <a:cubicBezTo>
                        <a:pt x="119" y="11"/>
                        <a:pt x="119" y="11"/>
                        <a:pt x="119" y="11"/>
                      </a:cubicBezTo>
                      <a:lnTo>
                        <a:pt x="141" y="33"/>
                      </a:lnTo>
                      <a:close/>
                      <a:moveTo>
                        <a:pt x="141" y="182"/>
                      </a:moveTo>
                      <a:cubicBezTo>
                        <a:pt x="10" y="182"/>
                        <a:pt x="10" y="182"/>
                        <a:pt x="10" y="182"/>
                      </a:cubicBezTo>
                      <a:cubicBezTo>
                        <a:pt x="9" y="182"/>
                        <a:pt x="8" y="181"/>
                        <a:pt x="8" y="179"/>
                      </a:cubicBezTo>
                      <a:cubicBezTo>
                        <a:pt x="8" y="10"/>
                        <a:pt x="8" y="10"/>
                        <a:pt x="8" y="10"/>
                      </a:cubicBezTo>
                      <a:cubicBezTo>
                        <a:pt x="8" y="9"/>
                        <a:pt x="9" y="8"/>
                        <a:pt x="10" y="8"/>
                      </a:cubicBezTo>
                      <a:cubicBezTo>
                        <a:pt x="111" y="8"/>
                        <a:pt x="111" y="8"/>
                        <a:pt x="111" y="8"/>
                      </a:cubicBezTo>
                      <a:cubicBezTo>
                        <a:pt x="111" y="37"/>
                        <a:pt x="111" y="37"/>
                        <a:pt x="111" y="37"/>
                      </a:cubicBezTo>
                      <a:cubicBezTo>
                        <a:pt x="111" y="39"/>
                        <a:pt x="113" y="40"/>
                        <a:pt x="115" y="40"/>
                      </a:cubicBezTo>
                      <a:cubicBezTo>
                        <a:pt x="144" y="40"/>
                        <a:pt x="144" y="40"/>
                        <a:pt x="144" y="40"/>
                      </a:cubicBezTo>
                      <a:cubicBezTo>
                        <a:pt x="144" y="179"/>
                        <a:pt x="144" y="179"/>
                        <a:pt x="144" y="179"/>
                      </a:cubicBezTo>
                      <a:cubicBezTo>
                        <a:pt x="144" y="181"/>
                        <a:pt x="143" y="182"/>
                        <a:pt x="141" y="1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3" name="Freeform 244">
                <a:extLst>
                  <a:ext uri="{FF2B5EF4-FFF2-40B4-BE49-F238E27FC236}">
                    <a16:creationId xmlns:a16="http://schemas.microsoft.com/office/drawing/2014/main" id="{8A8F0D33-172D-684A-9AA3-EA6A2A9BF505}"/>
                  </a:ext>
                </a:extLst>
              </p:cNvPr>
              <p:cNvSpPr>
                <a:spLocks noEditPoints="1"/>
              </p:cNvSpPr>
              <p:nvPr/>
            </p:nvSpPr>
            <p:spPr bwMode="auto">
              <a:xfrm>
                <a:off x="914473" y="283533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89" name="Group 88">
            <a:extLst>
              <a:ext uri="{FF2B5EF4-FFF2-40B4-BE49-F238E27FC236}">
                <a16:creationId xmlns:a16="http://schemas.microsoft.com/office/drawing/2014/main" id="{0794266F-74DD-1F43-BE62-888229E70569}"/>
              </a:ext>
            </a:extLst>
          </p:cNvPr>
          <p:cNvGrpSpPr/>
          <p:nvPr/>
        </p:nvGrpSpPr>
        <p:grpSpPr>
          <a:xfrm>
            <a:off x="609062" y="5259796"/>
            <a:ext cx="914400" cy="735718"/>
            <a:chOff x="594952" y="5259796"/>
            <a:chExt cx="914400" cy="735718"/>
          </a:xfrm>
        </p:grpSpPr>
        <p:sp>
          <p:nvSpPr>
            <p:cNvPr id="13" name="Rectangle 12">
              <a:extLst>
                <a:ext uri="{FF2B5EF4-FFF2-40B4-BE49-F238E27FC236}">
                  <a16:creationId xmlns:a16="http://schemas.microsoft.com/office/drawing/2014/main" id="{E0B97D4E-C4BE-1749-B3F7-68D38FFAE9A9}"/>
                </a:ext>
              </a:extLst>
            </p:cNvPr>
            <p:cNvSpPr/>
            <p:nvPr/>
          </p:nvSpPr>
          <p:spPr>
            <a:xfrm>
              <a:off x="594952" y="5840327"/>
              <a:ext cx="914400" cy="155187"/>
            </a:xfrm>
            <a:prstGeom prst="rect">
              <a:avLst/>
            </a:prstGeom>
            <a:noFill/>
            <a:ln w="6350" algn="ctr">
              <a:noFill/>
              <a:miter lim="800000"/>
              <a:headEnd type="none" w="sm" len="sm"/>
              <a:tailEnd type="none" w="sm" len="sm"/>
            </a:ln>
          </p:spPr>
          <p:txBody>
            <a:bodyPr wrap="square" lIns="0" tIns="0" rIns="0" bIns="0" anchor="ctr"/>
            <a:lstStyle/>
            <a:p>
              <a:pPr algn="ctr"/>
              <a:r>
                <a:rPr lang="en-US" sz="850"/>
                <a:t>Batch</a:t>
              </a:r>
            </a:p>
          </p:txBody>
        </p:sp>
        <p:grpSp>
          <p:nvGrpSpPr>
            <p:cNvPr id="41" name="Group 40">
              <a:extLst>
                <a:ext uri="{FF2B5EF4-FFF2-40B4-BE49-F238E27FC236}">
                  <a16:creationId xmlns:a16="http://schemas.microsoft.com/office/drawing/2014/main" id="{49B363FA-D8EB-C642-BC19-991114E26C3C}"/>
                </a:ext>
              </a:extLst>
            </p:cNvPr>
            <p:cNvGrpSpPr/>
            <p:nvPr/>
          </p:nvGrpSpPr>
          <p:grpSpPr>
            <a:xfrm>
              <a:off x="803264" y="5259796"/>
              <a:ext cx="497776" cy="517982"/>
              <a:chOff x="1763630" y="4431485"/>
              <a:chExt cx="497776" cy="517982"/>
            </a:xfrm>
          </p:grpSpPr>
          <p:grpSp>
            <p:nvGrpSpPr>
              <p:cNvPr id="42" name="Group 41">
                <a:extLst>
                  <a:ext uri="{FF2B5EF4-FFF2-40B4-BE49-F238E27FC236}">
                    <a16:creationId xmlns:a16="http://schemas.microsoft.com/office/drawing/2014/main" id="{70B74918-FDE4-D24D-A39F-61A7C1423054}"/>
                  </a:ext>
                </a:extLst>
              </p:cNvPr>
              <p:cNvGrpSpPr/>
              <p:nvPr/>
            </p:nvGrpSpPr>
            <p:grpSpPr>
              <a:xfrm>
                <a:off x="1841767" y="4550138"/>
                <a:ext cx="348246" cy="257618"/>
                <a:chOff x="1772296" y="1368566"/>
                <a:chExt cx="449558" cy="332565"/>
              </a:xfrm>
            </p:grpSpPr>
            <p:sp>
              <p:nvSpPr>
                <p:cNvPr id="44" name="Freeform 96">
                  <a:extLst>
                    <a:ext uri="{FF2B5EF4-FFF2-40B4-BE49-F238E27FC236}">
                      <a16:creationId xmlns:a16="http://schemas.microsoft.com/office/drawing/2014/main" id="{7ADD184B-0FA3-6749-8B99-E637C53C28ED}"/>
                    </a:ext>
                  </a:extLst>
                </p:cNvPr>
                <p:cNvSpPr>
                  <a:spLocks noEditPoints="1"/>
                </p:cNvSpPr>
                <p:nvPr/>
              </p:nvSpPr>
              <p:spPr bwMode="auto">
                <a:xfrm>
                  <a:off x="1772296" y="1368566"/>
                  <a:ext cx="449558" cy="332565"/>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5" name="Freeform 97">
                  <a:extLst>
                    <a:ext uri="{FF2B5EF4-FFF2-40B4-BE49-F238E27FC236}">
                      <a16:creationId xmlns:a16="http://schemas.microsoft.com/office/drawing/2014/main" id="{A3B3B239-07EB-E94A-9E4B-3742447A282A}"/>
                    </a:ext>
                  </a:extLst>
                </p:cNvPr>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3" name="Freeform 244">
                <a:extLst>
                  <a:ext uri="{FF2B5EF4-FFF2-40B4-BE49-F238E27FC236}">
                    <a16:creationId xmlns:a16="http://schemas.microsoft.com/office/drawing/2014/main" id="{4A61F628-240D-9D47-B812-5AC0DF684626}"/>
                  </a:ext>
                </a:extLst>
              </p:cNvPr>
              <p:cNvSpPr>
                <a:spLocks noEditPoints="1"/>
              </p:cNvSpPr>
              <p:nvPr/>
            </p:nvSpPr>
            <p:spPr bwMode="auto">
              <a:xfrm>
                <a:off x="1763630" y="443148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86" name="Group 85">
            <a:extLst>
              <a:ext uri="{FF2B5EF4-FFF2-40B4-BE49-F238E27FC236}">
                <a16:creationId xmlns:a16="http://schemas.microsoft.com/office/drawing/2014/main" id="{173FC5CB-159E-BA46-A4C9-E65E0A5320A0}"/>
              </a:ext>
            </a:extLst>
          </p:cNvPr>
          <p:cNvGrpSpPr/>
          <p:nvPr/>
        </p:nvGrpSpPr>
        <p:grpSpPr>
          <a:xfrm>
            <a:off x="609062" y="3186363"/>
            <a:ext cx="914400" cy="712135"/>
            <a:chOff x="623172" y="3186363"/>
            <a:chExt cx="914400" cy="712135"/>
          </a:xfrm>
        </p:grpSpPr>
        <p:sp>
          <p:nvSpPr>
            <p:cNvPr id="12" name="Rectangle 11">
              <a:extLst>
                <a:ext uri="{FF2B5EF4-FFF2-40B4-BE49-F238E27FC236}">
                  <a16:creationId xmlns:a16="http://schemas.microsoft.com/office/drawing/2014/main" id="{B24D2EA9-B4BA-C44C-BBD9-871E4F776C46}"/>
                </a:ext>
              </a:extLst>
            </p:cNvPr>
            <p:cNvSpPr/>
            <p:nvPr/>
          </p:nvSpPr>
          <p:spPr>
            <a:xfrm>
              <a:off x="623172" y="3727895"/>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Provider APIs</a:t>
              </a:r>
            </a:p>
          </p:txBody>
        </p:sp>
        <p:grpSp>
          <p:nvGrpSpPr>
            <p:cNvPr id="46" name="Group 45">
              <a:extLst>
                <a:ext uri="{FF2B5EF4-FFF2-40B4-BE49-F238E27FC236}">
                  <a16:creationId xmlns:a16="http://schemas.microsoft.com/office/drawing/2014/main" id="{D86A6EB1-1919-824E-8613-31E89820AF4B}"/>
                </a:ext>
              </a:extLst>
            </p:cNvPr>
            <p:cNvGrpSpPr/>
            <p:nvPr/>
          </p:nvGrpSpPr>
          <p:grpSpPr>
            <a:xfrm>
              <a:off x="831484" y="3186363"/>
              <a:ext cx="497776" cy="517982"/>
              <a:chOff x="1742992" y="3606769"/>
              <a:chExt cx="497776" cy="517982"/>
            </a:xfrm>
          </p:grpSpPr>
          <p:grpSp>
            <p:nvGrpSpPr>
              <p:cNvPr id="47" name="Group 46">
                <a:extLst>
                  <a:ext uri="{FF2B5EF4-FFF2-40B4-BE49-F238E27FC236}">
                    <a16:creationId xmlns:a16="http://schemas.microsoft.com/office/drawing/2014/main" id="{E4F29A51-4984-7440-A944-A8FE603C9AE1}"/>
                  </a:ext>
                </a:extLst>
              </p:cNvPr>
              <p:cNvGrpSpPr/>
              <p:nvPr/>
            </p:nvGrpSpPr>
            <p:grpSpPr>
              <a:xfrm>
                <a:off x="1822814" y="3690402"/>
                <a:ext cx="350704" cy="350704"/>
                <a:chOff x="5562600" y="4875213"/>
                <a:chExt cx="790575" cy="790575"/>
              </a:xfrm>
            </p:grpSpPr>
            <p:sp>
              <p:nvSpPr>
                <p:cNvPr id="49" name="Freeform 55">
                  <a:extLst>
                    <a:ext uri="{FF2B5EF4-FFF2-40B4-BE49-F238E27FC236}">
                      <a16:creationId xmlns:a16="http://schemas.microsoft.com/office/drawing/2014/main" id="{016C50F7-1D0C-BA44-A9D4-F5AEB620AB8D}"/>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0" name="Freeform 56">
                  <a:extLst>
                    <a:ext uri="{FF2B5EF4-FFF2-40B4-BE49-F238E27FC236}">
                      <a16:creationId xmlns:a16="http://schemas.microsoft.com/office/drawing/2014/main" id="{A78BB83C-8603-394C-9D8F-F30ADBB548B8}"/>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8" name="Freeform 244">
                <a:extLst>
                  <a:ext uri="{FF2B5EF4-FFF2-40B4-BE49-F238E27FC236}">
                    <a16:creationId xmlns:a16="http://schemas.microsoft.com/office/drawing/2014/main" id="{4459C136-1CBF-CA4D-A6E5-A75835E599C3}"/>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51" name="Group 50">
            <a:extLst>
              <a:ext uri="{FF2B5EF4-FFF2-40B4-BE49-F238E27FC236}">
                <a16:creationId xmlns:a16="http://schemas.microsoft.com/office/drawing/2014/main" id="{942FDD38-C834-C747-8385-35F0FB9E5331}"/>
              </a:ext>
            </a:extLst>
          </p:cNvPr>
          <p:cNvGrpSpPr/>
          <p:nvPr/>
        </p:nvGrpSpPr>
        <p:grpSpPr>
          <a:xfrm>
            <a:off x="7238524" y="4512914"/>
            <a:ext cx="497776" cy="517982"/>
            <a:chOff x="1653952" y="5387312"/>
            <a:chExt cx="497776" cy="517982"/>
          </a:xfrm>
        </p:grpSpPr>
        <p:sp>
          <p:nvSpPr>
            <p:cNvPr id="52" name="Freeform 578">
              <a:extLst>
                <a:ext uri="{FF2B5EF4-FFF2-40B4-BE49-F238E27FC236}">
                  <a16:creationId xmlns:a16="http://schemas.microsoft.com/office/drawing/2014/main" id="{E9A271DF-29B7-5847-91C8-E5F0904D252B}"/>
                </a:ext>
              </a:extLst>
            </p:cNvPr>
            <p:cNvSpPr>
              <a:spLocks noEditPoints="1"/>
            </p:cNvSpPr>
            <p:nvPr/>
          </p:nvSpPr>
          <p:spPr bwMode="auto">
            <a:xfrm>
              <a:off x="1758537" y="5475243"/>
              <a:ext cx="273406" cy="327594"/>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3" name="Freeform 244">
              <a:extLst>
                <a:ext uri="{FF2B5EF4-FFF2-40B4-BE49-F238E27FC236}">
                  <a16:creationId xmlns:a16="http://schemas.microsoft.com/office/drawing/2014/main" id="{A32B737A-B2F2-EE46-B4BF-AC0C624C99A5}"/>
                </a:ext>
              </a:extLst>
            </p:cNvPr>
            <p:cNvSpPr>
              <a:spLocks noEditPoints="1"/>
            </p:cNvSpPr>
            <p:nvPr/>
          </p:nvSpPr>
          <p:spPr bwMode="auto">
            <a:xfrm>
              <a:off x="1653952" y="5387312"/>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4" name="Group 53">
            <a:extLst>
              <a:ext uri="{FF2B5EF4-FFF2-40B4-BE49-F238E27FC236}">
                <a16:creationId xmlns:a16="http://schemas.microsoft.com/office/drawing/2014/main" id="{E19A119E-14B9-B746-A1D1-2C3547F5EC45}"/>
              </a:ext>
            </a:extLst>
          </p:cNvPr>
          <p:cNvGrpSpPr/>
          <p:nvPr/>
        </p:nvGrpSpPr>
        <p:grpSpPr>
          <a:xfrm>
            <a:off x="4093288" y="3707637"/>
            <a:ext cx="497776" cy="517982"/>
            <a:chOff x="2178324" y="5366456"/>
            <a:chExt cx="497776" cy="517982"/>
          </a:xfrm>
        </p:grpSpPr>
        <p:grpSp>
          <p:nvGrpSpPr>
            <p:cNvPr id="55" name="Group 54">
              <a:extLst>
                <a:ext uri="{FF2B5EF4-FFF2-40B4-BE49-F238E27FC236}">
                  <a16:creationId xmlns:a16="http://schemas.microsoft.com/office/drawing/2014/main" id="{B1104BAB-30A9-DA43-908D-9CC71806516F}"/>
                </a:ext>
              </a:extLst>
            </p:cNvPr>
            <p:cNvGrpSpPr/>
            <p:nvPr/>
          </p:nvGrpSpPr>
          <p:grpSpPr>
            <a:xfrm>
              <a:off x="2278655" y="5459540"/>
              <a:ext cx="286037" cy="337619"/>
              <a:chOff x="6145213" y="7040563"/>
              <a:chExt cx="484187" cy="571500"/>
            </a:xfrm>
          </p:grpSpPr>
          <p:sp>
            <p:nvSpPr>
              <p:cNvPr id="57" name="Freeform 365">
                <a:extLst>
                  <a:ext uri="{FF2B5EF4-FFF2-40B4-BE49-F238E27FC236}">
                    <a16:creationId xmlns:a16="http://schemas.microsoft.com/office/drawing/2014/main" id="{6DEE8708-49E6-D748-9457-10F95E27B754}"/>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8" name="Freeform 366">
                <a:extLst>
                  <a:ext uri="{FF2B5EF4-FFF2-40B4-BE49-F238E27FC236}">
                    <a16:creationId xmlns:a16="http://schemas.microsoft.com/office/drawing/2014/main" id="{2D70AEAC-0C82-A348-8848-6FB9FDC27FD0}"/>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9" name="Freeform 367">
                <a:extLst>
                  <a:ext uri="{FF2B5EF4-FFF2-40B4-BE49-F238E27FC236}">
                    <a16:creationId xmlns:a16="http://schemas.microsoft.com/office/drawing/2014/main" id="{25271909-C9BC-5945-9CF6-7040563DE8DB}"/>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0" name="Freeform 368">
                <a:extLst>
                  <a:ext uri="{FF2B5EF4-FFF2-40B4-BE49-F238E27FC236}">
                    <a16:creationId xmlns:a16="http://schemas.microsoft.com/office/drawing/2014/main" id="{B7ADA3D7-D0DD-BD4E-962A-067E5D846C0C}"/>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1" name="Freeform 369">
                <a:extLst>
                  <a:ext uri="{FF2B5EF4-FFF2-40B4-BE49-F238E27FC236}">
                    <a16:creationId xmlns:a16="http://schemas.microsoft.com/office/drawing/2014/main" id="{C03B7C29-C021-8242-8328-534DE7176FF3}"/>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2" name="Freeform 370">
                <a:extLst>
                  <a:ext uri="{FF2B5EF4-FFF2-40B4-BE49-F238E27FC236}">
                    <a16:creationId xmlns:a16="http://schemas.microsoft.com/office/drawing/2014/main" id="{9A72A48E-04A1-7042-9CD7-F9C475AAE652}"/>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56" name="Freeform 244">
              <a:extLst>
                <a:ext uri="{FF2B5EF4-FFF2-40B4-BE49-F238E27FC236}">
                  <a16:creationId xmlns:a16="http://schemas.microsoft.com/office/drawing/2014/main" id="{EC09B4C0-476E-8D46-8A3B-F20BCD01F41E}"/>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3" name="Group 62">
            <a:extLst>
              <a:ext uri="{FF2B5EF4-FFF2-40B4-BE49-F238E27FC236}">
                <a16:creationId xmlns:a16="http://schemas.microsoft.com/office/drawing/2014/main" id="{9405FDA0-C152-8C43-A140-B25071C28F87}"/>
              </a:ext>
            </a:extLst>
          </p:cNvPr>
          <p:cNvGrpSpPr/>
          <p:nvPr/>
        </p:nvGrpSpPr>
        <p:grpSpPr>
          <a:xfrm>
            <a:off x="8538136" y="2481323"/>
            <a:ext cx="497776" cy="517982"/>
            <a:chOff x="3263749" y="5369359"/>
            <a:chExt cx="497776" cy="517982"/>
          </a:xfrm>
        </p:grpSpPr>
        <p:grpSp>
          <p:nvGrpSpPr>
            <p:cNvPr id="64" name="Group 63">
              <a:extLst>
                <a:ext uri="{FF2B5EF4-FFF2-40B4-BE49-F238E27FC236}">
                  <a16:creationId xmlns:a16="http://schemas.microsoft.com/office/drawing/2014/main" id="{F701861A-01D1-D246-BF02-14F41096DB6A}"/>
                </a:ext>
              </a:extLst>
            </p:cNvPr>
            <p:cNvGrpSpPr/>
            <p:nvPr/>
          </p:nvGrpSpPr>
          <p:grpSpPr>
            <a:xfrm>
              <a:off x="3360387" y="5489549"/>
              <a:ext cx="307263" cy="313288"/>
              <a:chOff x="2757488" y="230188"/>
              <a:chExt cx="485775" cy="495300"/>
            </a:xfrm>
          </p:grpSpPr>
          <p:sp>
            <p:nvSpPr>
              <p:cNvPr id="66" name="Freeform 94">
                <a:extLst>
                  <a:ext uri="{FF2B5EF4-FFF2-40B4-BE49-F238E27FC236}">
                    <a16:creationId xmlns:a16="http://schemas.microsoft.com/office/drawing/2014/main" id="{273BCEBC-DF9F-224D-B38D-7C95C7A63516}"/>
                  </a:ext>
                </a:extLst>
              </p:cNvPr>
              <p:cNvSpPr>
                <a:spLocks noEditPoints="1"/>
              </p:cNvSpPr>
              <p:nvPr/>
            </p:nvSpPr>
            <p:spPr bwMode="auto">
              <a:xfrm>
                <a:off x="2757488" y="230188"/>
                <a:ext cx="485775" cy="412750"/>
              </a:xfrm>
              <a:custGeom>
                <a:avLst/>
                <a:gdLst>
                  <a:gd name="T0" fmla="*/ 223 w 237"/>
                  <a:gd name="T1" fmla="*/ 24 h 202"/>
                  <a:gd name="T2" fmla="*/ 67 w 237"/>
                  <a:gd name="T3" fmla="*/ 24 h 202"/>
                  <a:gd name="T4" fmla="*/ 50 w 237"/>
                  <a:gd name="T5" fmla="*/ 0 h 202"/>
                  <a:gd name="T6" fmla="*/ 15 w 237"/>
                  <a:gd name="T7" fmla="*/ 0 h 202"/>
                  <a:gd name="T8" fmla="*/ 0 w 237"/>
                  <a:gd name="T9" fmla="*/ 15 h 202"/>
                  <a:gd name="T10" fmla="*/ 0 w 237"/>
                  <a:gd name="T11" fmla="*/ 188 h 202"/>
                  <a:gd name="T12" fmla="*/ 15 w 237"/>
                  <a:gd name="T13" fmla="*/ 202 h 202"/>
                  <a:gd name="T14" fmla="*/ 65 w 237"/>
                  <a:gd name="T15" fmla="*/ 202 h 202"/>
                  <a:gd name="T16" fmla="*/ 70 w 237"/>
                  <a:gd name="T17" fmla="*/ 197 h 202"/>
                  <a:gd name="T18" fmla="*/ 65 w 237"/>
                  <a:gd name="T19" fmla="*/ 192 h 202"/>
                  <a:gd name="T20" fmla="*/ 15 w 237"/>
                  <a:gd name="T21" fmla="*/ 192 h 202"/>
                  <a:gd name="T22" fmla="*/ 10 w 237"/>
                  <a:gd name="T23" fmla="*/ 188 h 202"/>
                  <a:gd name="T24" fmla="*/ 10 w 237"/>
                  <a:gd name="T25" fmla="*/ 67 h 202"/>
                  <a:gd name="T26" fmla="*/ 228 w 237"/>
                  <a:gd name="T27" fmla="*/ 67 h 202"/>
                  <a:gd name="T28" fmla="*/ 228 w 237"/>
                  <a:gd name="T29" fmla="*/ 188 h 202"/>
                  <a:gd name="T30" fmla="*/ 223 w 237"/>
                  <a:gd name="T31" fmla="*/ 192 h 202"/>
                  <a:gd name="T32" fmla="*/ 185 w 237"/>
                  <a:gd name="T33" fmla="*/ 192 h 202"/>
                  <a:gd name="T34" fmla="*/ 180 w 237"/>
                  <a:gd name="T35" fmla="*/ 197 h 202"/>
                  <a:gd name="T36" fmla="*/ 185 w 237"/>
                  <a:gd name="T37" fmla="*/ 202 h 202"/>
                  <a:gd name="T38" fmla="*/ 223 w 237"/>
                  <a:gd name="T39" fmla="*/ 202 h 202"/>
                  <a:gd name="T40" fmla="*/ 237 w 237"/>
                  <a:gd name="T41" fmla="*/ 188 h 202"/>
                  <a:gd name="T42" fmla="*/ 237 w 237"/>
                  <a:gd name="T43" fmla="*/ 38 h 202"/>
                  <a:gd name="T44" fmla="*/ 223 w 237"/>
                  <a:gd name="T45" fmla="*/ 24 h 202"/>
                  <a:gd name="T46" fmla="*/ 15 w 237"/>
                  <a:gd name="T47" fmla="*/ 10 h 202"/>
                  <a:gd name="T48" fmla="*/ 49 w 237"/>
                  <a:gd name="T49" fmla="*/ 10 h 202"/>
                  <a:gd name="T50" fmla="*/ 60 w 237"/>
                  <a:gd name="T51" fmla="*/ 31 h 202"/>
                  <a:gd name="T52" fmla="*/ 64 w 237"/>
                  <a:gd name="T53" fmla="*/ 34 h 202"/>
                  <a:gd name="T54" fmla="*/ 223 w 237"/>
                  <a:gd name="T55" fmla="*/ 34 h 202"/>
                  <a:gd name="T56" fmla="*/ 228 w 237"/>
                  <a:gd name="T57" fmla="*/ 38 h 202"/>
                  <a:gd name="T58" fmla="*/ 228 w 237"/>
                  <a:gd name="T59" fmla="*/ 57 h 202"/>
                  <a:gd name="T60" fmla="*/ 10 w 237"/>
                  <a:gd name="T61" fmla="*/ 57 h 202"/>
                  <a:gd name="T62" fmla="*/ 10 w 237"/>
                  <a:gd name="T63" fmla="*/ 15 h 202"/>
                  <a:gd name="T64" fmla="*/ 15 w 237"/>
                  <a:gd name="T65" fmla="*/ 1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202">
                    <a:moveTo>
                      <a:pt x="223" y="24"/>
                    </a:moveTo>
                    <a:cubicBezTo>
                      <a:pt x="67" y="24"/>
                      <a:pt x="67" y="24"/>
                      <a:pt x="67" y="24"/>
                    </a:cubicBezTo>
                    <a:cubicBezTo>
                      <a:pt x="58" y="0"/>
                      <a:pt x="52" y="0"/>
                      <a:pt x="50" y="0"/>
                    </a:cubicBezTo>
                    <a:cubicBezTo>
                      <a:pt x="15" y="0"/>
                      <a:pt x="15" y="0"/>
                      <a:pt x="15" y="0"/>
                    </a:cubicBezTo>
                    <a:cubicBezTo>
                      <a:pt x="7" y="0"/>
                      <a:pt x="0" y="7"/>
                      <a:pt x="0" y="15"/>
                    </a:cubicBezTo>
                    <a:cubicBezTo>
                      <a:pt x="0" y="188"/>
                      <a:pt x="0" y="188"/>
                      <a:pt x="0" y="188"/>
                    </a:cubicBezTo>
                    <a:cubicBezTo>
                      <a:pt x="0" y="195"/>
                      <a:pt x="7" y="202"/>
                      <a:pt x="15" y="202"/>
                    </a:cubicBezTo>
                    <a:cubicBezTo>
                      <a:pt x="65" y="202"/>
                      <a:pt x="65" y="202"/>
                      <a:pt x="65" y="202"/>
                    </a:cubicBezTo>
                    <a:cubicBezTo>
                      <a:pt x="67" y="202"/>
                      <a:pt x="70" y="200"/>
                      <a:pt x="70" y="197"/>
                    </a:cubicBezTo>
                    <a:cubicBezTo>
                      <a:pt x="70" y="194"/>
                      <a:pt x="67" y="192"/>
                      <a:pt x="65" y="192"/>
                    </a:cubicBezTo>
                    <a:cubicBezTo>
                      <a:pt x="15" y="192"/>
                      <a:pt x="15" y="192"/>
                      <a:pt x="15" y="192"/>
                    </a:cubicBezTo>
                    <a:cubicBezTo>
                      <a:pt x="12" y="192"/>
                      <a:pt x="10" y="190"/>
                      <a:pt x="10" y="188"/>
                    </a:cubicBezTo>
                    <a:cubicBezTo>
                      <a:pt x="10" y="67"/>
                      <a:pt x="10" y="67"/>
                      <a:pt x="10" y="67"/>
                    </a:cubicBezTo>
                    <a:cubicBezTo>
                      <a:pt x="228" y="67"/>
                      <a:pt x="228" y="67"/>
                      <a:pt x="228" y="67"/>
                    </a:cubicBezTo>
                    <a:cubicBezTo>
                      <a:pt x="228" y="188"/>
                      <a:pt x="228" y="188"/>
                      <a:pt x="228" y="188"/>
                    </a:cubicBezTo>
                    <a:cubicBezTo>
                      <a:pt x="228" y="190"/>
                      <a:pt x="226" y="192"/>
                      <a:pt x="223" y="192"/>
                    </a:cubicBezTo>
                    <a:cubicBezTo>
                      <a:pt x="185" y="192"/>
                      <a:pt x="185" y="192"/>
                      <a:pt x="185" y="192"/>
                    </a:cubicBezTo>
                    <a:cubicBezTo>
                      <a:pt x="182" y="192"/>
                      <a:pt x="180" y="194"/>
                      <a:pt x="180" y="197"/>
                    </a:cubicBezTo>
                    <a:cubicBezTo>
                      <a:pt x="180" y="200"/>
                      <a:pt x="182" y="202"/>
                      <a:pt x="185" y="202"/>
                    </a:cubicBezTo>
                    <a:cubicBezTo>
                      <a:pt x="223" y="202"/>
                      <a:pt x="223" y="202"/>
                      <a:pt x="223" y="202"/>
                    </a:cubicBezTo>
                    <a:cubicBezTo>
                      <a:pt x="231" y="202"/>
                      <a:pt x="237" y="195"/>
                      <a:pt x="237" y="188"/>
                    </a:cubicBezTo>
                    <a:cubicBezTo>
                      <a:pt x="237" y="38"/>
                      <a:pt x="237" y="38"/>
                      <a:pt x="237" y="38"/>
                    </a:cubicBezTo>
                    <a:cubicBezTo>
                      <a:pt x="237" y="31"/>
                      <a:pt x="231" y="24"/>
                      <a:pt x="223" y="24"/>
                    </a:cubicBezTo>
                    <a:close/>
                    <a:moveTo>
                      <a:pt x="15" y="10"/>
                    </a:moveTo>
                    <a:cubicBezTo>
                      <a:pt x="49" y="10"/>
                      <a:pt x="49" y="10"/>
                      <a:pt x="49" y="10"/>
                    </a:cubicBezTo>
                    <a:cubicBezTo>
                      <a:pt x="51" y="12"/>
                      <a:pt x="56" y="22"/>
                      <a:pt x="60" y="31"/>
                    </a:cubicBezTo>
                    <a:cubicBezTo>
                      <a:pt x="60" y="33"/>
                      <a:pt x="62" y="34"/>
                      <a:pt x="64" y="34"/>
                    </a:cubicBezTo>
                    <a:cubicBezTo>
                      <a:pt x="223" y="34"/>
                      <a:pt x="223" y="34"/>
                      <a:pt x="223" y="34"/>
                    </a:cubicBezTo>
                    <a:cubicBezTo>
                      <a:pt x="226" y="34"/>
                      <a:pt x="228" y="36"/>
                      <a:pt x="228" y="38"/>
                    </a:cubicBezTo>
                    <a:cubicBezTo>
                      <a:pt x="228" y="57"/>
                      <a:pt x="228" y="57"/>
                      <a:pt x="228" y="57"/>
                    </a:cubicBezTo>
                    <a:cubicBezTo>
                      <a:pt x="10" y="57"/>
                      <a:pt x="10" y="57"/>
                      <a:pt x="10" y="57"/>
                    </a:cubicBezTo>
                    <a:cubicBezTo>
                      <a:pt x="10" y="15"/>
                      <a:pt x="10" y="15"/>
                      <a:pt x="10" y="15"/>
                    </a:cubicBezTo>
                    <a:cubicBezTo>
                      <a:pt x="10" y="12"/>
                      <a:pt x="12" y="10"/>
                      <a:pt x="1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7" name="Freeform 95">
                <a:extLst>
                  <a:ext uri="{FF2B5EF4-FFF2-40B4-BE49-F238E27FC236}">
                    <a16:creationId xmlns:a16="http://schemas.microsoft.com/office/drawing/2014/main" id="{36BF770B-4EAD-3D43-969C-BA3CCFFAC3D4}"/>
                  </a:ext>
                </a:extLst>
              </p:cNvPr>
              <p:cNvSpPr>
                <a:spLocks noEditPoints="1"/>
              </p:cNvSpPr>
              <p:nvPr/>
            </p:nvSpPr>
            <p:spPr bwMode="auto">
              <a:xfrm>
                <a:off x="2849563" y="392113"/>
                <a:ext cx="293688" cy="333375"/>
              </a:xfrm>
              <a:custGeom>
                <a:avLst/>
                <a:gdLst>
                  <a:gd name="T0" fmla="*/ 93 w 143"/>
                  <a:gd name="T1" fmla="*/ 95 h 163"/>
                  <a:gd name="T2" fmla="*/ 109 w 143"/>
                  <a:gd name="T3" fmla="*/ 62 h 163"/>
                  <a:gd name="T4" fmla="*/ 62 w 143"/>
                  <a:gd name="T5" fmla="*/ 3 h 163"/>
                  <a:gd name="T6" fmla="*/ 3 w 143"/>
                  <a:gd name="T7" fmla="*/ 51 h 163"/>
                  <a:gd name="T8" fmla="*/ 50 w 143"/>
                  <a:gd name="T9" fmla="*/ 109 h 163"/>
                  <a:gd name="T10" fmla="*/ 56 w 143"/>
                  <a:gd name="T11" fmla="*/ 110 h 163"/>
                  <a:gd name="T12" fmla="*/ 56 w 143"/>
                  <a:gd name="T13" fmla="*/ 110 h 163"/>
                  <a:gd name="T14" fmla="*/ 86 w 143"/>
                  <a:gd name="T15" fmla="*/ 101 h 163"/>
                  <a:gd name="T16" fmla="*/ 134 w 143"/>
                  <a:gd name="T17" fmla="*/ 161 h 163"/>
                  <a:gd name="T18" fmla="*/ 138 w 143"/>
                  <a:gd name="T19" fmla="*/ 163 h 163"/>
                  <a:gd name="T20" fmla="*/ 141 w 143"/>
                  <a:gd name="T21" fmla="*/ 162 h 163"/>
                  <a:gd name="T22" fmla="*/ 142 w 143"/>
                  <a:gd name="T23" fmla="*/ 155 h 163"/>
                  <a:gd name="T24" fmla="*/ 93 w 143"/>
                  <a:gd name="T25" fmla="*/ 95 h 163"/>
                  <a:gd name="T26" fmla="*/ 51 w 143"/>
                  <a:gd name="T27" fmla="*/ 100 h 163"/>
                  <a:gd name="T28" fmla="*/ 13 w 143"/>
                  <a:gd name="T29" fmla="*/ 52 h 163"/>
                  <a:gd name="T30" fmla="*/ 56 w 143"/>
                  <a:gd name="T31" fmla="*/ 13 h 163"/>
                  <a:gd name="T32" fmla="*/ 61 w 143"/>
                  <a:gd name="T33" fmla="*/ 13 h 163"/>
                  <a:gd name="T34" fmla="*/ 99 w 143"/>
                  <a:gd name="T35" fmla="*/ 61 h 163"/>
                  <a:gd name="T36" fmla="*/ 51 w 143"/>
                  <a:gd name="T37" fmla="*/ 10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163">
                    <a:moveTo>
                      <a:pt x="93" y="95"/>
                    </a:moveTo>
                    <a:cubicBezTo>
                      <a:pt x="102" y="86"/>
                      <a:pt x="108" y="75"/>
                      <a:pt x="109" y="62"/>
                    </a:cubicBezTo>
                    <a:cubicBezTo>
                      <a:pt x="112" y="33"/>
                      <a:pt x="91" y="7"/>
                      <a:pt x="62" y="3"/>
                    </a:cubicBezTo>
                    <a:cubicBezTo>
                      <a:pt x="32" y="0"/>
                      <a:pt x="6" y="22"/>
                      <a:pt x="3" y="51"/>
                    </a:cubicBezTo>
                    <a:cubicBezTo>
                      <a:pt x="0" y="80"/>
                      <a:pt x="21" y="106"/>
                      <a:pt x="50" y="109"/>
                    </a:cubicBezTo>
                    <a:cubicBezTo>
                      <a:pt x="52" y="110"/>
                      <a:pt x="54" y="110"/>
                      <a:pt x="56" y="110"/>
                    </a:cubicBezTo>
                    <a:cubicBezTo>
                      <a:pt x="56" y="110"/>
                      <a:pt x="56" y="110"/>
                      <a:pt x="56" y="110"/>
                    </a:cubicBezTo>
                    <a:cubicBezTo>
                      <a:pt x="67" y="110"/>
                      <a:pt x="77" y="106"/>
                      <a:pt x="86" y="101"/>
                    </a:cubicBezTo>
                    <a:cubicBezTo>
                      <a:pt x="134" y="161"/>
                      <a:pt x="134" y="161"/>
                      <a:pt x="134" y="161"/>
                    </a:cubicBezTo>
                    <a:cubicBezTo>
                      <a:pt x="135" y="162"/>
                      <a:pt x="136" y="163"/>
                      <a:pt x="138" y="163"/>
                    </a:cubicBezTo>
                    <a:cubicBezTo>
                      <a:pt x="139" y="163"/>
                      <a:pt x="140" y="162"/>
                      <a:pt x="141" y="162"/>
                    </a:cubicBezTo>
                    <a:cubicBezTo>
                      <a:pt x="143" y="160"/>
                      <a:pt x="143" y="157"/>
                      <a:pt x="142" y="155"/>
                    </a:cubicBezTo>
                    <a:lnTo>
                      <a:pt x="93" y="95"/>
                    </a:lnTo>
                    <a:close/>
                    <a:moveTo>
                      <a:pt x="51" y="100"/>
                    </a:moveTo>
                    <a:cubicBezTo>
                      <a:pt x="27" y="97"/>
                      <a:pt x="10" y="76"/>
                      <a:pt x="13" y="52"/>
                    </a:cubicBezTo>
                    <a:cubicBezTo>
                      <a:pt x="15" y="30"/>
                      <a:pt x="34" y="13"/>
                      <a:pt x="56" y="13"/>
                    </a:cubicBezTo>
                    <a:cubicBezTo>
                      <a:pt x="57" y="13"/>
                      <a:pt x="59" y="13"/>
                      <a:pt x="61" y="13"/>
                    </a:cubicBezTo>
                    <a:cubicBezTo>
                      <a:pt x="85" y="16"/>
                      <a:pt x="102" y="37"/>
                      <a:pt x="99" y="61"/>
                    </a:cubicBezTo>
                    <a:cubicBezTo>
                      <a:pt x="97" y="85"/>
                      <a:pt x="76" y="102"/>
                      <a:pt x="51" y="10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65" name="Freeform 244">
              <a:extLst>
                <a:ext uri="{FF2B5EF4-FFF2-40B4-BE49-F238E27FC236}">
                  <a16:creationId xmlns:a16="http://schemas.microsoft.com/office/drawing/2014/main" id="{6ABB9938-5F10-5245-92EE-7D3711934BBF}"/>
                </a:ext>
              </a:extLst>
            </p:cNvPr>
            <p:cNvSpPr>
              <a:spLocks noEditPoints="1"/>
            </p:cNvSpPr>
            <p:nvPr/>
          </p:nvSpPr>
          <p:spPr bwMode="auto">
            <a:xfrm>
              <a:off x="3263749" y="536935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8" name="Group 67">
            <a:extLst>
              <a:ext uri="{FF2B5EF4-FFF2-40B4-BE49-F238E27FC236}">
                <a16:creationId xmlns:a16="http://schemas.microsoft.com/office/drawing/2014/main" id="{6701FAF1-FB39-6746-99CC-561463AFC5CF}"/>
              </a:ext>
            </a:extLst>
          </p:cNvPr>
          <p:cNvGrpSpPr/>
          <p:nvPr/>
        </p:nvGrpSpPr>
        <p:grpSpPr>
          <a:xfrm>
            <a:off x="8556867" y="3499980"/>
            <a:ext cx="497776" cy="517982"/>
            <a:chOff x="3825224" y="5361349"/>
            <a:chExt cx="497776" cy="517982"/>
          </a:xfrm>
        </p:grpSpPr>
        <p:sp>
          <p:nvSpPr>
            <p:cNvPr id="69" name="Freeform 8">
              <a:extLst>
                <a:ext uri="{FF2B5EF4-FFF2-40B4-BE49-F238E27FC236}">
                  <a16:creationId xmlns:a16="http://schemas.microsoft.com/office/drawing/2014/main" id="{37348C3D-161E-CE48-9B7A-26F0FC5EC286}"/>
                </a:ext>
              </a:extLst>
            </p:cNvPr>
            <p:cNvSpPr>
              <a:spLocks noEditPoints="1"/>
            </p:cNvSpPr>
            <p:nvPr/>
          </p:nvSpPr>
          <p:spPr bwMode="auto">
            <a:xfrm>
              <a:off x="3923634" y="5481333"/>
              <a:ext cx="288044" cy="284498"/>
            </a:xfrm>
            <a:custGeom>
              <a:avLst/>
              <a:gdLst>
                <a:gd name="T0" fmla="*/ 240 w 241"/>
                <a:gd name="T1" fmla="*/ 55 h 238"/>
                <a:gd name="T2" fmla="*/ 240 w 241"/>
                <a:gd name="T3" fmla="*/ 54 h 238"/>
                <a:gd name="T4" fmla="*/ 192 w 241"/>
                <a:gd name="T5" fmla="*/ 0 h 238"/>
                <a:gd name="T6" fmla="*/ 45 w 241"/>
                <a:gd name="T7" fmla="*/ 2 h 238"/>
                <a:gd name="T8" fmla="*/ 1 w 241"/>
                <a:gd name="T9" fmla="*/ 55 h 238"/>
                <a:gd name="T10" fmla="*/ 1 w 241"/>
                <a:gd name="T11" fmla="*/ 56 h 238"/>
                <a:gd name="T12" fmla="*/ 0 w 241"/>
                <a:gd name="T13" fmla="*/ 214 h 238"/>
                <a:gd name="T14" fmla="*/ 217 w 241"/>
                <a:gd name="T15" fmla="*/ 238 h 238"/>
                <a:gd name="T16" fmla="*/ 241 w 241"/>
                <a:gd name="T17" fmla="*/ 57 h 238"/>
                <a:gd name="T18" fmla="*/ 78 w 241"/>
                <a:gd name="T19" fmla="*/ 165 h 238"/>
                <a:gd name="T20" fmla="*/ 10 w 241"/>
                <a:gd name="T21" fmla="*/ 117 h 238"/>
                <a:gd name="T22" fmla="*/ 73 w 241"/>
                <a:gd name="T23" fmla="*/ 133 h 238"/>
                <a:gd name="T24" fmla="*/ 146 w 241"/>
                <a:gd name="T25" fmla="*/ 155 h 238"/>
                <a:gd name="T26" fmla="*/ 168 w 241"/>
                <a:gd name="T27" fmla="*/ 117 h 238"/>
                <a:gd name="T28" fmla="*/ 231 w 241"/>
                <a:gd name="T29" fmla="*/ 165 h 238"/>
                <a:gd name="T30" fmla="*/ 158 w 241"/>
                <a:gd name="T31" fmla="*/ 170 h 238"/>
                <a:gd name="T32" fmla="*/ 146 w 241"/>
                <a:gd name="T33" fmla="*/ 203 h 238"/>
                <a:gd name="T34" fmla="*/ 83 w 241"/>
                <a:gd name="T35" fmla="*/ 191 h 238"/>
                <a:gd name="T36" fmla="*/ 78 w 241"/>
                <a:gd name="T37" fmla="*/ 165 h 238"/>
                <a:gd name="T38" fmla="*/ 146 w 241"/>
                <a:gd name="T39" fmla="*/ 100 h 238"/>
                <a:gd name="T40" fmla="*/ 168 w 241"/>
                <a:gd name="T41" fmla="*/ 62 h 238"/>
                <a:gd name="T42" fmla="*/ 231 w 241"/>
                <a:gd name="T43" fmla="*/ 107 h 238"/>
                <a:gd name="T44" fmla="*/ 158 w 241"/>
                <a:gd name="T45" fmla="*/ 112 h 238"/>
                <a:gd name="T46" fmla="*/ 146 w 241"/>
                <a:gd name="T47" fmla="*/ 145 h 238"/>
                <a:gd name="T48" fmla="*/ 83 w 241"/>
                <a:gd name="T49" fmla="*/ 133 h 238"/>
                <a:gd name="T50" fmla="*/ 78 w 241"/>
                <a:gd name="T51" fmla="*/ 107 h 238"/>
                <a:gd name="T52" fmla="*/ 10 w 241"/>
                <a:gd name="T53" fmla="*/ 62 h 238"/>
                <a:gd name="T54" fmla="*/ 73 w 241"/>
                <a:gd name="T55" fmla="*/ 78 h 238"/>
                <a:gd name="T56" fmla="*/ 51 w 241"/>
                <a:gd name="T57" fmla="*/ 10 h 238"/>
                <a:gd name="T58" fmla="*/ 226 w 241"/>
                <a:gd name="T59" fmla="*/ 52 h 238"/>
                <a:gd name="T60" fmla="*/ 158 w 241"/>
                <a:gd name="T61" fmla="*/ 57 h 238"/>
                <a:gd name="T62" fmla="*/ 146 w 241"/>
                <a:gd name="T63" fmla="*/ 90 h 238"/>
                <a:gd name="T64" fmla="*/ 83 w 241"/>
                <a:gd name="T65" fmla="*/ 78 h 238"/>
                <a:gd name="T66" fmla="*/ 78 w 241"/>
                <a:gd name="T67" fmla="*/ 52 h 238"/>
                <a:gd name="T68" fmla="*/ 51 w 241"/>
                <a:gd name="T69" fmla="*/ 10 h 238"/>
                <a:gd name="T70" fmla="*/ 24 w 241"/>
                <a:gd name="T71" fmla="*/ 228 h 238"/>
                <a:gd name="T72" fmla="*/ 10 w 241"/>
                <a:gd name="T73" fmla="*/ 175 h 238"/>
                <a:gd name="T74" fmla="*/ 73 w 241"/>
                <a:gd name="T75" fmla="*/ 191 h 238"/>
                <a:gd name="T76" fmla="*/ 146 w 241"/>
                <a:gd name="T77" fmla="*/ 213 h 238"/>
                <a:gd name="T78" fmla="*/ 168 w 241"/>
                <a:gd name="T79" fmla="*/ 175 h 238"/>
                <a:gd name="T80" fmla="*/ 231 w 241"/>
                <a:gd name="T81" fmla="*/ 21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 h="238">
                  <a:moveTo>
                    <a:pt x="241" y="56"/>
                  </a:moveTo>
                  <a:cubicBezTo>
                    <a:pt x="241" y="56"/>
                    <a:pt x="240" y="56"/>
                    <a:pt x="240" y="55"/>
                  </a:cubicBezTo>
                  <a:cubicBezTo>
                    <a:pt x="240" y="55"/>
                    <a:pt x="240" y="55"/>
                    <a:pt x="240" y="55"/>
                  </a:cubicBezTo>
                  <a:cubicBezTo>
                    <a:pt x="240" y="54"/>
                    <a:pt x="240" y="54"/>
                    <a:pt x="240" y="54"/>
                  </a:cubicBezTo>
                  <a:cubicBezTo>
                    <a:pt x="196" y="2"/>
                    <a:pt x="196" y="2"/>
                    <a:pt x="196" y="2"/>
                  </a:cubicBezTo>
                  <a:cubicBezTo>
                    <a:pt x="195" y="1"/>
                    <a:pt x="194" y="0"/>
                    <a:pt x="192" y="0"/>
                  </a:cubicBezTo>
                  <a:cubicBezTo>
                    <a:pt x="49" y="0"/>
                    <a:pt x="49" y="0"/>
                    <a:pt x="49" y="0"/>
                  </a:cubicBezTo>
                  <a:cubicBezTo>
                    <a:pt x="47" y="0"/>
                    <a:pt x="46" y="1"/>
                    <a:pt x="45" y="2"/>
                  </a:cubicBezTo>
                  <a:cubicBezTo>
                    <a:pt x="2" y="54"/>
                    <a:pt x="2" y="54"/>
                    <a:pt x="2" y="54"/>
                  </a:cubicBezTo>
                  <a:cubicBezTo>
                    <a:pt x="1" y="54"/>
                    <a:pt x="1" y="54"/>
                    <a:pt x="1" y="55"/>
                  </a:cubicBezTo>
                  <a:cubicBezTo>
                    <a:pt x="1" y="55"/>
                    <a:pt x="1" y="55"/>
                    <a:pt x="1" y="55"/>
                  </a:cubicBezTo>
                  <a:cubicBezTo>
                    <a:pt x="1" y="56"/>
                    <a:pt x="1" y="56"/>
                    <a:pt x="1" y="56"/>
                  </a:cubicBezTo>
                  <a:cubicBezTo>
                    <a:pt x="1" y="57"/>
                    <a:pt x="0" y="57"/>
                    <a:pt x="0" y="57"/>
                  </a:cubicBezTo>
                  <a:cubicBezTo>
                    <a:pt x="0" y="214"/>
                    <a:pt x="0" y="214"/>
                    <a:pt x="0" y="214"/>
                  </a:cubicBezTo>
                  <a:cubicBezTo>
                    <a:pt x="0" y="227"/>
                    <a:pt x="11" y="238"/>
                    <a:pt x="24" y="238"/>
                  </a:cubicBezTo>
                  <a:cubicBezTo>
                    <a:pt x="217" y="238"/>
                    <a:pt x="217" y="238"/>
                    <a:pt x="217" y="238"/>
                  </a:cubicBezTo>
                  <a:cubicBezTo>
                    <a:pt x="230" y="238"/>
                    <a:pt x="241" y="227"/>
                    <a:pt x="241" y="214"/>
                  </a:cubicBezTo>
                  <a:cubicBezTo>
                    <a:pt x="241" y="57"/>
                    <a:pt x="241" y="57"/>
                    <a:pt x="241" y="57"/>
                  </a:cubicBezTo>
                  <a:cubicBezTo>
                    <a:pt x="241" y="57"/>
                    <a:pt x="241" y="57"/>
                    <a:pt x="241" y="56"/>
                  </a:cubicBezTo>
                  <a:close/>
                  <a:moveTo>
                    <a:pt x="78" y="165"/>
                  </a:moveTo>
                  <a:cubicBezTo>
                    <a:pt x="10" y="165"/>
                    <a:pt x="10" y="165"/>
                    <a:pt x="10" y="165"/>
                  </a:cubicBezTo>
                  <a:cubicBezTo>
                    <a:pt x="10" y="117"/>
                    <a:pt x="10" y="117"/>
                    <a:pt x="10" y="117"/>
                  </a:cubicBezTo>
                  <a:cubicBezTo>
                    <a:pt x="73" y="117"/>
                    <a:pt x="73" y="117"/>
                    <a:pt x="73" y="117"/>
                  </a:cubicBezTo>
                  <a:cubicBezTo>
                    <a:pt x="73" y="133"/>
                    <a:pt x="73" y="133"/>
                    <a:pt x="73" y="133"/>
                  </a:cubicBezTo>
                  <a:cubicBezTo>
                    <a:pt x="73" y="145"/>
                    <a:pt x="83" y="155"/>
                    <a:pt x="95" y="155"/>
                  </a:cubicBezTo>
                  <a:cubicBezTo>
                    <a:pt x="146" y="155"/>
                    <a:pt x="146" y="155"/>
                    <a:pt x="146" y="155"/>
                  </a:cubicBezTo>
                  <a:cubicBezTo>
                    <a:pt x="158" y="155"/>
                    <a:pt x="168" y="145"/>
                    <a:pt x="168" y="133"/>
                  </a:cubicBezTo>
                  <a:cubicBezTo>
                    <a:pt x="168" y="117"/>
                    <a:pt x="168" y="117"/>
                    <a:pt x="168" y="117"/>
                  </a:cubicBezTo>
                  <a:cubicBezTo>
                    <a:pt x="231" y="117"/>
                    <a:pt x="231" y="117"/>
                    <a:pt x="231" y="117"/>
                  </a:cubicBezTo>
                  <a:cubicBezTo>
                    <a:pt x="231" y="165"/>
                    <a:pt x="231" y="165"/>
                    <a:pt x="231" y="165"/>
                  </a:cubicBezTo>
                  <a:cubicBezTo>
                    <a:pt x="163" y="165"/>
                    <a:pt x="163" y="165"/>
                    <a:pt x="163" y="165"/>
                  </a:cubicBezTo>
                  <a:cubicBezTo>
                    <a:pt x="160" y="165"/>
                    <a:pt x="158" y="167"/>
                    <a:pt x="158" y="170"/>
                  </a:cubicBezTo>
                  <a:cubicBezTo>
                    <a:pt x="158" y="191"/>
                    <a:pt x="158" y="191"/>
                    <a:pt x="158" y="191"/>
                  </a:cubicBezTo>
                  <a:cubicBezTo>
                    <a:pt x="158" y="198"/>
                    <a:pt x="153" y="203"/>
                    <a:pt x="146" y="203"/>
                  </a:cubicBezTo>
                  <a:cubicBezTo>
                    <a:pt x="95" y="203"/>
                    <a:pt x="95" y="203"/>
                    <a:pt x="95" y="203"/>
                  </a:cubicBezTo>
                  <a:cubicBezTo>
                    <a:pt x="88" y="203"/>
                    <a:pt x="83" y="198"/>
                    <a:pt x="83" y="191"/>
                  </a:cubicBezTo>
                  <a:cubicBezTo>
                    <a:pt x="83" y="170"/>
                    <a:pt x="83" y="170"/>
                    <a:pt x="83" y="170"/>
                  </a:cubicBezTo>
                  <a:cubicBezTo>
                    <a:pt x="83" y="167"/>
                    <a:pt x="81" y="165"/>
                    <a:pt x="78" y="165"/>
                  </a:cubicBezTo>
                  <a:close/>
                  <a:moveTo>
                    <a:pt x="95" y="100"/>
                  </a:moveTo>
                  <a:cubicBezTo>
                    <a:pt x="146" y="100"/>
                    <a:pt x="146" y="100"/>
                    <a:pt x="146" y="100"/>
                  </a:cubicBezTo>
                  <a:cubicBezTo>
                    <a:pt x="158" y="100"/>
                    <a:pt x="168" y="90"/>
                    <a:pt x="168" y="78"/>
                  </a:cubicBezTo>
                  <a:cubicBezTo>
                    <a:pt x="168" y="62"/>
                    <a:pt x="168" y="62"/>
                    <a:pt x="168" y="62"/>
                  </a:cubicBezTo>
                  <a:cubicBezTo>
                    <a:pt x="231" y="62"/>
                    <a:pt x="231" y="62"/>
                    <a:pt x="231" y="62"/>
                  </a:cubicBezTo>
                  <a:cubicBezTo>
                    <a:pt x="231" y="107"/>
                    <a:pt x="231" y="107"/>
                    <a:pt x="231" y="107"/>
                  </a:cubicBezTo>
                  <a:cubicBezTo>
                    <a:pt x="163" y="107"/>
                    <a:pt x="163" y="107"/>
                    <a:pt x="163" y="107"/>
                  </a:cubicBezTo>
                  <a:cubicBezTo>
                    <a:pt x="160" y="107"/>
                    <a:pt x="158" y="109"/>
                    <a:pt x="158" y="112"/>
                  </a:cubicBezTo>
                  <a:cubicBezTo>
                    <a:pt x="158" y="133"/>
                    <a:pt x="158" y="133"/>
                    <a:pt x="158" y="133"/>
                  </a:cubicBezTo>
                  <a:cubicBezTo>
                    <a:pt x="158" y="140"/>
                    <a:pt x="153" y="145"/>
                    <a:pt x="146" y="145"/>
                  </a:cubicBezTo>
                  <a:cubicBezTo>
                    <a:pt x="95" y="145"/>
                    <a:pt x="95" y="145"/>
                    <a:pt x="95" y="145"/>
                  </a:cubicBezTo>
                  <a:cubicBezTo>
                    <a:pt x="88" y="145"/>
                    <a:pt x="83" y="140"/>
                    <a:pt x="83" y="133"/>
                  </a:cubicBezTo>
                  <a:cubicBezTo>
                    <a:pt x="83" y="112"/>
                    <a:pt x="83" y="112"/>
                    <a:pt x="83" y="112"/>
                  </a:cubicBezTo>
                  <a:cubicBezTo>
                    <a:pt x="83" y="109"/>
                    <a:pt x="81" y="107"/>
                    <a:pt x="78" y="107"/>
                  </a:cubicBezTo>
                  <a:cubicBezTo>
                    <a:pt x="10" y="107"/>
                    <a:pt x="10" y="107"/>
                    <a:pt x="10" y="107"/>
                  </a:cubicBezTo>
                  <a:cubicBezTo>
                    <a:pt x="10" y="62"/>
                    <a:pt x="10" y="62"/>
                    <a:pt x="10" y="62"/>
                  </a:cubicBezTo>
                  <a:cubicBezTo>
                    <a:pt x="73" y="62"/>
                    <a:pt x="73" y="62"/>
                    <a:pt x="73" y="62"/>
                  </a:cubicBezTo>
                  <a:cubicBezTo>
                    <a:pt x="73" y="78"/>
                    <a:pt x="73" y="78"/>
                    <a:pt x="73" y="78"/>
                  </a:cubicBezTo>
                  <a:cubicBezTo>
                    <a:pt x="73" y="90"/>
                    <a:pt x="83" y="100"/>
                    <a:pt x="95" y="100"/>
                  </a:cubicBezTo>
                  <a:close/>
                  <a:moveTo>
                    <a:pt x="51" y="10"/>
                  </a:moveTo>
                  <a:cubicBezTo>
                    <a:pt x="190" y="10"/>
                    <a:pt x="190" y="10"/>
                    <a:pt x="190" y="10"/>
                  </a:cubicBezTo>
                  <a:cubicBezTo>
                    <a:pt x="226" y="52"/>
                    <a:pt x="226" y="52"/>
                    <a:pt x="226" y="52"/>
                  </a:cubicBezTo>
                  <a:cubicBezTo>
                    <a:pt x="163" y="52"/>
                    <a:pt x="163" y="52"/>
                    <a:pt x="163" y="52"/>
                  </a:cubicBezTo>
                  <a:cubicBezTo>
                    <a:pt x="160" y="52"/>
                    <a:pt x="158" y="54"/>
                    <a:pt x="158" y="57"/>
                  </a:cubicBezTo>
                  <a:cubicBezTo>
                    <a:pt x="158" y="78"/>
                    <a:pt x="158" y="78"/>
                    <a:pt x="158" y="78"/>
                  </a:cubicBezTo>
                  <a:cubicBezTo>
                    <a:pt x="158" y="85"/>
                    <a:pt x="153" y="90"/>
                    <a:pt x="146" y="90"/>
                  </a:cubicBezTo>
                  <a:cubicBezTo>
                    <a:pt x="95" y="90"/>
                    <a:pt x="95" y="90"/>
                    <a:pt x="95" y="90"/>
                  </a:cubicBezTo>
                  <a:cubicBezTo>
                    <a:pt x="88" y="90"/>
                    <a:pt x="83" y="85"/>
                    <a:pt x="83" y="78"/>
                  </a:cubicBezTo>
                  <a:cubicBezTo>
                    <a:pt x="83" y="57"/>
                    <a:pt x="83" y="57"/>
                    <a:pt x="83" y="57"/>
                  </a:cubicBezTo>
                  <a:cubicBezTo>
                    <a:pt x="83" y="54"/>
                    <a:pt x="81" y="52"/>
                    <a:pt x="78" y="52"/>
                  </a:cubicBezTo>
                  <a:cubicBezTo>
                    <a:pt x="16" y="52"/>
                    <a:pt x="16" y="52"/>
                    <a:pt x="16" y="52"/>
                  </a:cubicBezTo>
                  <a:lnTo>
                    <a:pt x="51" y="10"/>
                  </a:lnTo>
                  <a:close/>
                  <a:moveTo>
                    <a:pt x="217" y="228"/>
                  </a:moveTo>
                  <a:cubicBezTo>
                    <a:pt x="24" y="228"/>
                    <a:pt x="24" y="228"/>
                    <a:pt x="24" y="228"/>
                  </a:cubicBezTo>
                  <a:cubicBezTo>
                    <a:pt x="16" y="228"/>
                    <a:pt x="10" y="222"/>
                    <a:pt x="10" y="214"/>
                  </a:cubicBezTo>
                  <a:cubicBezTo>
                    <a:pt x="10" y="175"/>
                    <a:pt x="10" y="175"/>
                    <a:pt x="10" y="175"/>
                  </a:cubicBezTo>
                  <a:cubicBezTo>
                    <a:pt x="73" y="175"/>
                    <a:pt x="73" y="175"/>
                    <a:pt x="73" y="175"/>
                  </a:cubicBezTo>
                  <a:cubicBezTo>
                    <a:pt x="73" y="191"/>
                    <a:pt x="73" y="191"/>
                    <a:pt x="73" y="191"/>
                  </a:cubicBezTo>
                  <a:cubicBezTo>
                    <a:pt x="73" y="203"/>
                    <a:pt x="83" y="213"/>
                    <a:pt x="95" y="213"/>
                  </a:cubicBezTo>
                  <a:cubicBezTo>
                    <a:pt x="146" y="213"/>
                    <a:pt x="146" y="213"/>
                    <a:pt x="146" y="213"/>
                  </a:cubicBezTo>
                  <a:cubicBezTo>
                    <a:pt x="158" y="213"/>
                    <a:pt x="168" y="203"/>
                    <a:pt x="168" y="191"/>
                  </a:cubicBezTo>
                  <a:cubicBezTo>
                    <a:pt x="168" y="175"/>
                    <a:pt x="168" y="175"/>
                    <a:pt x="168" y="175"/>
                  </a:cubicBezTo>
                  <a:cubicBezTo>
                    <a:pt x="231" y="175"/>
                    <a:pt x="231" y="175"/>
                    <a:pt x="231" y="175"/>
                  </a:cubicBezTo>
                  <a:cubicBezTo>
                    <a:pt x="231" y="214"/>
                    <a:pt x="231" y="214"/>
                    <a:pt x="231" y="214"/>
                  </a:cubicBezTo>
                  <a:cubicBezTo>
                    <a:pt x="231" y="222"/>
                    <a:pt x="225" y="228"/>
                    <a:pt x="217" y="2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0" name="Freeform 244">
              <a:extLst>
                <a:ext uri="{FF2B5EF4-FFF2-40B4-BE49-F238E27FC236}">
                  <a16:creationId xmlns:a16="http://schemas.microsoft.com/office/drawing/2014/main" id="{C7CC7CE3-4F8E-804C-9DE8-5241DA64EC9D}"/>
                </a:ext>
              </a:extLst>
            </p:cNvPr>
            <p:cNvSpPr>
              <a:spLocks noEditPoints="1"/>
            </p:cNvSpPr>
            <p:nvPr/>
          </p:nvSpPr>
          <p:spPr bwMode="auto">
            <a:xfrm>
              <a:off x="3825224" y="536134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1" name="Group 70">
            <a:extLst>
              <a:ext uri="{FF2B5EF4-FFF2-40B4-BE49-F238E27FC236}">
                <a16:creationId xmlns:a16="http://schemas.microsoft.com/office/drawing/2014/main" id="{CF7E58C3-6545-DA41-91B5-31C196DBD799}"/>
              </a:ext>
            </a:extLst>
          </p:cNvPr>
          <p:cNvGrpSpPr/>
          <p:nvPr/>
        </p:nvGrpSpPr>
        <p:grpSpPr>
          <a:xfrm>
            <a:off x="5357062" y="3168335"/>
            <a:ext cx="497776" cy="517982"/>
            <a:chOff x="2711368" y="5371524"/>
            <a:chExt cx="497776" cy="517982"/>
          </a:xfrm>
        </p:grpSpPr>
        <p:sp>
          <p:nvSpPr>
            <p:cNvPr id="72" name="Freeform 77">
              <a:extLst>
                <a:ext uri="{FF2B5EF4-FFF2-40B4-BE49-F238E27FC236}">
                  <a16:creationId xmlns:a16="http://schemas.microsoft.com/office/drawing/2014/main" id="{CFFE2E12-3FBB-3940-8DF9-944967AC2EA2}"/>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3" name="Freeform 244">
              <a:extLst>
                <a:ext uri="{FF2B5EF4-FFF2-40B4-BE49-F238E27FC236}">
                  <a16:creationId xmlns:a16="http://schemas.microsoft.com/office/drawing/2014/main" id="{03C5AFEB-3CF1-8142-8E3C-F5BF6C926AD9}"/>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4" name="Group 73">
            <a:extLst>
              <a:ext uri="{FF2B5EF4-FFF2-40B4-BE49-F238E27FC236}">
                <a16:creationId xmlns:a16="http://schemas.microsoft.com/office/drawing/2014/main" id="{553796CC-D4F5-144D-950B-9993DCCBF232}"/>
              </a:ext>
            </a:extLst>
          </p:cNvPr>
          <p:cNvGrpSpPr/>
          <p:nvPr/>
        </p:nvGrpSpPr>
        <p:grpSpPr>
          <a:xfrm>
            <a:off x="11035316" y="4705323"/>
            <a:ext cx="497776" cy="517982"/>
            <a:chOff x="4395408" y="5366456"/>
            <a:chExt cx="497776" cy="517982"/>
          </a:xfrm>
        </p:grpSpPr>
        <p:grpSp>
          <p:nvGrpSpPr>
            <p:cNvPr id="75" name="Group 74">
              <a:extLst>
                <a:ext uri="{FF2B5EF4-FFF2-40B4-BE49-F238E27FC236}">
                  <a16:creationId xmlns:a16="http://schemas.microsoft.com/office/drawing/2014/main" id="{9D5E85AB-C7A2-6F4E-A6C8-D3E1EC7721E5}"/>
                </a:ext>
              </a:extLst>
            </p:cNvPr>
            <p:cNvGrpSpPr/>
            <p:nvPr/>
          </p:nvGrpSpPr>
          <p:grpSpPr>
            <a:xfrm>
              <a:off x="4494924" y="5478085"/>
              <a:ext cx="307156" cy="307154"/>
              <a:chOff x="4648200" y="6919913"/>
              <a:chExt cx="611188" cy="611187"/>
            </a:xfrm>
          </p:grpSpPr>
          <p:sp>
            <p:nvSpPr>
              <p:cNvPr id="77" name="Freeform 285">
                <a:extLst>
                  <a:ext uri="{FF2B5EF4-FFF2-40B4-BE49-F238E27FC236}">
                    <a16:creationId xmlns:a16="http://schemas.microsoft.com/office/drawing/2014/main" id="{A2D734D9-3F73-3740-9068-58C4D46389BD}"/>
                  </a:ext>
                </a:extLst>
              </p:cNvPr>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8" name="Freeform 286">
                <a:extLst>
                  <a:ext uri="{FF2B5EF4-FFF2-40B4-BE49-F238E27FC236}">
                    <a16:creationId xmlns:a16="http://schemas.microsoft.com/office/drawing/2014/main" id="{C80FDC8D-73B2-9E47-823D-420D4E9A079F}"/>
                  </a:ext>
                </a:extLst>
              </p:cNvPr>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9" name="Freeform 287">
                <a:extLst>
                  <a:ext uri="{FF2B5EF4-FFF2-40B4-BE49-F238E27FC236}">
                    <a16:creationId xmlns:a16="http://schemas.microsoft.com/office/drawing/2014/main" id="{7BD87D3E-A3F0-5848-867E-179AD7ED44F6}"/>
                  </a:ext>
                </a:extLst>
              </p:cNvPr>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0" name="Freeform 288">
                <a:extLst>
                  <a:ext uri="{FF2B5EF4-FFF2-40B4-BE49-F238E27FC236}">
                    <a16:creationId xmlns:a16="http://schemas.microsoft.com/office/drawing/2014/main" id="{EFFDBCC5-E20A-F145-AC2C-A0343ACAFC26}"/>
                  </a:ext>
                </a:extLst>
              </p:cNvPr>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1" name="Freeform 289">
                <a:extLst>
                  <a:ext uri="{FF2B5EF4-FFF2-40B4-BE49-F238E27FC236}">
                    <a16:creationId xmlns:a16="http://schemas.microsoft.com/office/drawing/2014/main" id="{380AB8E1-0CCE-D245-A5F0-DB1FF26FB65E}"/>
                  </a:ext>
                </a:extLst>
              </p:cNvPr>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2" name="Freeform 290">
                <a:extLst>
                  <a:ext uri="{FF2B5EF4-FFF2-40B4-BE49-F238E27FC236}">
                    <a16:creationId xmlns:a16="http://schemas.microsoft.com/office/drawing/2014/main" id="{2E5F58F4-6D2C-CB4D-9A40-1FFD2CE0764B}"/>
                  </a:ext>
                </a:extLst>
              </p:cNvPr>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3" name="Freeform 291">
                <a:extLst>
                  <a:ext uri="{FF2B5EF4-FFF2-40B4-BE49-F238E27FC236}">
                    <a16:creationId xmlns:a16="http://schemas.microsoft.com/office/drawing/2014/main" id="{C8B6F859-34E8-D347-A9AE-CEA2ED828765}"/>
                  </a:ext>
                </a:extLst>
              </p:cNvPr>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4" name="Freeform 292">
                <a:extLst>
                  <a:ext uri="{FF2B5EF4-FFF2-40B4-BE49-F238E27FC236}">
                    <a16:creationId xmlns:a16="http://schemas.microsoft.com/office/drawing/2014/main" id="{9A6778C0-EBE8-2548-B6C5-E1F32794E8B5}"/>
                  </a:ext>
                </a:extLst>
              </p:cNvPr>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76" name="Freeform 244">
              <a:extLst>
                <a:ext uri="{FF2B5EF4-FFF2-40B4-BE49-F238E27FC236}">
                  <a16:creationId xmlns:a16="http://schemas.microsoft.com/office/drawing/2014/main" id="{373B2897-E144-4742-983B-0AB967771C83}"/>
                </a:ext>
              </a:extLst>
            </p:cNvPr>
            <p:cNvSpPr>
              <a:spLocks noEditPoints="1"/>
            </p:cNvSpPr>
            <p:nvPr/>
          </p:nvSpPr>
          <p:spPr bwMode="auto">
            <a:xfrm>
              <a:off x="4395408"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95" name="Group 94">
            <a:extLst>
              <a:ext uri="{FF2B5EF4-FFF2-40B4-BE49-F238E27FC236}">
                <a16:creationId xmlns:a16="http://schemas.microsoft.com/office/drawing/2014/main" id="{D17EBC14-703D-F749-835D-51ED6E31BEAA}"/>
              </a:ext>
            </a:extLst>
          </p:cNvPr>
          <p:cNvGrpSpPr/>
          <p:nvPr/>
        </p:nvGrpSpPr>
        <p:grpSpPr>
          <a:xfrm>
            <a:off x="9910029" y="3130278"/>
            <a:ext cx="497776" cy="517982"/>
            <a:chOff x="2711368" y="5371524"/>
            <a:chExt cx="497776" cy="517982"/>
          </a:xfrm>
        </p:grpSpPr>
        <p:sp>
          <p:nvSpPr>
            <p:cNvPr id="96" name="Freeform 77">
              <a:extLst>
                <a:ext uri="{FF2B5EF4-FFF2-40B4-BE49-F238E27FC236}">
                  <a16:creationId xmlns:a16="http://schemas.microsoft.com/office/drawing/2014/main" id="{A6FF8F90-FDC8-A847-997E-471302DE748C}"/>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7" name="Freeform 244">
              <a:extLst>
                <a:ext uri="{FF2B5EF4-FFF2-40B4-BE49-F238E27FC236}">
                  <a16:creationId xmlns:a16="http://schemas.microsoft.com/office/drawing/2014/main" id="{FC65F4C0-1C04-A943-AA43-0C28DC20FF91}"/>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98" name="Rectangle 97">
            <a:extLst>
              <a:ext uri="{FF2B5EF4-FFF2-40B4-BE49-F238E27FC236}">
                <a16:creationId xmlns:a16="http://schemas.microsoft.com/office/drawing/2014/main" id="{873ADC92-F9D4-B648-AB09-A78C9AE1E72F}"/>
              </a:ext>
            </a:extLst>
          </p:cNvPr>
          <p:cNvSpPr/>
          <p:nvPr/>
        </p:nvSpPr>
        <p:spPr>
          <a:xfrm>
            <a:off x="9692735" y="3829167"/>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Analytic Training</a:t>
            </a:r>
          </a:p>
        </p:txBody>
      </p:sp>
      <p:grpSp>
        <p:nvGrpSpPr>
          <p:cNvPr id="99" name="Group 98">
            <a:extLst>
              <a:ext uri="{FF2B5EF4-FFF2-40B4-BE49-F238E27FC236}">
                <a16:creationId xmlns:a16="http://schemas.microsoft.com/office/drawing/2014/main" id="{E9544D59-A002-AF4E-8283-E79A8701BA2D}"/>
              </a:ext>
            </a:extLst>
          </p:cNvPr>
          <p:cNvGrpSpPr/>
          <p:nvPr/>
        </p:nvGrpSpPr>
        <p:grpSpPr>
          <a:xfrm>
            <a:off x="6881252" y="1752626"/>
            <a:ext cx="1756474" cy="791158"/>
            <a:chOff x="7386994" y="1990138"/>
            <a:chExt cx="1756474" cy="791158"/>
          </a:xfrm>
        </p:grpSpPr>
        <p:sp>
          <p:nvSpPr>
            <p:cNvPr id="100" name="TextBox 99">
              <a:extLst>
                <a:ext uri="{FF2B5EF4-FFF2-40B4-BE49-F238E27FC236}">
                  <a16:creationId xmlns:a16="http://schemas.microsoft.com/office/drawing/2014/main" id="{99013607-B2C1-D74F-BF11-09F46AF13684}"/>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Analytics Workbench</a:t>
              </a:r>
            </a:p>
          </p:txBody>
        </p:sp>
        <p:sp>
          <p:nvSpPr>
            <p:cNvPr id="101" name="TextBox 100">
              <a:extLst>
                <a:ext uri="{FF2B5EF4-FFF2-40B4-BE49-F238E27FC236}">
                  <a16:creationId xmlns:a16="http://schemas.microsoft.com/office/drawing/2014/main" id="{381BA20A-59EA-E042-BC23-4323FDF43521}"/>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endParaRPr lang="en-US" sz="900" b="0">
                <a:solidFill>
                  <a:schemeClr val="tx1"/>
                </a:solidFill>
                <a:latin typeface="+mn-lt"/>
              </a:endParaRPr>
            </a:p>
          </p:txBody>
        </p:sp>
      </p:grpSp>
      <p:grpSp>
        <p:nvGrpSpPr>
          <p:cNvPr id="102" name="Group 101">
            <a:extLst>
              <a:ext uri="{FF2B5EF4-FFF2-40B4-BE49-F238E27FC236}">
                <a16:creationId xmlns:a16="http://schemas.microsoft.com/office/drawing/2014/main" id="{0805790E-C16E-DE41-B474-BBAA378D6076}"/>
              </a:ext>
            </a:extLst>
          </p:cNvPr>
          <p:cNvGrpSpPr/>
          <p:nvPr/>
        </p:nvGrpSpPr>
        <p:grpSpPr>
          <a:xfrm>
            <a:off x="5331773" y="7430314"/>
            <a:ext cx="1756474" cy="791158"/>
            <a:chOff x="7386994" y="1990138"/>
            <a:chExt cx="1756474" cy="791158"/>
          </a:xfrm>
        </p:grpSpPr>
        <p:sp>
          <p:nvSpPr>
            <p:cNvPr id="103" name="TextBox 102">
              <a:extLst>
                <a:ext uri="{FF2B5EF4-FFF2-40B4-BE49-F238E27FC236}">
                  <a16:creationId xmlns:a16="http://schemas.microsoft.com/office/drawing/2014/main" id="{4C738201-5480-3441-AA72-3D1DDC886DEF}"/>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Analytics</a:t>
              </a:r>
            </a:p>
          </p:txBody>
        </p:sp>
        <p:sp>
          <p:nvSpPr>
            <p:cNvPr id="104" name="TextBox 103">
              <a:extLst>
                <a:ext uri="{FF2B5EF4-FFF2-40B4-BE49-F238E27FC236}">
                  <a16:creationId xmlns:a16="http://schemas.microsoft.com/office/drawing/2014/main" id="{200B1342-5CA1-4C44-A28C-860DA90E6CA9}"/>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Analytic and machine learning capabilities offering Notebook, Big Data Compute, and frameworks</a:t>
              </a:r>
            </a:p>
          </p:txBody>
        </p:sp>
      </p:grpSp>
      <p:cxnSp>
        <p:nvCxnSpPr>
          <p:cNvPr id="106" name="Straight Connector 74">
            <a:extLst>
              <a:ext uri="{FF2B5EF4-FFF2-40B4-BE49-F238E27FC236}">
                <a16:creationId xmlns:a16="http://schemas.microsoft.com/office/drawing/2014/main" id="{2265E656-94C8-BC48-91D4-28EAFF9F9C0B}"/>
              </a:ext>
            </a:extLst>
          </p:cNvPr>
          <p:cNvCxnSpPr>
            <a:cxnSpLocks/>
          </p:cNvCxnSpPr>
          <p:nvPr/>
        </p:nvCxnSpPr>
        <p:spPr>
          <a:xfrm>
            <a:off x="5960248" y="3528860"/>
            <a:ext cx="1262692" cy="1244487"/>
          </a:xfrm>
          <a:prstGeom prst="bentConnector3">
            <a:avLst>
              <a:gd name="adj1" fmla="val 50000"/>
            </a:avLst>
          </a:prstGeom>
          <a:noFill/>
          <a:ln w="22225" cmpd="sng">
            <a:solidFill>
              <a:srgbClr val="D6D6D6"/>
            </a:solidFill>
            <a:tailEnd type="triangle"/>
          </a:ln>
          <a:effectLst/>
        </p:spPr>
      </p:cxnSp>
      <p:cxnSp>
        <p:nvCxnSpPr>
          <p:cNvPr id="107" name="Straight Connector 74">
            <a:extLst>
              <a:ext uri="{FF2B5EF4-FFF2-40B4-BE49-F238E27FC236}">
                <a16:creationId xmlns:a16="http://schemas.microsoft.com/office/drawing/2014/main" id="{4C5EF52B-D316-6C42-861C-15493AD5144D}"/>
              </a:ext>
            </a:extLst>
          </p:cNvPr>
          <p:cNvCxnSpPr>
            <a:cxnSpLocks/>
          </p:cNvCxnSpPr>
          <p:nvPr/>
        </p:nvCxnSpPr>
        <p:spPr>
          <a:xfrm>
            <a:off x="5960248" y="3369835"/>
            <a:ext cx="981889" cy="3417"/>
          </a:xfrm>
          <a:prstGeom prst="bentConnector3">
            <a:avLst>
              <a:gd name="adj1" fmla="val 50000"/>
            </a:avLst>
          </a:prstGeom>
          <a:noFill/>
          <a:ln w="22225" cmpd="sng">
            <a:solidFill>
              <a:srgbClr val="D6D6D6"/>
            </a:solidFill>
            <a:tailEnd type="triangle"/>
          </a:ln>
          <a:effectLst/>
        </p:spPr>
      </p:cxnSp>
      <p:grpSp>
        <p:nvGrpSpPr>
          <p:cNvPr id="121" name="Group 120">
            <a:extLst>
              <a:ext uri="{FF2B5EF4-FFF2-40B4-BE49-F238E27FC236}">
                <a16:creationId xmlns:a16="http://schemas.microsoft.com/office/drawing/2014/main" id="{1F0B7903-2D17-5947-8AED-6851D259F2B5}"/>
              </a:ext>
            </a:extLst>
          </p:cNvPr>
          <p:cNvGrpSpPr/>
          <p:nvPr/>
        </p:nvGrpSpPr>
        <p:grpSpPr>
          <a:xfrm>
            <a:off x="1536943" y="7437740"/>
            <a:ext cx="1932602" cy="713958"/>
            <a:chOff x="3340968" y="2002841"/>
            <a:chExt cx="1508920" cy="713958"/>
          </a:xfrm>
        </p:grpSpPr>
        <p:sp>
          <p:nvSpPr>
            <p:cNvPr id="122" name="TextBox 121">
              <a:extLst>
                <a:ext uri="{FF2B5EF4-FFF2-40B4-BE49-F238E27FC236}">
                  <a16:creationId xmlns:a16="http://schemas.microsoft.com/office/drawing/2014/main" id="{6B360AED-23D4-384C-A8F9-79C116959D2B}"/>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123" name="TextBox 122">
              <a:extLst>
                <a:ext uri="{FF2B5EF4-FFF2-40B4-BE49-F238E27FC236}">
                  <a16:creationId xmlns:a16="http://schemas.microsoft.com/office/drawing/2014/main" id="{B229D6A3-2520-A243-BDE7-5273DB60D0F7}"/>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pipelines for unstructured and structured data</a:t>
              </a:r>
            </a:p>
          </p:txBody>
        </p:sp>
      </p:grpSp>
      <p:sp>
        <p:nvSpPr>
          <p:cNvPr id="133" name="Rectangle 132">
            <a:extLst>
              <a:ext uri="{FF2B5EF4-FFF2-40B4-BE49-F238E27FC236}">
                <a16:creationId xmlns:a16="http://schemas.microsoft.com/office/drawing/2014/main" id="{7252FD64-39C3-9847-B96D-0ED10346D230}"/>
              </a:ext>
            </a:extLst>
          </p:cNvPr>
          <p:cNvSpPr/>
          <p:nvPr/>
        </p:nvSpPr>
        <p:spPr>
          <a:xfrm>
            <a:off x="2328862" y="2207964"/>
            <a:ext cx="1000752" cy="462977"/>
          </a:xfrm>
          <a:prstGeom prst="rect">
            <a:avLst/>
          </a:prstGeom>
          <a:noFill/>
          <a:ln w="6350" algn="ctr">
            <a:noFill/>
            <a:miter lim="800000"/>
            <a:headEnd type="none" w="sm" len="sm"/>
            <a:tailEnd type="none" w="sm" len="sm"/>
          </a:ln>
        </p:spPr>
        <p:txBody>
          <a:bodyPr wrap="square" lIns="0" tIns="0" rIns="0" bIns="0" anchor="ctr"/>
          <a:lstStyle/>
          <a:p>
            <a:pPr algn="ctr"/>
            <a:r>
              <a:rPr lang="en-US" sz="850"/>
              <a:t>Data Stream Capture</a:t>
            </a:r>
          </a:p>
        </p:txBody>
      </p:sp>
      <p:grpSp>
        <p:nvGrpSpPr>
          <p:cNvPr id="134" name="Group 133">
            <a:extLst>
              <a:ext uri="{FF2B5EF4-FFF2-40B4-BE49-F238E27FC236}">
                <a16:creationId xmlns:a16="http://schemas.microsoft.com/office/drawing/2014/main" id="{AD4D2857-EAED-364B-9D80-27CA2EDC7838}"/>
              </a:ext>
            </a:extLst>
          </p:cNvPr>
          <p:cNvGrpSpPr/>
          <p:nvPr/>
        </p:nvGrpSpPr>
        <p:grpSpPr>
          <a:xfrm>
            <a:off x="2580350" y="1705557"/>
            <a:ext cx="497776" cy="517982"/>
            <a:chOff x="3049518" y="2956489"/>
            <a:chExt cx="497776" cy="517982"/>
          </a:xfrm>
        </p:grpSpPr>
        <p:sp>
          <p:nvSpPr>
            <p:cNvPr id="135" name="Freeform 664">
              <a:extLst>
                <a:ext uri="{FF2B5EF4-FFF2-40B4-BE49-F238E27FC236}">
                  <a16:creationId xmlns:a16="http://schemas.microsoft.com/office/drawing/2014/main" id="{E78EEA07-3E85-5A43-BBEF-3B866D80C824}"/>
                </a:ext>
              </a:extLst>
            </p:cNvPr>
            <p:cNvSpPr>
              <a:spLocks/>
            </p:cNvSpPr>
            <p:nvPr/>
          </p:nvSpPr>
          <p:spPr bwMode="auto">
            <a:xfrm>
              <a:off x="3120532" y="3048855"/>
              <a:ext cx="309983" cy="334385"/>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6" name="Freeform 244">
              <a:extLst>
                <a:ext uri="{FF2B5EF4-FFF2-40B4-BE49-F238E27FC236}">
                  <a16:creationId xmlns:a16="http://schemas.microsoft.com/office/drawing/2014/main" id="{5DC25953-5F10-FE4F-84DE-9729447776D6}"/>
                </a:ext>
              </a:extLst>
            </p:cNvPr>
            <p:cNvSpPr>
              <a:spLocks noEditPoints="1"/>
            </p:cNvSpPr>
            <p:nvPr/>
          </p:nvSpPr>
          <p:spPr bwMode="auto">
            <a:xfrm>
              <a:off x="3049518" y="295648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1"/>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8" name="Group 87">
            <a:extLst>
              <a:ext uri="{FF2B5EF4-FFF2-40B4-BE49-F238E27FC236}">
                <a16:creationId xmlns:a16="http://schemas.microsoft.com/office/drawing/2014/main" id="{D21AAAF1-1AC0-B24C-8936-EBEBE03311D5}"/>
              </a:ext>
            </a:extLst>
          </p:cNvPr>
          <p:cNvGrpSpPr/>
          <p:nvPr/>
        </p:nvGrpSpPr>
        <p:grpSpPr>
          <a:xfrm>
            <a:off x="609062" y="4255363"/>
            <a:ext cx="914400" cy="737882"/>
            <a:chOff x="605612" y="4255363"/>
            <a:chExt cx="914400" cy="737882"/>
          </a:xfrm>
        </p:grpSpPr>
        <p:sp>
          <p:nvSpPr>
            <p:cNvPr id="144" name="Rectangle 143">
              <a:extLst>
                <a:ext uri="{FF2B5EF4-FFF2-40B4-BE49-F238E27FC236}">
                  <a16:creationId xmlns:a16="http://schemas.microsoft.com/office/drawing/2014/main" id="{ABF20AC8-D4DC-3849-A277-8A2AA891298F}"/>
                </a:ext>
              </a:extLst>
            </p:cNvPr>
            <p:cNvSpPr/>
            <p:nvPr/>
          </p:nvSpPr>
          <p:spPr>
            <a:xfrm>
              <a:off x="605612" y="4822642"/>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Data Lakes</a:t>
              </a:r>
            </a:p>
          </p:txBody>
        </p:sp>
        <p:grpSp>
          <p:nvGrpSpPr>
            <p:cNvPr id="145" name="Group 144">
              <a:extLst>
                <a:ext uri="{FF2B5EF4-FFF2-40B4-BE49-F238E27FC236}">
                  <a16:creationId xmlns:a16="http://schemas.microsoft.com/office/drawing/2014/main" id="{4529B496-F6E4-5A48-9016-804ED07AC3A2}"/>
                </a:ext>
              </a:extLst>
            </p:cNvPr>
            <p:cNvGrpSpPr/>
            <p:nvPr/>
          </p:nvGrpSpPr>
          <p:grpSpPr>
            <a:xfrm>
              <a:off x="813924" y="4255363"/>
              <a:ext cx="497776" cy="517982"/>
              <a:chOff x="1742992" y="3606769"/>
              <a:chExt cx="497776" cy="517982"/>
            </a:xfrm>
          </p:grpSpPr>
          <p:grpSp>
            <p:nvGrpSpPr>
              <p:cNvPr id="146" name="Group 145">
                <a:extLst>
                  <a:ext uri="{FF2B5EF4-FFF2-40B4-BE49-F238E27FC236}">
                    <a16:creationId xmlns:a16="http://schemas.microsoft.com/office/drawing/2014/main" id="{098DE2E9-0874-9049-A149-886D76A4A650}"/>
                  </a:ext>
                </a:extLst>
              </p:cNvPr>
              <p:cNvGrpSpPr/>
              <p:nvPr/>
            </p:nvGrpSpPr>
            <p:grpSpPr>
              <a:xfrm>
                <a:off x="1822814" y="3690402"/>
                <a:ext cx="350704" cy="350704"/>
                <a:chOff x="5562600" y="4875213"/>
                <a:chExt cx="790575" cy="790575"/>
              </a:xfrm>
            </p:grpSpPr>
            <p:sp>
              <p:nvSpPr>
                <p:cNvPr id="148" name="Freeform 55">
                  <a:extLst>
                    <a:ext uri="{FF2B5EF4-FFF2-40B4-BE49-F238E27FC236}">
                      <a16:creationId xmlns:a16="http://schemas.microsoft.com/office/drawing/2014/main" id="{ECFEBA60-B57F-9D4D-8CC8-C9AFB3E5E597}"/>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9" name="Freeform 56">
                  <a:extLst>
                    <a:ext uri="{FF2B5EF4-FFF2-40B4-BE49-F238E27FC236}">
                      <a16:creationId xmlns:a16="http://schemas.microsoft.com/office/drawing/2014/main" id="{8FCE8ECC-4C0D-E547-86CC-15881F7E62C0}"/>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47" name="Freeform 244">
                <a:extLst>
                  <a:ext uri="{FF2B5EF4-FFF2-40B4-BE49-F238E27FC236}">
                    <a16:creationId xmlns:a16="http://schemas.microsoft.com/office/drawing/2014/main" id="{B2DDD099-BAF0-1B45-BA8E-9634A33AA6CC}"/>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155" name="Rectangle 154">
            <a:extLst>
              <a:ext uri="{FF2B5EF4-FFF2-40B4-BE49-F238E27FC236}">
                <a16:creationId xmlns:a16="http://schemas.microsoft.com/office/drawing/2014/main" id="{D8A74B83-7FCB-5A48-8AA7-F40D0DB473B3}"/>
              </a:ext>
            </a:extLst>
          </p:cNvPr>
          <p:cNvSpPr/>
          <p:nvPr/>
        </p:nvSpPr>
        <p:spPr>
          <a:xfrm>
            <a:off x="3881587" y="3078657"/>
            <a:ext cx="914400" cy="243159"/>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Raw</a:t>
            </a:r>
          </a:p>
        </p:txBody>
      </p:sp>
      <p:sp>
        <p:nvSpPr>
          <p:cNvPr id="156" name="Rectangle 155">
            <a:extLst>
              <a:ext uri="{FF2B5EF4-FFF2-40B4-BE49-F238E27FC236}">
                <a16:creationId xmlns:a16="http://schemas.microsoft.com/office/drawing/2014/main" id="{54CCE351-4D8D-EC4B-8FB7-6A8C2674E8B9}"/>
              </a:ext>
            </a:extLst>
          </p:cNvPr>
          <p:cNvSpPr/>
          <p:nvPr/>
        </p:nvSpPr>
        <p:spPr>
          <a:xfrm>
            <a:off x="3886506" y="3398830"/>
            <a:ext cx="914400" cy="243159"/>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rocessed</a:t>
            </a:r>
          </a:p>
        </p:txBody>
      </p:sp>
      <p:cxnSp>
        <p:nvCxnSpPr>
          <p:cNvPr id="157" name="Straight Connector 74">
            <a:extLst>
              <a:ext uri="{FF2B5EF4-FFF2-40B4-BE49-F238E27FC236}">
                <a16:creationId xmlns:a16="http://schemas.microsoft.com/office/drawing/2014/main" id="{0029DF17-CE61-5048-A433-02C68BD693BD}"/>
              </a:ext>
            </a:extLst>
          </p:cNvPr>
          <p:cNvCxnSpPr>
            <a:cxnSpLocks/>
            <a:endCxn id="155" idx="0"/>
          </p:cNvCxnSpPr>
          <p:nvPr/>
        </p:nvCxnSpPr>
        <p:spPr>
          <a:xfrm rot="16200000" flipH="1">
            <a:off x="3310964" y="2050834"/>
            <a:ext cx="1077356" cy="978290"/>
          </a:xfrm>
          <a:prstGeom prst="bentConnector3">
            <a:avLst>
              <a:gd name="adj1" fmla="val 1000"/>
            </a:avLst>
          </a:prstGeom>
          <a:noFill/>
          <a:ln w="22225" cmpd="sng">
            <a:solidFill>
              <a:srgbClr val="D6D6D6"/>
            </a:solidFill>
            <a:tailEnd type="triangle"/>
          </a:ln>
          <a:effectLst/>
        </p:spPr>
      </p:cxnSp>
      <p:grpSp>
        <p:nvGrpSpPr>
          <p:cNvPr id="164" name="Group 163">
            <a:extLst>
              <a:ext uri="{FF2B5EF4-FFF2-40B4-BE49-F238E27FC236}">
                <a16:creationId xmlns:a16="http://schemas.microsoft.com/office/drawing/2014/main" id="{EBD0048B-8C56-A04A-A0DD-3B569BBFEEAD}"/>
              </a:ext>
            </a:extLst>
          </p:cNvPr>
          <p:cNvGrpSpPr/>
          <p:nvPr/>
        </p:nvGrpSpPr>
        <p:grpSpPr>
          <a:xfrm>
            <a:off x="11035316" y="3130278"/>
            <a:ext cx="497776" cy="517982"/>
            <a:chOff x="2711368" y="5371524"/>
            <a:chExt cx="497776" cy="517982"/>
          </a:xfrm>
        </p:grpSpPr>
        <p:sp>
          <p:nvSpPr>
            <p:cNvPr id="165" name="Freeform 77">
              <a:extLst>
                <a:ext uri="{FF2B5EF4-FFF2-40B4-BE49-F238E27FC236}">
                  <a16:creationId xmlns:a16="http://schemas.microsoft.com/office/drawing/2014/main" id="{D4FD97EE-13E4-754D-8284-257D5CFD0878}"/>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66" name="Freeform 244">
              <a:extLst>
                <a:ext uri="{FF2B5EF4-FFF2-40B4-BE49-F238E27FC236}">
                  <a16:creationId xmlns:a16="http://schemas.microsoft.com/office/drawing/2014/main" id="{CDF06230-9274-8B48-914A-BFFAEBDA208C}"/>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67" name="Rectangle 166">
            <a:extLst>
              <a:ext uri="{FF2B5EF4-FFF2-40B4-BE49-F238E27FC236}">
                <a16:creationId xmlns:a16="http://schemas.microsoft.com/office/drawing/2014/main" id="{9D8E5A9B-3504-CE44-B894-E88BFCCAA0AD}"/>
              </a:ext>
            </a:extLst>
          </p:cNvPr>
          <p:cNvSpPr/>
          <p:nvPr/>
        </p:nvSpPr>
        <p:spPr>
          <a:xfrm>
            <a:off x="10805305" y="3829167"/>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Analytic Prediction</a:t>
            </a:r>
          </a:p>
        </p:txBody>
      </p:sp>
      <p:sp>
        <p:nvSpPr>
          <p:cNvPr id="168" name="Rectangle 167">
            <a:extLst>
              <a:ext uri="{FF2B5EF4-FFF2-40B4-BE49-F238E27FC236}">
                <a16:creationId xmlns:a16="http://schemas.microsoft.com/office/drawing/2014/main" id="{CA6E67A4-CC77-FE4A-842C-400747348D47}"/>
              </a:ext>
            </a:extLst>
          </p:cNvPr>
          <p:cNvSpPr/>
          <p:nvPr/>
        </p:nvSpPr>
        <p:spPr>
          <a:xfrm>
            <a:off x="7013096" y="3914295"/>
            <a:ext cx="914400" cy="176109"/>
          </a:xfrm>
          <a:prstGeom prst="rect">
            <a:avLst/>
          </a:prstGeom>
          <a:noFill/>
          <a:ln w="6350" algn="ctr">
            <a:noFill/>
            <a:miter lim="800000"/>
            <a:headEnd type="none" w="sm" len="sm"/>
            <a:tailEnd type="none" w="sm" len="sm"/>
          </a:ln>
        </p:spPr>
        <p:txBody>
          <a:bodyPr wrap="square" lIns="0" tIns="0" rIns="0" bIns="0" anchor="ctr"/>
          <a:lstStyle/>
          <a:p>
            <a:pPr algn="ctr"/>
            <a:r>
              <a:rPr lang="en-US" sz="850"/>
              <a:t>Analytics Data Store</a:t>
            </a:r>
          </a:p>
        </p:txBody>
      </p:sp>
      <p:grpSp>
        <p:nvGrpSpPr>
          <p:cNvPr id="169" name="Group 168">
            <a:extLst>
              <a:ext uri="{FF2B5EF4-FFF2-40B4-BE49-F238E27FC236}">
                <a16:creationId xmlns:a16="http://schemas.microsoft.com/office/drawing/2014/main" id="{F35F79A1-9FCC-114B-95E5-B5B175BEECB7}"/>
              </a:ext>
            </a:extLst>
          </p:cNvPr>
          <p:cNvGrpSpPr/>
          <p:nvPr/>
        </p:nvGrpSpPr>
        <p:grpSpPr>
          <a:xfrm>
            <a:off x="7253484" y="3130278"/>
            <a:ext cx="497776" cy="517982"/>
            <a:chOff x="2178324" y="5366456"/>
            <a:chExt cx="497776" cy="517982"/>
          </a:xfrm>
        </p:grpSpPr>
        <p:grpSp>
          <p:nvGrpSpPr>
            <p:cNvPr id="170" name="Group 169">
              <a:extLst>
                <a:ext uri="{FF2B5EF4-FFF2-40B4-BE49-F238E27FC236}">
                  <a16:creationId xmlns:a16="http://schemas.microsoft.com/office/drawing/2014/main" id="{873C36BE-3E20-4943-A618-5D097A9E90E7}"/>
                </a:ext>
              </a:extLst>
            </p:cNvPr>
            <p:cNvGrpSpPr/>
            <p:nvPr/>
          </p:nvGrpSpPr>
          <p:grpSpPr>
            <a:xfrm>
              <a:off x="2278655" y="5459540"/>
              <a:ext cx="286037" cy="337619"/>
              <a:chOff x="6145213" y="7040563"/>
              <a:chExt cx="484187" cy="571500"/>
            </a:xfrm>
          </p:grpSpPr>
          <p:sp>
            <p:nvSpPr>
              <p:cNvPr id="172" name="Freeform 365">
                <a:extLst>
                  <a:ext uri="{FF2B5EF4-FFF2-40B4-BE49-F238E27FC236}">
                    <a16:creationId xmlns:a16="http://schemas.microsoft.com/office/drawing/2014/main" id="{FEF134D9-ABBE-144F-AC69-001657DF9E52}"/>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3" name="Freeform 366">
                <a:extLst>
                  <a:ext uri="{FF2B5EF4-FFF2-40B4-BE49-F238E27FC236}">
                    <a16:creationId xmlns:a16="http://schemas.microsoft.com/office/drawing/2014/main" id="{D9DC2DC4-1235-CC44-A322-EB011E88E8D7}"/>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4" name="Freeform 367">
                <a:extLst>
                  <a:ext uri="{FF2B5EF4-FFF2-40B4-BE49-F238E27FC236}">
                    <a16:creationId xmlns:a16="http://schemas.microsoft.com/office/drawing/2014/main" id="{D6527C1B-47C1-1543-8F38-59C238E2B722}"/>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5" name="Freeform 368">
                <a:extLst>
                  <a:ext uri="{FF2B5EF4-FFF2-40B4-BE49-F238E27FC236}">
                    <a16:creationId xmlns:a16="http://schemas.microsoft.com/office/drawing/2014/main" id="{06DBA35A-6225-AB49-9070-7477D3D1D612}"/>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6" name="Freeform 369">
                <a:extLst>
                  <a:ext uri="{FF2B5EF4-FFF2-40B4-BE49-F238E27FC236}">
                    <a16:creationId xmlns:a16="http://schemas.microsoft.com/office/drawing/2014/main" id="{59E9C194-5589-0E41-A54C-EF60107DD48C}"/>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7" name="Freeform 370">
                <a:extLst>
                  <a:ext uri="{FF2B5EF4-FFF2-40B4-BE49-F238E27FC236}">
                    <a16:creationId xmlns:a16="http://schemas.microsoft.com/office/drawing/2014/main" id="{8B767127-FBD3-E04C-B8C1-A444B7CEA80D}"/>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71" name="Freeform 244">
              <a:extLst>
                <a:ext uri="{FF2B5EF4-FFF2-40B4-BE49-F238E27FC236}">
                  <a16:creationId xmlns:a16="http://schemas.microsoft.com/office/drawing/2014/main" id="{18D2E41C-E102-0242-9B66-BAE9AA943B2D}"/>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184" name="Straight Connector 74">
            <a:extLst>
              <a:ext uri="{FF2B5EF4-FFF2-40B4-BE49-F238E27FC236}">
                <a16:creationId xmlns:a16="http://schemas.microsoft.com/office/drawing/2014/main" id="{2C141C04-7886-D645-AC39-B1FA9B0E4A4E}"/>
              </a:ext>
            </a:extLst>
          </p:cNvPr>
          <p:cNvCxnSpPr>
            <a:cxnSpLocks/>
          </p:cNvCxnSpPr>
          <p:nvPr/>
        </p:nvCxnSpPr>
        <p:spPr>
          <a:xfrm>
            <a:off x="7944612" y="3424881"/>
            <a:ext cx="435997" cy="2322"/>
          </a:xfrm>
          <a:prstGeom prst="bentConnector3">
            <a:avLst>
              <a:gd name="adj1" fmla="val 50000"/>
            </a:avLst>
          </a:prstGeom>
          <a:noFill/>
          <a:ln w="22225" cmpd="sng">
            <a:solidFill>
              <a:srgbClr val="D6D6D6"/>
            </a:solidFill>
            <a:tailEnd type="triangle"/>
          </a:ln>
          <a:effectLst/>
        </p:spPr>
      </p:cxnSp>
      <p:cxnSp>
        <p:nvCxnSpPr>
          <p:cNvPr id="200" name="Straight Connector 74">
            <a:extLst>
              <a:ext uri="{FF2B5EF4-FFF2-40B4-BE49-F238E27FC236}">
                <a16:creationId xmlns:a16="http://schemas.microsoft.com/office/drawing/2014/main" id="{F7AF3958-0BDF-E54D-80DE-861FD73B7711}"/>
              </a:ext>
            </a:extLst>
          </p:cNvPr>
          <p:cNvCxnSpPr>
            <a:cxnSpLocks/>
          </p:cNvCxnSpPr>
          <p:nvPr/>
        </p:nvCxnSpPr>
        <p:spPr>
          <a:xfrm>
            <a:off x="4958834" y="3472369"/>
            <a:ext cx="292818" cy="0"/>
          </a:xfrm>
          <a:prstGeom prst="straightConnector1">
            <a:avLst/>
          </a:prstGeom>
          <a:noFill/>
          <a:ln w="22225" cmpd="sng">
            <a:solidFill>
              <a:srgbClr val="D6D6D6"/>
            </a:solidFill>
            <a:tailEnd type="triangle"/>
          </a:ln>
          <a:effectLst/>
        </p:spPr>
      </p:cxnSp>
      <p:cxnSp>
        <p:nvCxnSpPr>
          <p:cNvPr id="204" name="Straight Connector 74">
            <a:extLst>
              <a:ext uri="{FF2B5EF4-FFF2-40B4-BE49-F238E27FC236}">
                <a16:creationId xmlns:a16="http://schemas.microsoft.com/office/drawing/2014/main" id="{3B928737-DDD7-D441-947C-83B4202A10D6}"/>
              </a:ext>
            </a:extLst>
          </p:cNvPr>
          <p:cNvCxnSpPr>
            <a:cxnSpLocks/>
            <a:stCxn id="167" idx="2"/>
          </p:cNvCxnSpPr>
          <p:nvPr/>
        </p:nvCxnSpPr>
        <p:spPr>
          <a:xfrm flipH="1">
            <a:off x="11256157" y="4121439"/>
            <a:ext cx="6348" cy="485757"/>
          </a:xfrm>
          <a:prstGeom prst="straightConnector1">
            <a:avLst/>
          </a:prstGeom>
          <a:noFill/>
          <a:ln w="22225" cmpd="sng">
            <a:solidFill>
              <a:srgbClr val="D6D6D6"/>
            </a:solidFill>
            <a:tailEnd type="triangle"/>
          </a:ln>
          <a:effectLst/>
        </p:spPr>
      </p:cxnSp>
      <p:sp>
        <p:nvSpPr>
          <p:cNvPr id="127" name="Rectangle 126">
            <a:extLst>
              <a:ext uri="{FF2B5EF4-FFF2-40B4-BE49-F238E27FC236}">
                <a16:creationId xmlns:a16="http://schemas.microsoft.com/office/drawing/2014/main" id="{2DCDA4D0-986E-874A-B1BD-77DEE50E4084}"/>
              </a:ext>
            </a:extLst>
          </p:cNvPr>
          <p:cNvSpPr/>
          <p:nvPr/>
        </p:nvSpPr>
        <p:spPr bwMode="gray">
          <a:xfrm>
            <a:off x="7032316" y="2048356"/>
            <a:ext cx="4801440" cy="2357651"/>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endParaRPr lang="en-US" sz="1200" b="1"/>
          </a:p>
        </p:txBody>
      </p:sp>
      <p:cxnSp>
        <p:nvCxnSpPr>
          <p:cNvPr id="130" name="Straight Connector 74">
            <a:extLst>
              <a:ext uri="{FF2B5EF4-FFF2-40B4-BE49-F238E27FC236}">
                <a16:creationId xmlns:a16="http://schemas.microsoft.com/office/drawing/2014/main" id="{8AD8E4C6-E722-A74F-B420-CCFCC4BB4D3A}"/>
              </a:ext>
            </a:extLst>
          </p:cNvPr>
          <p:cNvCxnSpPr>
            <a:cxnSpLocks/>
          </p:cNvCxnSpPr>
          <p:nvPr/>
        </p:nvCxnSpPr>
        <p:spPr>
          <a:xfrm>
            <a:off x="9326316" y="3433825"/>
            <a:ext cx="435997" cy="2322"/>
          </a:xfrm>
          <a:prstGeom prst="bentConnector3">
            <a:avLst>
              <a:gd name="adj1" fmla="val 50000"/>
            </a:avLst>
          </a:prstGeom>
          <a:noFill/>
          <a:ln w="22225" cmpd="sng">
            <a:solidFill>
              <a:srgbClr val="D6D6D6"/>
            </a:solidFill>
            <a:tailEnd type="triangle"/>
          </a:ln>
          <a:effectLst/>
        </p:spPr>
      </p:cxnSp>
      <p:cxnSp>
        <p:nvCxnSpPr>
          <p:cNvPr id="128" name="Straight Connector 74">
            <a:extLst>
              <a:ext uri="{FF2B5EF4-FFF2-40B4-BE49-F238E27FC236}">
                <a16:creationId xmlns:a16="http://schemas.microsoft.com/office/drawing/2014/main" id="{22E85E68-9BDB-E548-BA7C-01D66F019B29}"/>
              </a:ext>
            </a:extLst>
          </p:cNvPr>
          <p:cNvCxnSpPr>
            <a:cxnSpLocks/>
            <a:endCxn id="8" idx="1"/>
          </p:cNvCxnSpPr>
          <p:nvPr/>
        </p:nvCxnSpPr>
        <p:spPr>
          <a:xfrm flipV="1">
            <a:off x="1536943" y="4025832"/>
            <a:ext cx="723840" cy="487084"/>
          </a:xfrm>
          <a:prstGeom prst="bentConnector3">
            <a:avLst>
              <a:gd name="adj1" fmla="val 50000"/>
            </a:avLst>
          </a:prstGeom>
          <a:noFill/>
          <a:ln w="22225" cmpd="sng">
            <a:solidFill>
              <a:srgbClr val="D6D6D6"/>
            </a:solidFill>
            <a:tailEnd type="triangle"/>
          </a:ln>
          <a:effectLst/>
        </p:spPr>
      </p:cxnSp>
    </p:spTree>
    <p:extLst>
      <p:ext uri="{BB962C8B-B14F-4D97-AF65-F5344CB8AC3E}">
        <p14:creationId xmlns:p14="http://schemas.microsoft.com/office/powerpoint/2010/main" val="1362641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5D0D5-836E-4DDC-922A-828D0DD31F74}"/>
              </a:ext>
            </a:extLst>
          </p:cNvPr>
          <p:cNvSpPr>
            <a:spLocks noGrp="1"/>
          </p:cNvSpPr>
          <p:nvPr>
            <p:ph type="title"/>
          </p:nvPr>
        </p:nvSpPr>
        <p:spPr/>
        <p:txBody>
          <a:bodyPr/>
          <a:lstStyle/>
          <a:p>
            <a:r>
              <a:rPr lang="en-US" sz="3600">
                <a:cs typeface="Calibri Light"/>
              </a:rPr>
              <a:t>Table of Contents</a:t>
            </a:r>
            <a:endParaRPr lang="en-US" sz="3600"/>
          </a:p>
        </p:txBody>
      </p:sp>
      <p:sp>
        <p:nvSpPr>
          <p:cNvPr id="3" name="Content Placeholder 2">
            <a:extLst>
              <a:ext uri="{FF2B5EF4-FFF2-40B4-BE49-F238E27FC236}">
                <a16:creationId xmlns:a16="http://schemas.microsoft.com/office/drawing/2014/main" id="{E764C15A-980C-4504-9BDC-4996EA1FED46}"/>
              </a:ext>
            </a:extLst>
          </p:cNvPr>
          <p:cNvSpPr>
            <a:spLocks noGrp="1"/>
          </p:cNvSpPr>
          <p:nvPr>
            <p:ph idx="1"/>
          </p:nvPr>
        </p:nvSpPr>
        <p:spPr>
          <a:xfrm>
            <a:off x="914400" y="1598019"/>
            <a:ext cx="10553700" cy="4400230"/>
          </a:xfrm>
        </p:spPr>
        <p:txBody>
          <a:bodyPr vert="horz" lIns="91440" tIns="45720" rIns="91440" bIns="45720" rtlCol="0" anchor="t">
            <a:normAutofit fontScale="92500" lnSpcReduction="10000"/>
          </a:bodyPr>
          <a:lstStyle/>
          <a:p>
            <a:pPr marL="342900" indent="-342900">
              <a:buFont typeface="+mj-lt"/>
              <a:buAutoNum type="arabicPeriod"/>
            </a:pPr>
            <a:r>
              <a:rPr lang="en-US" sz="1800">
                <a:ea typeface="+mn-lt"/>
                <a:cs typeface="+mn-lt"/>
              </a:rPr>
              <a:t>Key Goals</a:t>
            </a:r>
          </a:p>
          <a:p>
            <a:pPr marL="342900" indent="-342900">
              <a:buFont typeface="+mj-lt"/>
              <a:buAutoNum type="arabicPeriod"/>
            </a:pPr>
            <a:r>
              <a:rPr lang="en-US" sz="1800">
                <a:ea typeface="+mn-lt"/>
                <a:cs typeface="+mn-lt"/>
              </a:rPr>
              <a:t>Current State / Future State</a:t>
            </a:r>
          </a:p>
          <a:p>
            <a:pPr marL="342900" indent="-342900">
              <a:buFont typeface="+mj-lt"/>
              <a:buAutoNum type="arabicPeriod"/>
            </a:pPr>
            <a:r>
              <a:rPr lang="en-US" sz="1800">
                <a:ea typeface="+mn-lt"/>
                <a:cs typeface="+mn-lt"/>
              </a:rPr>
              <a:t>NCCDPHP DIP Data Lake</a:t>
            </a:r>
          </a:p>
          <a:p>
            <a:pPr marL="800100" lvl="1" indent="-342900">
              <a:buFont typeface="+mj-lt"/>
              <a:buAutoNum type="arabicPeriod"/>
            </a:pPr>
            <a:r>
              <a:rPr lang="en-US" sz="1600">
                <a:ea typeface="+mn-lt"/>
                <a:cs typeface="+mn-lt"/>
              </a:rPr>
              <a:t>Platform Architecture</a:t>
            </a:r>
          </a:p>
          <a:p>
            <a:pPr marL="800100" lvl="1" indent="-342900">
              <a:buFont typeface="+mj-lt"/>
              <a:buAutoNum type="arabicPeriod"/>
            </a:pPr>
            <a:r>
              <a:rPr lang="en-US" sz="1600">
                <a:ea typeface="+mn-lt"/>
                <a:cs typeface="+mn-lt"/>
              </a:rPr>
              <a:t>Functional Use Case</a:t>
            </a:r>
          </a:p>
          <a:p>
            <a:pPr marL="342900" indent="-342900">
              <a:buFont typeface="+mj-lt"/>
              <a:buAutoNum type="arabicPeriod"/>
            </a:pPr>
            <a:r>
              <a:rPr lang="en-US" sz="1800">
                <a:ea typeface="+mn-lt"/>
                <a:cs typeface="+mn-lt"/>
              </a:rPr>
              <a:t>Risks and Concerns</a:t>
            </a:r>
          </a:p>
          <a:p>
            <a:pPr marL="342900" indent="-342900">
              <a:buFont typeface="+mj-lt"/>
              <a:buAutoNum type="arabicPeriod"/>
            </a:pPr>
            <a:r>
              <a:rPr lang="en-US" sz="1800">
                <a:ea typeface="+mn-lt"/>
                <a:cs typeface="+mn-lt"/>
              </a:rPr>
              <a:t>Roadmap</a:t>
            </a:r>
          </a:p>
          <a:p>
            <a:pPr marL="800100" lvl="1" indent="-342900">
              <a:buFont typeface="+mj-lt"/>
              <a:buAutoNum type="arabicPeriod"/>
            </a:pPr>
            <a:r>
              <a:rPr lang="en-US" sz="1600">
                <a:ea typeface="+mn-lt"/>
                <a:cs typeface="+mn-lt"/>
              </a:rPr>
              <a:t>8 Week Roadmap</a:t>
            </a:r>
          </a:p>
          <a:p>
            <a:pPr marL="800100" lvl="1" indent="-342900">
              <a:buFont typeface="+mj-lt"/>
              <a:buAutoNum type="arabicPeriod"/>
            </a:pPr>
            <a:r>
              <a:rPr lang="en-US" sz="1600">
                <a:ea typeface="+mn-lt"/>
                <a:cs typeface="+mn-lt"/>
              </a:rPr>
              <a:t>Technology Accelerators</a:t>
            </a:r>
            <a:endParaRPr lang="en-US" sz="1800">
              <a:ea typeface="+mn-lt"/>
              <a:cs typeface="+mn-lt"/>
            </a:endParaRPr>
          </a:p>
          <a:p>
            <a:pPr marL="342900" indent="-342900">
              <a:buFont typeface="+mj-lt"/>
              <a:buAutoNum type="arabicPeriod"/>
            </a:pPr>
            <a:r>
              <a:rPr lang="en-US" sz="1800">
                <a:ea typeface="+mn-lt"/>
                <a:cs typeface="+mn-lt"/>
              </a:rPr>
              <a:t>Appendix: Guiding Principles &amp; Accelerators</a:t>
            </a:r>
          </a:p>
          <a:p>
            <a:pPr marL="578094" lvl="2" indent="-342900">
              <a:buFont typeface="+mj-lt"/>
              <a:buAutoNum type="arabicPeriod"/>
            </a:pPr>
            <a:r>
              <a:rPr lang="en-US" sz="1400">
                <a:ea typeface="+mn-lt"/>
                <a:cs typeface="+mn-lt"/>
              </a:rPr>
              <a:t>Application Development</a:t>
            </a:r>
          </a:p>
          <a:p>
            <a:pPr marL="578094" lvl="2" indent="-342900">
              <a:spcBef>
                <a:spcPct val="0"/>
              </a:spcBef>
              <a:buFont typeface="+mj-lt"/>
              <a:buAutoNum type="arabicPeriod"/>
            </a:pPr>
            <a:r>
              <a:rPr lang="en-US" sz="1400">
                <a:ea typeface="+mn-lt"/>
                <a:cs typeface="+mn-lt"/>
              </a:rPr>
              <a:t>Operations</a:t>
            </a:r>
          </a:p>
          <a:p>
            <a:pPr marL="578094" lvl="2" indent="-342900">
              <a:spcBef>
                <a:spcPct val="0"/>
              </a:spcBef>
              <a:buFont typeface="+mj-lt"/>
              <a:buAutoNum type="arabicPeriod"/>
            </a:pPr>
            <a:r>
              <a:rPr lang="en-US" sz="1400">
                <a:ea typeface="+mn-lt"/>
                <a:cs typeface="+mn-lt"/>
              </a:rPr>
              <a:t>Cloud Infrastructure</a:t>
            </a:r>
          </a:p>
          <a:p>
            <a:pPr marL="578094" lvl="2" indent="-342900">
              <a:spcBef>
                <a:spcPct val="0"/>
              </a:spcBef>
              <a:buFont typeface="+mj-lt"/>
              <a:buAutoNum type="arabicPeriod"/>
            </a:pPr>
            <a:r>
              <a:rPr lang="en-US" sz="1400">
                <a:ea typeface="+mn-lt"/>
                <a:cs typeface="+mn-lt"/>
              </a:rPr>
              <a:t>Data Engineering</a:t>
            </a:r>
          </a:p>
          <a:p>
            <a:pPr marL="578094" lvl="2" indent="-342900">
              <a:spcBef>
                <a:spcPct val="0"/>
              </a:spcBef>
              <a:buFont typeface="+mj-lt"/>
              <a:buAutoNum type="arabicPeriod"/>
            </a:pPr>
            <a:r>
              <a:rPr lang="en-US" sz="1400">
                <a:ea typeface="+mn-lt"/>
                <a:cs typeface="+mn-lt"/>
              </a:rPr>
              <a:t>Collaboration</a:t>
            </a:r>
            <a:endParaRPr lang="en-US" sz="1600">
              <a:ea typeface="+mn-lt"/>
              <a:cs typeface="+mn-lt"/>
            </a:endParaRPr>
          </a:p>
        </p:txBody>
      </p:sp>
    </p:spTree>
    <p:extLst>
      <p:ext uri="{BB962C8B-B14F-4D97-AF65-F5344CB8AC3E}">
        <p14:creationId xmlns:p14="http://schemas.microsoft.com/office/powerpoint/2010/main" val="31119077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44E64-F954-4288-A504-12E14B683D66}"/>
              </a:ext>
            </a:extLst>
          </p:cNvPr>
          <p:cNvSpPr>
            <a:spLocks noGrp="1"/>
          </p:cNvSpPr>
          <p:nvPr>
            <p:ph type="title"/>
          </p:nvPr>
        </p:nvSpPr>
        <p:spPr/>
        <p:txBody>
          <a:bodyPr/>
          <a:lstStyle/>
          <a:p>
            <a:r>
              <a:rPr lang="en-US" sz="3600">
                <a:ea typeface="+mj-lt"/>
                <a:cs typeface="+mj-lt"/>
              </a:rPr>
              <a:t>Data Processing and Analytics</a:t>
            </a:r>
          </a:p>
        </p:txBody>
      </p:sp>
      <p:sp>
        <p:nvSpPr>
          <p:cNvPr id="3" name="Content Placeholder 2">
            <a:extLst>
              <a:ext uri="{FF2B5EF4-FFF2-40B4-BE49-F238E27FC236}">
                <a16:creationId xmlns:a16="http://schemas.microsoft.com/office/drawing/2014/main" id="{C8870F36-A280-4200-985F-C925A84D9509}"/>
              </a:ext>
            </a:extLst>
          </p:cNvPr>
          <p:cNvSpPr>
            <a:spLocks noGrp="1"/>
          </p:cNvSpPr>
          <p:nvPr>
            <p:ph sz="half" idx="1"/>
          </p:nvPr>
        </p:nvSpPr>
        <p:spPr/>
        <p:txBody>
          <a:bodyPr vert="horz" lIns="91440" tIns="45720" rIns="91440" bIns="45720" rtlCol="0" anchor="t">
            <a:normAutofit/>
          </a:bodyPr>
          <a:lstStyle/>
          <a:p>
            <a:pPr marL="0" indent="0">
              <a:buNone/>
            </a:pPr>
            <a:r>
              <a:rPr lang="en-US" sz="1800" b="1">
                <a:cs typeface="Calibri" panose="020F0502020204030204"/>
              </a:rPr>
              <a:t>Key Questions</a:t>
            </a:r>
          </a:p>
          <a:p>
            <a:pPr marL="457200" indent="-457200"/>
            <a:r>
              <a:rPr lang="en-US" sz="1800">
                <a:cs typeface="Calibri" panose="020F0502020204030204"/>
              </a:rPr>
              <a:t>What are success factors for establishing a data lake solution in core areas</a:t>
            </a:r>
          </a:p>
          <a:p>
            <a:pPr marL="1085850" lvl="1" indent="-171450">
              <a:buFont typeface="Arial" panose="020B0604020202020204" pitchFamily="34" charset="0"/>
              <a:buChar char="•"/>
            </a:pPr>
            <a:r>
              <a:rPr lang="en-US" sz="1600">
                <a:cs typeface="Calibri" panose="020F0502020204030204"/>
              </a:rPr>
              <a:t>Ingestion</a:t>
            </a:r>
          </a:p>
          <a:p>
            <a:pPr marL="1085850" lvl="1" indent="-171450">
              <a:buFont typeface="Arial" panose="020B0604020202020204" pitchFamily="34" charset="0"/>
              <a:buChar char="•"/>
            </a:pPr>
            <a:r>
              <a:rPr lang="en-US" sz="1600">
                <a:cs typeface="Calibri" panose="020F0502020204030204"/>
              </a:rPr>
              <a:t>Storage</a:t>
            </a:r>
          </a:p>
          <a:p>
            <a:pPr marL="1085850" lvl="1" indent="-171450">
              <a:buFont typeface="Arial" panose="020B0604020202020204" pitchFamily="34" charset="0"/>
              <a:buChar char="•"/>
            </a:pPr>
            <a:r>
              <a:rPr lang="en-US" sz="1600">
                <a:cs typeface="Calibri" panose="020F0502020204030204"/>
              </a:rPr>
              <a:t>Processing</a:t>
            </a:r>
          </a:p>
          <a:p>
            <a:pPr marL="457200" indent="-457200"/>
            <a:r>
              <a:rPr lang="en-US" sz="1800">
                <a:cs typeface="Calibri" panose="020F0502020204030204"/>
              </a:rPr>
              <a:t>What are key factor for establishing data analytic capabilities in core areas?</a:t>
            </a:r>
          </a:p>
          <a:p>
            <a:pPr marL="1085850" lvl="1" indent="-171450">
              <a:buFont typeface="Arial" panose="020B0604020202020204" pitchFamily="34" charset="0"/>
              <a:buChar char="•"/>
            </a:pPr>
            <a:r>
              <a:rPr lang="en-US" sz="1600">
                <a:cs typeface="Calibri" panose="020F0502020204030204"/>
              </a:rPr>
              <a:t>Machine Learning</a:t>
            </a:r>
          </a:p>
          <a:p>
            <a:pPr marL="1085850" lvl="1" indent="-171450">
              <a:buFont typeface="Arial" panose="020B0604020202020204" pitchFamily="34" charset="0"/>
              <a:buChar char="•"/>
            </a:pPr>
            <a:r>
              <a:rPr lang="en-US" sz="1600">
                <a:cs typeface="Calibri" panose="020F0502020204030204"/>
              </a:rPr>
              <a:t>Big Data</a:t>
            </a:r>
          </a:p>
          <a:p>
            <a:pPr marL="1085850" lvl="1" indent="-171450">
              <a:buFont typeface="Arial" panose="020B0604020202020204" pitchFamily="34" charset="0"/>
              <a:buChar char="•"/>
            </a:pPr>
            <a:r>
              <a:rPr lang="en-US" sz="1600">
                <a:cs typeface="Calibri" panose="020F0502020204030204"/>
              </a:rPr>
              <a:t>Cloud Analytics Computing</a:t>
            </a:r>
          </a:p>
          <a:p>
            <a:pPr marL="1085850" lvl="1" indent="-171450">
              <a:buFont typeface="Arial" panose="020B0604020202020204" pitchFamily="34" charset="0"/>
              <a:buChar char="•"/>
            </a:pPr>
            <a:r>
              <a:rPr lang="en-US" sz="1600">
                <a:cs typeface="Calibri" panose="020F0502020204030204"/>
              </a:rPr>
              <a:t>Reporting &amp; Visualization</a:t>
            </a:r>
          </a:p>
        </p:txBody>
      </p:sp>
      <p:sp>
        <p:nvSpPr>
          <p:cNvPr id="4" name="Content Placeholder 3">
            <a:extLst>
              <a:ext uri="{FF2B5EF4-FFF2-40B4-BE49-F238E27FC236}">
                <a16:creationId xmlns:a16="http://schemas.microsoft.com/office/drawing/2014/main" id="{BF431E6A-3F2C-4E6D-97AA-5E4342E036AB}"/>
              </a:ext>
            </a:extLst>
          </p:cNvPr>
          <p:cNvSpPr>
            <a:spLocks noGrp="1"/>
          </p:cNvSpPr>
          <p:nvPr>
            <p:ph sz="half" idx="2"/>
          </p:nvPr>
        </p:nvSpPr>
        <p:spPr/>
        <p:txBody>
          <a:bodyPr>
            <a:normAutofit/>
          </a:bodyPr>
          <a:lstStyle/>
          <a:p>
            <a:endParaRPr lang="en-US"/>
          </a:p>
        </p:txBody>
      </p:sp>
    </p:spTree>
    <p:extLst>
      <p:ext uri="{BB962C8B-B14F-4D97-AF65-F5344CB8AC3E}">
        <p14:creationId xmlns:p14="http://schemas.microsoft.com/office/powerpoint/2010/main" val="1599225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496F3D1-9F54-414E-9E4A-CF185921593A}"/>
              </a:ext>
            </a:extLst>
          </p:cNvPr>
          <p:cNvSpPr>
            <a:spLocks noGrp="1"/>
          </p:cNvSpPr>
          <p:nvPr>
            <p:ph type="body" sz="quarter" idx="14"/>
          </p:nvPr>
        </p:nvSpPr>
        <p:spPr>
          <a:xfrm>
            <a:off x="469900" y="1494013"/>
            <a:ext cx="1876510" cy="4650617"/>
          </a:xfrm>
        </p:spPr>
        <p:txBody>
          <a:bodyPr/>
          <a:lstStyle/>
          <a:p>
            <a:r>
              <a:rPr lang="en-US" sz="1100" b="1"/>
              <a:t>Pain Points</a:t>
            </a:r>
          </a:p>
          <a:p>
            <a:pPr marL="228600" indent="-228600">
              <a:buFont typeface="+mj-lt"/>
              <a:buAutoNum type="arabicPeriod"/>
            </a:pPr>
            <a:r>
              <a:rPr lang="en-US" sz="1100"/>
              <a:t>Manual Deployments result in server troubleshooting and overhead</a:t>
            </a:r>
          </a:p>
          <a:p>
            <a:pPr marL="228600" indent="-228600">
              <a:buFont typeface="+mj-lt"/>
              <a:buAutoNum type="arabicPeriod"/>
            </a:pPr>
            <a:r>
              <a:rPr lang="en-US" sz="1100"/>
              <a:t>Develop must copy code and synchronize two repositories</a:t>
            </a:r>
          </a:p>
          <a:p>
            <a:pPr marL="228600" indent="-228600">
              <a:buFont typeface="+mj-lt"/>
              <a:buAutoNum type="arabicPeriod"/>
            </a:pPr>
            <a:r>
              <a:rPr lang="en-US" sz="1100"/>
              <a:t>Developer/Data team has to move data from Deloitte to CDC network and also ensure that any additional CDC data is replicated to Deloitte</a:t>
            </a:r>
          </a:p>
          <a:p>
            <a:pPr marL="228600" indent="-228600">
              <a:buFont typeface="+mj-lt"/>
              <a:buAutoNum type="arabicPeriod"/>
            </a:pPr>
            <a:r>
              <a:rPr lang="en-US" sz="1100"/>
              <a:t>Security Scan not effectively used within development iterations resulting in bottleneck for production</a:t>
            </a:r>
          </a:p>
          <a:p>
            <a:pPr marL="228600" indent="-228600">
              <a:buFont typeface="+mj-lt"/>
              <a:buAutoNum type="arabicPeriod"/>
            </a:pPr>
            <a:r>
              <a:rPr lang="en-US" sz="1100"/>
              <a:t>App must be deployed and maintained in Test environment, despite low usage and similar version as DEV</a:t>
            </a:r>
          </a:p>
          <a:p>
            <a:endParaRPr lang="en-US" sz="1100"/>
          </a:p>
        </p:txBody>
      </p:sp>
      <p:sp>
        <p:nvSpPr>
          <p:cNvPr id="2" name="Title 1">
            <a:extLst>
              <a:ext uri="{FF2B5EF4-FFF2-40B4-BE49-F238E27FC236}">
                <a16:creationId xmlns:a16="http://schemas.microsoft.com/office/drawing/2014/main" id="{6803BF32-346D-D848-BCA0-2E76713755FF}"/>
              </a:ext>
            </a:extLst>
          </p:cNvPr>
          <p:cNvSpPr>
            <a:spLocks noGrp="1"/>
          </p:cNvSpPr>
          <p:nvPr>
            <p:ph type="title"/>
          </p:nvPr>
        </p:nvSpPr>
        <p:spPr/>
        <p:txBody>
          <a:bodyPr/>
          <a:lstStyle/>
          <a:p>
            <a:r>
              <a:rPr lang="en-US" sz="3600"/>
              <a:t>Operations Lifecycle: Current State</a:t>
            </a:r>
          </a:p>
        </p:txBody>
      </p:sp>
      <p:sp>
        <p:nvSpPr>
          <p:cNvPr id="6" name="Rectangle 5">
            <a:extLst>
              <a:ext uri="{FF2B5EF4-FFF2-40B4-BE49-F238E27FC236}">
                <a16:creationId xmlns:a16="http://schemas.microsoft.com/office/drawing/2014/main" id="{9EE36527-2B7C-D841-8BBA-39A4A301218D}"/>
              </a:ext>
            </a:extLst>
          </p:cNvPr>
          <p:cNvSpPr/>
          <p:nvPr/>
        </p:nvSpPr>
        <p:spPr>
          <a:xfrm>
            <a:off x="4065952" y="2739202"/>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Self-Hosted GitLab</a:t>
            </a:r>
          </a:p>
        </p:txBody>
      </p:sp>
      <p:sp>
        <p:nvSpPr>
          <p:cNvPr id="7" name="Rectangle 6">
            <a:extLst>
              <a:ext uri="{FF2B5EF4-FFF2-40B4-BE49-F238E27FC236}">
                <a16:creationId xmlns:a16="http://schemas.microsoft.com/office/drawing/2014/main" id="{7EC2D5C7-3065-C042-B369-CA2C2309D512}"/>
              </a:ext>
            </a:extLst>
          </p:cNvPr>
          <p:cNvSpPr/>
          <p:nvPr/>
        </p:nvSpPr>
        <p:spPr>
          <a:xfrm>
            <a:off x="4065952" y="171495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EC2 Deployment</a:t>
            </a:r>
          </a:p>
        </p:txBody>
      </p:sp>
      <p:sp>
        <p:nvSpPr>
          <p:cNvPr id="9" name="Rectangle 8">
            <a:extLst>
              <a:ext uri="{FF2B5EF4-FFF2-40B4-BE49-F238E27FC236}">
                <a16:creationId xmlns:a16="http://schemas.microsoft.com/office/drawing/2014/main" id="{FC47455C-BE5E-9B46-A8F2-33D49C655F92}"/>
              </a:ext>
            </a:extLst>
          </p:cNvPr>
          <p:cNvSpPr/>
          <p:nvPr/>
        </p:nvSpPr>
        <p:spPr>
          <a:xfrm>
            <a:off x="7102045" y="271425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err="1"/>
              <a:t>ECPaaS</a:t>
            </a:r>
            <a:r>
              <a:rPr lang="en-US" sz="1000"/>
              <a:t> Dev</a:t>
            </a:r>
          </a:p>
        </p:txBody>
      </p:sp>
      <p:cxnSp>
        <p:nvCxnSpPr>
          <p:cNvPr id="10" name="Straight Connector 74">
            <a:extLst>
              <a:ext uri="{FF2B5EF4-FFF2-40B4-BE49-F238E27FC236}">
                <a16:creationId xmlns:a16="http://schemas.microsoft.com/office/drawing/2014/main" id="{EDAE3E5F-E9E0-6849-BA0C-E0F499A17093}"/>
              </a:ext>
            </a:extLst>
          </p:cNvPr>
          <p:cNvCxnSpPr>
            <a:cxnSpLocks/>
            <a:stCxn id="6" idx="3"/>
            <a:endCxn id="17" idx="1"/>
          </p:cNvCxnSpPr>
          <p:nvPr/>
        </p:nvCxnSpPr>
        <p:spPr>
          <a:xfrm flipV="1">
            <a:off x="4980352" y="3033394"/>
            <a:ext cx="916621" cy="0"/>
          </a:xfrm>
          <a:prstGeom prst="straightConnector1">
            <a:avLst/>
          </a:prstGeom>
          <a:noFill/>
          <a:ln w="22225" cmpd="sng">
            <a:solidFill>
              <a:srgbClr val="FDD300"/>
            </a:solidFill>
            <a:tailEnd type="triangle"/>
          </a:ln>
          <a:effectLst/>
        </p:spPr>
      </p:cxnSp>
      <p:sp>
        <p:nvSpPr>
          <p:cNvPr id="12" name="TextBox 11">
            <a:extLst>
              <a:ext uri="{FF2B5EF4-FFF2-40B4-BE49-F238E27FC236}">
                <a16:creationId xmlns:a16="http://schemas.microsoft.com/office/drawing/2014/main" id="{4793E1DF-A8BA-4B45-814D-CE4487530B8C}"/>
              </a:ext>
            </a:extLst>
          </p:cNvPr>
          <p:cNvSpPr txBox="1"/>
          <p:nvPr/>
        </p:nvSpPr>
        <p:spPr>
          <a:xfrm>
            <a:off x="3931970" y="3447619"/>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eloper</a:t>
            </a:r>
          </a:p>
          <a:p>
            <a:pPr>
              <a:lnSpc>
                <a:spcPct val="80000"/>
              </a:lnSpc>
              <a:spcBef>
                <a:spcPts val="0"/>
              </a:spcBef>
            </a:pPr>
            <a:r>
              <a:rPr lang="en-US" sz="1100" b="0">
                <a:solidFill>
                  <a:schemeClr val="tx1"/>
                </a:solidFill>
                <a:latin typeface="+mn-lt"/>
              </a:rPr>
              <a:t>Submits new code changes</a:t>
            </a:r>
          </a:p>
        </p:txBody>
      </p:sp>
      <p:sp>
        <p:nvSpPr>
          <p:cNvPr id="13" name="Left Brace 12">
            <a:extLst>
              <a:ext uri="{FF2B5EF4-FFF2-40B4-BE49-F238E27FC236}">
                <a16:creationId xmlns:a16="http://schemas.microsoft.com/office/drawing/2014/main" id="{35C1F822-75BF-944C-B30D-BAEED58529DB}"/>
              </a:ext>
            </a:extLst>
          </p:cNvPr>
          <p:cNvSpPr/>
          <p:nvPr/>
        </p:nvSpPr>
        <p:spPr>
          <a:xfrm rot="16200000" flipH="1" flipV="1">
            <a:off x="9231194" y="180028"/>
            <a:ext cx="271297" cy="4529596"/>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14" name="TextBox 13">
            <a:extLst>
              <a:ext uri="{FF2B5EF4-FFF2-40B4-BE49-F238E27FC236}">
                <a16:creationId xmlns:a16="http://schemas.microsoft.com/office/drawing/2014/main" id="{D9574139-CC82-2D45-8309-DFE356415800}"/>
              </a:ext>
            </a:extLst>
          </p:cNvPr>
          <p:cNvSpPr txBox="1"/>
          <p:nvPr/>
        </p:nvSpPr>
        <p:spPr>
          <a:xfrm>
            <a:off x="8538007" y="1856259"/>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CDC ECPaaS 3.X</a:t>
            </a:r>
          </a:p>
        </p:txBody>
      </p:sp>
      <p:cxnSp>
        <p:nvCxnSpPr>
          <p:cNvPr id="15" name="Straight Connector 74">
            <a:extLst>
              <a:ext uri="{FF2B5EF4-FFF2-40B4-BE49-F238E27FC236}">
                <a16:creationId xmlns:a16="http://schemas.microsoft.com/office/drawing/2014/main" id="{B2FB466C-6DB7-AA43-BCCB-F6EC0AF9A2E3}"/>
              </a:ext>
            </a:extLst>
          </p:cNvPr>
          <p:cNvCxnSpPr>
            <a:cxnSpLocks/>
            <a:stCxn id="6" idx="0"/>
            <a:endCxn id="7" idx="2"/>
          </p:cNvCxnSpPr>
          <p:nvPr/>
        </p:nvCxnSpPr>
        <p:spPr>
          <a:xfrm rot="5400000" flipH="1" flipV="1">
            <a:off x="4324138" y="2540188"/>
            <a:ext cx="410729" cy="0"/>
          </a:xfrm>
          <a:prstGeom prst="bentConnector3">
            <a:avLst>
              <a:gd name="adj1" fmla="val 50000"/>
            </a:avLst>
          </a:prstGeom>
          <a:noFill/>
          <a:ln w="22225" cmpd="sng">
            <a:solidFill>
              <a:srgbClr val="D6D6D6"/>
            </a:solidFill>
            <a:prstDash val="sysDash"/>
            <a:tailEnd type="triangle"/>
          </a:ln>
          <a:effectLst/>
        </p:spPr>
      </p:cxnSp>
      <p:sp>
        <p:nvSpPr>
          <p:cNvPr id="16" name="TextBox 15">
            <a:extLst>
              <a:ext uri="{FF2B5EF4-FFF2-40B4-BE49-F238E27FC236}">
                <a16:creationId xmlns:a16="http://schemas.microsoft.com/office/drawing/2014/main" id="{291918C6-3E93-D843-939D-63ADA0C0955E}"/>
              </a:ext>
            </a:extLst>
          </p:cNvPr>
          <p:cNvSpPr txBox="1"/>
          <p:nvPr/>
        </p:nvSpPr>
        <p:spPr>
          <a:xfrm>
            <a:off x="5703130" y="3440997"/>
            <a:ext cx="1295616" cy="320098"/>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000" b="0" i="1">
                <a:solidFill>
                  <a:schemeClr val="bg1">
                    <a:lumMod val="50000"/>
                  </a:schemeClr>
                </a:solidFill>
                <a:latin typeface="+mn-lt"/>
              </a:rPr>
              <a:t>Copy Repository to CDC</a:t>
            </a:r>
          </a:p>
        </p:txBody>
      </p:sp>
      <p:sp>
        <p:nvSpPr>
          <p:cNvPr id="17" name="Rectangle 16">
            <a:extLst>
              <a:ext uri="{FF2B5EF4-FFF2-40B4-BE49-F238E27FC236}">
                <a16:creationId xmlns:a16="http://schemas.microsoft.com/office/drawing/2014/main" id="{77B6C6D4-65BE-7F48-B2CB-57B2B02D15B5}"/>
              </a:ext>
            </a:extLst>
          </p:cNvPr>
          <p:cNvSpPr/>
          <p:nvPr/>
        </p:nvSpPr>
        <p:spPr>
          <a:xfrm>
            <a:off x="5896973" y="2726634"/>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1000"/>
              <a:t>CDC Enterprise GitLab</a:t>
            </a:r>
          </a:p>
        </p:txBody>
      </p:sp>
      <p:cxnSp>
        <p:nvCxnSpPr>
          <p:cNvPr id="18" name="Straight Connector 74">
            <a:extLst>
              <a:ext uri="{FF2B5EF4-FFF2-40B4-BE49-F238E27FC236}">
                <a16:creationId xmlns:a16="http://schemas.microsoft.com/office/drawing/2014/main" id="{6BBA5B77-D378-8545-9C78-2F4CD19A3304}"/>
              </a:ext>
            </a:extLst>
          </p:cNvPr>
          <p:cNvCxnSpPr>
            <a:cxnSpLocks/>
            <a:stCxn id="9" idx="3"/>
            <a:endCxn id="20" idx="1"/>
          </p:cNvCxnSpPr>
          <p:nvPr/>
        </p:nvCxnSpPr>
        <p:spPr>
          <a:xfrm>
            <a:off x="8016445" y="3021016"/>
            <a:ext cx="337644" cy="0"/>
          </a:xfrm>
          <a:prstGeom prst="straightConnector1">
            <a:avLst/>
          </a:prstGeom>
          <a:noFill/>
          <a:ln w="22225" cmpd="sng">
            <a:solidFill>
              <a:srgbClr val="D6D6D6"/>
            </a:solidFill>
            <a:tailEnd type="triangle"/>
          </a:ln>
          <a:effectLst/>
        </p:spPr>
      </p:cxnSp>
      <p:cxnSp>
        <p:nvCxnSpPr>
          <p:cNvPr id="19" name="Straight Connector 74">
            <a:extLst>
              <a:ext uri="{FF2B5EF4-FFF2-40B4-BE49-F238E27FC236}">
                <a16:creationId xmlns:a16="http://schemas.microsoft.com/office/drawing/2014/main" id="{927F280B-FF39-974E-A326-28732C9C28C2}"/>
              </a:ext>
            </a:extLst>
          </p:cNvPr>
          <p:cNvCxnSpPr>
            <a:cxnSpLocks/>
            <a:stCxn id="17" idx="3"/>
            <a:endCxn id="9" idx="1"/>
          </p:cNvCxnSpPr>
          <p:nvPr/>
        </p:nvCxnSpPr>
        <p:spPr>
          <a:xfrm flipV="1">
            <a:off x="6811373" y="3021016"/>
            <a:ext cx="290672" cy="0"/>
          </a:xfrm>
          <a:prstGeom prst="straightConnector1">
            <a:avLst/>
          </a:prstGeom>
          <a:noFill/>
          <a:ln w="22225" cmpd="sng">
            <a:solidFill>
              <a:srgbClr val="D6D6D6"/>
            </a:solidFill>
            <a:tailEnd type="triangle"/>
          </a:ln>
          <a:effectLst/>
        </p:spPr>
      </p:cxnSp>
      <p:sp>
        <p:nvSpPr>
          <p:cNvPr id="20" name="Rectangle 19">
            <a:extLst>
              <a:ext uri="{FF2B5EF4-FFF2-40B4-BE49-F238E27FC236}">
                <a16:creationId xmlns:a16="http://schemas.microsoft.com/office/drawing/2014/main" id="{364210EB-9D1B-7E42-978B-D54156F318C8}"/>
              </a:ext>
            </a:extLst>
          </p:cNvPr>
          <p:cNvSpPr/>
          <p:nvPr/>
        </p:nvSpPr>
        <p:spPr>
          <a:xfrm>
            <a:off x="8354089" y="2726634"/>
            <a:ext cx="914400" cy="613520"/>
          </a:xfrm>
          <a:prstGeom prst="rect">
            <a:avLst/>
          </a:prstGeom>
          <a:solidFill>
            <a:schemeClr val="accent3">
              <a:lumMod val="20000"/>
              <a:lumOff val="80000"/>
            </a:schemeClr>
          </a:solidFill>
          <a:ln w="12700" algn="ctr">
            <a:solidFill>
              <a:schemeClr val="accent6"/>
            </a:solidFill>
            <a:prstDash val="solid"/>
            <a:miter lim="800000"/>
            <a:headEnd type="none" w="sm" len="sm"/>
            <a:tailEnd type="none" w="sm" len="sm"/>
          </a:ln>
        </p:spPr>
        <p:txBody>
          <a:bodyPr wrap="square" lIns="0" tIns="0" rIns="0" bIns="0" anchor="ctr"/>
          <a:lstStyle/>
          <a:p>
            <a:pPr algn="ctr"/>
            <a:r>
              <a:rPr lang="en-US" sz="1000"/>
              <a:t>ECPaaS Test</a:t>
            </a:r>
          </a:p>
        </p:txBody>
      </p:sp>
      <p:sp>
        <p:nvSpPr>
          <p:cNvPr id="21" name="Rectangle 20">
            <a:extLst>
              <a:ext uri="{FF2B5EF4-FFF2-40B4-BE49-F238E27FC236}">
                <a16:creationId xmlns:a16="http://schemas.microsoft.com/office/drawing/2014/main" id="{F1958830-145C-984D-9030-71E69425D5D2}"/>
              </a:ext>
            </a:extLst>
          </p:cNvPr>
          <p:cNvSpPr/>
          <p:nvPr/>
        </p:nvSpPr>
        <p:spPr>
          <a:xfrm>
            <a:off x="10764233" y="2726634"/>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err="1"/>
              <a:t>ECPaaS</a:t>
            </a:r>
            <a:r>
              <a:rPr lang="en-US" sz="1000"/>
              <a:t> Production</a:t>
            </a:r>
          </a:p>
        </p:txBody>
      </p:sp>
      <p:cxnSp>
        <p:nvCxnSpPr>
          <p:cNvPr id="22" name="Straight Connector 74">
            <a:extLst>
              <a:ext uri="{FF2B5EF4-FFF2-40B4-BE49-F238E27FC236}">
                <a16:creationId xmlns:a16="http://schemas.microsoft.com/office/drawing/2014/main" id="{4A0F444D-64E0-4348-9CBD-109983736642}"/>
              </a:ext>
            </a:extLst>
          </p:cNvPr>
          <p:cNvCxnSpPr>
            <a:cxnSpLocks/>
            <a:stCxn id="20" idx="3"/>
            <a:endCxn id="33" idx="1"/>
          </p:cNvCxnSpPr>
          <p:nvPr/>
        </p:nvCxnSpPr>
        <p:spPr>
          <a:xfrm>
            <a:off x="9268489" y="3033394"/>
            <a:ext cx="290672" cy="2986"/>
          </a:xfrm>
          <a:prstGeom prst="bentConnector3">
            <a:avLst>
              <a:gd name="adj1" fmla="val 50000"/>
            </a:avLst>
          </a:prstGeom>
          <a:noFill/>
          <a:ln w="22225" cmpd="sng">
            <a:solidFill>
              <a:srgbClr val="D6D6D6"/>
            </a:solidFill>
            <a:tailEnd type="triangle"/>
          </a:ln>
          <a:effectLst/>
        </p:spPr>
      </p:cxnSp>
      <p:sp>
        <p:nvSpPr>
          <p:cNvPr id="23" name="Rectangle 22">
            <a:extLst>
              <a:ext uri="{FF2B5EF4-FFF2-40B4-BE49-F238E27FC236}">
                <a16:creationId xmlns:a16="http://schemas.microsoft.com/office/drawing/2014/main" id="{343932C0-2353-7C4E-8CE4-C1348C669375}"/>
              </a:ext>
            </a:extLst>
          </p:cNvPr>
          <p:cNvSpPr/>
          <p:nvPr/>
        </p:nvSpPr>
        <p:spPr>
          <a:xfrm>
            <a:off x="3720733" y="4836285"/>
            <a:ext cx="1604838" cy="320098"/>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WS RDS - Postgres</a:t>
            </a:r>
          </a:p>
        </p:txBody>
      </p:sp>
      <p:sp>
        <p:nvSpPr>
          <p:cNvPr id="24" name="Rectangle 23">
            <a:extLst>
              <a:ext uri="{FF2B5EF4-FFF2-40B4-BE49-F238E27FC236}">
                <a16:creationId xmlns:a16="http://schemas.microsoft.com/office/drawing/2014/main" id="{05753340-1ED1-0B45-9528-C8FB88C5B924}"/>
              </a:ext>
            </a:extLst>
          </p:cNvPr>
          <p:cNvSpPr/>
          <p:nvPr/>
        </p:nvSpPr>
        <p:spPr>
          <a:xfrm>
            <a:off x="7091747" y="4853822"/>
            <a:ext cx="2176742" cy="323084"/>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ostgres Dev</a:t>
            </a:r>
          </a:p>
        </p:txBody>
      </p:sp>
      <p:pic>
        <p:nvPicPr>
          <p:cNvPr id="26" name="Picture 25">
            <a:extLst>
              <a:ext uri="{FF2B5EF4-FFF2-40B4-BE49-F238E27FC236}">
                <a16:creationId xmlns:a16="http://schemas.microsoft.com/office/drawing/2014/main" id="{DF61ED40-89BE-014F-B45E-6F84E97C0A6F}"/>
              </a:ext>
            </a:extLst>
          </p:cNvPr>
          <p:cNvPicPr>
            <a:picLocks noChangeAspect="1"/>
          </p:cNvPicPr>
          <p:nvPr/>
        </p:nvPicPr>
        <p:blipFill>
          <a:blip r:embed="rId3"/>
          <a:stretch>
            <a:fillRect/>
          </a:stretch>
        </p:blipFill>
        <p:spPr>
          <a:xfrm>
            <a:off x="5079536" y="5090072"/>
            <a:ext cx="345466" cy="393448"/>
          </a:xfrm>
          <a:prstGeom prst="rect">
            <a:avLst/>
          </a:prstGeom>
        </p:spPr>
      </p:pic>
      <p:pic>
        <p:nvPicPr>
          <p:cNvPr id="27" name="Picture 26">
            <a:extLst>
              <a:ext uri="{FF2B5EF4-FFF2-40B4-BE49-F238E27FC236}">
                <a16:creationId xmlns:a16="http://schemas.microsoft.com/office/drawing/2014/main" id="{BB4B7560-E98C-A645-B027-12441B91B2AA}"/>
              </a:ext>
            </a:extLst>
          </p:cNvPr>
          <p:cNvPicPr>
            <a:picLocks noChangeAspect="1"/>
          </p:cNvPicPr>
          <p:nvPr/>
        </p:nvPicPr>
        <p:blipFill>
          <a:blip r:embed="rId4"/>
          <a:stretch>
            <a:fillRect/>
          </a:stretch>
        </p:blipFill>
        <p:spPr>
          <a:xfrm>
            <a:off x="4827769" y="2153805"/>
            <a:ext cx="326478" cy="393448"/>
          </a:xfrm>
          <a:prstGeom prst="rect">
            <a:avLst/>
          </a:prstGeom>
        </p:spPr>
      </p:pic>
      <p:pic>
        <p:nvPicPr>
          <p:cNvPr id="28" name="Picture 27">
            <a:extLst>
              <a:ext uri="{FF2B5EF4-FFF2-40B4-BE49-F238E27FC236}">
                <a16:creationId xmlns:a16="http://schemas.microsoft.com/office/drawing/2014/main" id="{071ACE07-A71A-4B47-8085-C21CC5129766}"/>
              </a:ext>
            </a:extLst>
          </p:cNvPr>
          <p:cNvPicPr>
            <a:picLocks noChangeAspect="1"/>
          </p:cNvPicPr>
          <p:nvPr/>
        </p:nvPicPr>
        <p:blipFill>
          <a:blip r:embed="rId5"/>
          <a:stretch>
            <a:fillRect/>
          </a:stretch>
        </p:blipFill>
        <p:spPr>
          <a:xfrm>
            <a:off x="9925309" y="1890752"/>
            <a:ext cx="317500" cy="292100"/>
          </a:xfrm>
          <a:prstGeom prst="rect">
            <a:avLst/>
          </a:prstGeom>
        </p:spPr>
      </p:pic>
      <p:sp>
        <p:nvSpPr>
          <p:cNvPr id="30" name="Rectangle 29">
            <a:extLst>
              <a:ext uri="{FF2B5EF4-FFF2-40B4-BE49-F238E27FC236}">
                <a16:creationId xmlns:a16="http://schemas.microsoft.com/office/drawing/2014/main" id="{D422DB41-3AB0-2648-B589-864A6BEEF597}"/>
              </a:ext>
            </a:extLst>
          </p:cNvPr>
          <p:cNvSpPr/>
          <p:nvPr/>
        </p:nvSpPr>
        <p:spPr>
          <a:xfrm>
            <a:off x="10752950" y="4853822"/>
            <a:ext cx="914400" cy="320098"/>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ostgres Production</a:t>
            </a:r>
          </a:p>
        </p:txBody>
      </p:sp>
      <p:sp>
        <p:nvSpPr>
          <p:cNvPr id="33" name="Rectangle 32">
            <a:extLst>
              <a:ext uri="{FF2B5EF4-FFF2-40B4-BE49-F238E27FC236}">
                <a16:creationId xmlns:a16="http://schemas.microsoft.com/office/drawing/2014/main" id="{E6C1EB0B-D6C7-8844-A72A-363F4C64F301}"/>
              </a:ext>
            </a:extLst>
          </p:cNvPr>
          <p:cNvSpPr/>
          <p:nvPr/>
        </p:nvSpPr>
        <p:spPr>
          <a:xfrm>
            <a:off x="9559161" y="2729620"/>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1000"/>
              <a:t>Security Scan</a:t>
            </a:r>
          </a:p>
        </p:txBody>
      </p:sp>
      <p:cxnSp>
        <p:nvCxnSpPr>
          <p:cNvPr id="36" name="Straight Connector 74">
            <a:extLst>
              <a:ext uri="{FF2B5EF4-FFF2-40B4-BE49-F238E27FC236}">
                <a16:creationId xmlns:a16="http://schemas.microsoft.com/office/drawing/2014/main" id="{2503D715-EC65-7947-8142-DBBF9AE9D5E9}"/>
              </a:ext>
            </a:extLst>
          </p:cNvPr>
          <p:cNvCxnSpPr>
            <a:cxnSpLocks/>
            <a:stCxn id="33" idx="3"/>
            <a:endCxn id="21" idx="1"/>
          </p:cNvCxnSpPr>
          <p:nvPr/>
        </p:nvCxnSpPr>
        <p:spPr>
          <a:xfrm flipV="1">
            <a:off x="10473561" y="3033394"/>
            <a:ext cx="290672" cy="2986"/>
          </a:xfrm>
          <a:prstGeom prst="bentConnector3">
            <a:avLst>
              <a:gd name="adj1" fmla="val 50000"/>
            </a:avLst>
          </a:prstGeom>
          <a:noFill/>
          <a:ln w="22225" cmpd="sng">
            <a:solidFill>
              <a:srgbClr val="D6D6D6"/>
            </a:solidFill>
            <a:tailEnd type="triangle"/>
          </a:ln>
          <a:effectLst/>
        </p:spPr>
      </p:cxnSp>
      <p:sp>
        <p:nvSpPr>
          <p:cNvPr id="53" name="Rectangle 52">
            <a:extLst>
              <a:ext uri="{FF2B5EF4-FFF2-40B4-BE49-F238E27FC236}">
                <a16:creationId xmlns:a16="http://schemas.microsoft.com/office/drawing/2014/main" id="{E3DC0D3C-7BDA-9349-A187-4CFBCA7DFEE5}"/>
              </a:ext>
            </a:extLst>
          </p:cNvPr>
          <p:cNvSpPr/>
          <p:nvPr/>
        </p:nvSpPr>
        <p:spPr>
          <a:xfrm>
            <a:off x="2427891" y="2739202"/>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Local Development</a:t>
            </a:r>
          </a:p>
        </p:txBody>
      </p:sp>
      <p:cxnSp>
        <p:nvCxnSpPr>
          <p:cNvPr id="64" name="Straight Connector 74">
            <a:extLst>
              <a:ext uri="{FF2B5EF4-FFF2-40B4-BE49-F238E27FC236}">
                <a16:creationId xmlns:a16="http://schemas.microsoft.com/office/drawing/2014/main" id="{AFA74A32-E6C2-3B4C-A37F-3E8F7FF99091}"/>
              </a:ext>
            </a:extLst>
          </p:cNvPr>
          <p:cNvCxnSpPr>
            <a:cxnSpLocks/>
            <a:stCxn id="53" idx="3"/>
            <a:endCxn id="6" idx="1"/>
          </p:cNvCxnSpPr>
          <p:nvPr/>
        </p:nvCxnSpPr>
        <p:spPr>
          <a:xfrm>
            <a:off x="3342291" y="3045962"/>
            <a:ext cx="723661" cy="0"/>
          </a:xfrm>
          <a:prstGeom prst="straightConnector1">
            <a:avLst/>
          </a:prstGeom>
          <a:noFill/>
          <a:ln w="22225" cmpd="sng">
            <a:solidFill>
              <a:srgbClr val="D6D6D6"/>
            </a:solidFill>
            <a:tailEnd type="triangle"/>
          </a:ln>
          <a:effectLst/>
        </p:spPr>
      </p:cxnSp>
      <p:sp>
        <p:nvSpPr>
          <p:cNvPr id="73" name="TextBox 72">
            <a:extLst>
              <a:ext uri="{FF2B5EF4-FFF2-40B4-BE49-F238E27FC236}">
                <a16:creationId xmlns:a16="http://schemas.microsoft.com/office/drawing/2014/main" id="{01103F7B-1CFB-6844-860B-AEB366E7B385}"/>
              </a:ext>
            </a:extLst>
          </p:cNvPr>
          <p:cNvSpPr txBox="1"/>
          <p:nvPr/>
        </p:nvSpPr>
        <p:spPr>
          <a:xfrm>
            <a:off x="10242809" y="3345913"/>
            <a:ext cx="1204930"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Submit to ECPaaS for deployment</a:t>
            </a:r>
          </a:p>
        </p:txBody>
      </p:sp>
      <p:sp>
        <p:nvSpPr>
          <p:cNvPr id="75" name="TextBox 74">
            <a:extLst>
              <a:ext uri="{FF2B5EF4-FFF2-40B4-BE49-F238E27FC236}">
                <a16:creationId xmlns:a16="http://schemas.microsoft.com/office/drawing/2014/main" id="{1D20A48F-6194-5D40-BAE0-39708E686180}"/>
              </a:ext>
            </a:extLst>
          </p:cNvPr>
          <p:cNvSpPr txBox="1"/>
          <p:nvPr/>
        </p:nvSpPr>
        <p:spPr>
          <a:xfrm>
            <a:off x="3920687" y="5245891"/>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ata / App Team</a:t>
            </a:r>
          </a:p>
          <a:p>
            <a:pPr>
              <a:lnSpc>
                <a:spcPct val="80000"/>
              </a:lnSpc>
              <a:spcBef>
                <a:spcPts val="0"/>
              </a:spcBef>
            </a:pPr>
            <a:r>
              <a:rPr lang="en-US" sz="1100" b="0">
                <a:solidFill>
                  <a:schemeClr val="tx1"/>
                </a:solidFill>
                <a:latin typeface="+mn-lt"/>
              </a:rPr>
              <a:t>Adds new data</a:t>
            </a:r>
          </a:p>
        </p:txBody>
      </p:sp>
      <p:sp>
        <p:nvSpPr>
          <p:cNvPr id="76" name="TextBox 75">
            <a:extLst>
              <a:ext uri="{FF2B5EF4-FFF2-40B4-BE49-F238E27FC236}">
                <a16:creationId xmlns:a16="http://schemas.microsoft.com/office/drawing/2014/main" id="{80FA2994-89D5-F046-A9FE-C07099E0D98A}"/>
              </a:ext>
            </a:extLst>
          </p:cNvPr>
          <p:cNvSpPr txBox="1"/>
          <p:nvPr/>
        </p:nvSpPr>
        <p:spPr>
          <a:xfrm>
            <a:off x="6486784" y="5319804"/>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 Date / App / DevOp Team</a:t>
            </a:r>
          </a:p>
          <a:p>
            <a:pPr>
              <a:lnSpc>
                <a:spcPct val="80000"/>
              </a:lnSpc>
              <a:spcBef>
                <a:spcPts val="0"/>
              </a:spcBef>
            </a:pPr>
            <a:r>
              <a:rPr lang="en-US" sz="1100" b="0">
                <a:solidFill>
                  <a:schemeClr val="tx1"/>
                </a:solidFill>
                <a:latin typeface="+mn-lt"/>
              </a:rPr>
              <a:t>Copies data</a:t>
            </a:r>
          </a:p>
          <a:p>
            <a:pPr>
              <a:lnSpc>
                <a:spcPct val="80000"/>
              </a:lnSpc>
              <a:spcBef>
                <a:spcPts val="0"/>
              </a:spcBef>
            </a:pPr>
            <a:endParaRPr lang="en-US" sz="1100" b="0">
              <a:solidFill>
                <a:schemeClr val="tx1"/>
              </a:solidFill>
              <a:latin typeface="+mn-lt"/>
            </a:endParaRPr>
          </a:p>
        </p:txBody>
      </p:sp>
      <p:sp>
        <p:nvSpPr>
          <p:cNvPr id="77" name="Rectangle 76">
            <a:extLst>
              <a:ext uri="{FF2B5EF4-FFF2-40B4-BE49-F238E27FC236}">
                <a16:creationId xmlns:a16="http://schemas.microsoft.com/office/drawing/2014/main" id="{EEF5EC48-FE02-8C4C-9084-C90BFDF0B99C}"/>
              </a:ext>
            </a:extLst>
          </p:cNvPr>
          <p:cNvSpPr/>
          <p:nvPr/>
        </p:nvSpPr>
        <p:spPr>
          <a:xfrm>
            <a:off x="8320490" y="5531110"/>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Ingestion Service</a:t>
            </a:r>
          </a:p>
        </p:txBody>
      </p:sp>
      <p:pic>
        <p:nvPicPr>
          <p:cNvPr id="79" name="Picture 78">
            <a:extLst>
              <a:ext uri="{FF2B5EF4-FFF2-40B4-BE49-F238E27FC236}">
                <a16:creationId xmlns:a16="http://schemas.microsoft.com/office/drawing/2014/main" id="{FEB86B5C-7F30-C747-8453-3130781A3DC3}"/>
              </a:ext>
            </a:extLst>
          </p:cNvPr>
          <p:cNvPicPr>
            <a:picLocks noChangeAspect="1"/>
          </p:cNvPicPr>
          <p:nvPr/>
        </p:nvPicPr>
        <p:blipFill>
          <a:blip r:embed="rId6"/>
          <a:stretch>
            <a:fillRect/>
          </a:stretch>
        </p:blipFill>
        <p:spPr>
          <a:xfrm>
            <a:off x="9260637" y="5769206"/>
            <a:ext cx="375714" cy="406595"/>
          </a:xfrm>
          <a:prstGeom prst="rect">
            <a:avLst/>
          </a:prstGeom>
        </p:spPr>
      </p:pic>
      <p:cxnSp>
        <p:nvCxnSpPr>
          <p:cNvPr id="80" name="Straight Connector 74">
            <a:extLst>
              <a:ext uri="{FF2B5EF4-FFF2-40B4-BE49-F238E27FC236}">
                <a16:creationId xmlns:a16="http://schemas.microsoft.com/office/drawing/2014/main" id="{71DDA851-0751-7A49-8341-63097EE471D3}"/>
              </a:ext>
            </a:extLst>
          </p:cNvPr>
          <p:cNvCxnSpPr>
            <a:cxnSpLocks/>
            <a:stCxn id="24" idx="0"/>
            <a:endCxn id="23" idx="0"/>
          </p:cNvCxnSpPr>
          <p:nvPr/>
        </p:nvCxnSpPr>
        <p:spPr>
          <a:xfrm rot="16200000" flipV="1">
            <a:off x="6342867" y="3016571"/>
            <a:ext cx="17537" cy="3656966"/>
          </a:xfrm>
          <a:prstGeom prst="bentConnector3">
            <a:avLst>
              <a:gd name="adj1" fmla="val 1403530"/>
            </a:avLst>
          </a:prstGeom>
          <a:noFill/>
          <a:ln w="22225" cmpd="sng">
            <a:solidFill>
              <a:srgbClr val="FDD300"/>
            </a:solidFill>
            <a:tailEnd type="triangle"/>
          </a:ln>
          <a:effectLst/>
        </p:spPr>
      </p:cxnSp>
      <p:sp>
        <p:nvSpPr>
          <p:cNvPr id="83" name="TextBox 82">
            <a:extLst>
              <a:ext uri="{FF2B5EF4-FFF2-40B4-BE49-F238E27FC236}">
                <a16:creationId xmlns:a16="http://schemas.microsoft.com/office/drawing/2014/main" id="{74411139-3E4B-9642-B97E-20F088FEEEA5}"/>
              </a:ext>
            </a:extLst>
          </p:cNvPr>
          <p:cNvSpPr txBox="1"/>
          <p:nvPr/>
        </p:nvSpPr>
        <p:spPr>
          <a:xfrm>
            <a:off x="5671681" y="4369090"/>
            <a:ext cx="1560119" cy="2639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000" b="0" i="1">
                <a:solidFill>
                  <a:schemeClr val="bg1">
                    <a:lumMod val="50000"/>
                  </a:schemeClr>
                </a:solidFill>
                <a:latin typeface="+mn-lt"/>
              </a:rPr>
              <a:t>Copy Ingested Data to Deloitte</a:t>
            </a:r>
          </a:p>
        </p:txBody>
      </p:sp>
      <p:cxnSp>
        <p:nvCxnSpPr>
          <p:cNvPr id="85" name="Straight Connector 74">
            <a:extLst>
              <a:ext uri="{FF2B5EF4-FFF2-40B4-BE49-F238E27FC236}">
                <a16:creationId xmlns:a16="http://schemas.microsoft.com/office/drawing/2014/main" id="{008DDFE9-C686-1141-8BF1-C70D347B935C}"/>
              </a:ext>
            </a:extLst>
          </p:cNvPr>
          <p:cNvCxnSpPr>
            <a:cxnSpLocks/>
            <a:stCxn id="77" idx="0"/>
            <a:endCxn id="24" idx="2"/>
          </p:cNvCxnSpPr>
          <p:nvPr/>
        </p:nvCxnSpPr>
        <p:spPr>
          <a:xfrm rot="16200000" flipV="1">
            <a:off x="8301802" y="5055222"/>
            <a:ext cx="354204" cy="597572"/>
          </a:xfrm>
          <a:prstGeom prst="bentConnector3">
            <a:avLst>
              <a:gd name="adj1" fmla="val 50000"/>
            </a:avLst>
          </a:prstGeom>
          <a:noFill/>
          <a:ln w="22225" cmpd="sng">
            <a:solidFill>
              <a:srgbClr val="D6D6D6"/>
            </a:solidFill>
            <a:prstDash val="sysDash"/>
            <a:tailEnd type="triangle"/>
          </a:ln>
          <a:effectLst/>
        </p:spPr>
      </p:cxnSp>
      <p:cxnSp>
        <p:nvCxnSpPr>
          <p:cNvPr id="94" name="Straight Connector 74">
            <a:extLst>
              <a:ext uri="{FF2B5EF4-FFF2-40B4-BE49-F238E27FC236}">
                <a16:creationId xmlns:a16="http://schemas.microsoft.com/office/drawing/2014/main" id="{9B63AE30-F168-3542-AFC8-B66F1B1EB809}"/>
              </a:ext>
            </a:extLst>
          </p:cNvPr>
          <p:cNvCxnSpPr>
            <a:cxnSpLocks/>
            <a:stCxn id="23" idx="3"/>
            <a:endCxn id="24" idx="1"/>
          </p:cNvCxnSpPr>
          <p:nvPr/>
        </p:nvCxnSpPr>
        <p:spPr>
          <a:xfrm>
            <a:off x="5325571" y="4996334"/>
            <a:ext cx="1766176" cy="0"/>
          </a:xfrm>
          <a:prstGeom prst="bentConnector3">
            <a:avLst>
              <a:gd name="adj1" fmla="val 50000"/>
            </a:avLst>
          </a:prstGeom>
          <a:noFill/>
          <a:ln w="22225" cmpd="sng">
            <a:solidFill>
              <a:srgbClr val="D6D6D6"/>
            </a:solidFill>
            <a:tailEnd type="triangle"/>
          </a:ln>
          <a:effectLst/>
        </p:spPr>
      </p:cxnSp>
      <p:cxnSp>
        <p:nvCxnSpPr>
          <p:cNvPr id="97" name="Straight Connector 74">
            <a:extLst>
              <a:ext uri="{FF2B5EF4-FFF2-40B4-BE49-F238E27FC236}">
                <a16:creationId xmlns:a16="http://schemas.microsoft.com/office/drawing/2014/main" id="{0566378F-203A-8242-B95A-3ADF0AB09F25}"/>
              </a:ext>
            </a:extLst>
          </p:cNvPr>
          <p:cNvCxnSpPr>
            <a:cxnSpLocks/>
            <a:stCxn id="24" idx="3"/>
            <a:endCxn id="30" idx="1"/>
          </p:cNvCxnSpPr>
          <p:nvPr/>
        </p:nvCxnSpPr>
        <p:spPr>
          <a:xfrm flipV="1">
            <a:off x="9268489" y="5013871"/>
            <a:ext cx="1484461" cy="1493"/>
          </a:xfrm>
          <a:prstGeom prst="bentConnector3">
            <a:avLst>
              <a:gd name="adj1" fmla="val 50000"/>
            </a:avLst>
          </a:prstGeom>
          <a:noFill/>
          <a:ln w="22225" cmpd="sng">
            <a:solidFill>
              <a:srgbClr val="D6D6D6"/>
            </a:solidFill>
            <a:tailEnd type="triangle"/>
          </a:ln>
          <a:effectLst/>
        </p:spPr>
      </p:cxnSp>
      <p:sp>
        <p:nvSpPr>
          <p:cNvPr id="126" name="TextBox 125">
            <a:extLst>
              <a:ext uri="{FF2B5EF4-FFF2-40B4-BE49-F238E27FC236}">
                <a16:creationId xmlns:a16="http://schemas.microsoft.com/office/drawing/2014/main" id="{7A97EF4C-5050-514A-9654-A0C1A56C57F7}"/>
              </a:ext>
            </a:extLst>
          </p:cNvPr>
          <p:cNvSpPr txBox="1"/>
          <p:nvPr/>
        </p:nvSpPr>
        <p:spPr>
          <a:xfrm>
            <a:off x="7046701" y="3312509"/>
            <a:ext cx="100919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Op Config &amp; Deploy</a:t>
            </a:r>
          </a:p>
        </p:txBody>
      </p:sp>
      <p:sp>
        <p:nvSpPr>
          <p:cNvPr id="127" name="TextBox 126">
            <a:extLst>
              <a:ext uri="{FF2B5EF4-FFF2-40B4-BE49-F238E27FC236}">
                <a16:creationId xmlns:a16="http://schemas.microsoft.com/office/drawing/2014/main" id="{4802BAB3-7F0F-744D-95F2-ADCEADD80805}"/>
              </a:ext>
            </a:extLst>
          </p:cNvPr>
          <p:cNvSpPr txBox="1"/>
          <p:nvPr/>
        </p:nvSpPr>
        <p:spPr>
          <a:xfrm>
            <a:off x="8302931" y="3327776"/>
            <a:ext cx="100919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Op Config &amp; Deploy</a:t>
            </a:r>
          </a:p>
        </p:txBody>
      </p:sp>
      <p:sp>
        <p:nvSpPr>
          <p:cNvPr id="128" name="Rectangle 127">
            <a:extLst>
              <a:ext uri="{FF2B5EF4-FFF2-40B4-BE49-F238E27FC236}">
                <a16:creationId xmlns:a16="http://schemas.microsoft.com/office/drawing/2014/main" id="{7FB8D9AA-B8D8-6448-87FD-20250E80D346}"/>
              </a:ext>
            </a:extLst>
          </p:cNvPr>
          <p:cNvSpPr/>
          <p:nvPr/>
        </p:nvSpPr>
        <p:spPr bwMode="gray">
          <a:xfrm>
            <a:off x="3608752" y="1374479"/>
            <a:ext cx="1985841" cy="491779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Deloitte AWS</a:t>
            </a:r>
          </a:p>
        </p:txBody>
      </p:sp>
      <p:sp>
        <p:nvSpPr>
          <p:cNvPr id="131" name="Rectangle 130">
            <a:extLst>
              <a:ext uri="{FF2B5EF4-FFF2-40B4-BE49-F238E27FC236}">
                <a16:creationId xmlns:a16="http://schemas.microsoft.com/office/drawing/2014/main" id="{6D0B2F07-98BC-484C-8E94-0A7D88BB3C64}"/>
              </a:ext>
            </a:extLst>
          </p:cNvPr>
          <p:cNvSpPr/>
          <p:nvPr/>
        </p:nvSpPr>
        <p:spPr bwMode="gray">
          <a:xfrm>
            <a:off x="10608957" y="1374479"/>
            <a:ext cx="1311696" cy="491779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 Cloud</a:t>
            </a:r>
          </a:p>
        </p:txBody>
      </p:sp>
      <p:sp>
        <p:nvSpPr>
          <p:cNvPr id="145" name="Rectangle 144">
            <a:extLst>
              <a:ext uri="{FF2B5EF4-FFF2-40B4-BE49-F238E27FC236}">
                <a16:creationId xmlns:a16="http://schemas.microsoft.com/office/drawing/2014/main" id="{3E8AFB6B-DC07-2242-8704-09BC7C4933D2}"/>
              </a:ext>
            </a:extLst>
          </p:cNvPr>
          <p:cNvSpPr/>
          <p:nvPr/>
        </p:nvSpPr>
        <p:spPr>
          <a:xfrm>
            <a:off x="2447992" y="468022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ata Sources</a:t>
            </a:r>
          </a:p>
        </p:txBody>
      </p:sp>
      <p:cxnSp>
        <p:nvCxnSpPr>
          <p:cNvPr id="147" name="Straight Connector 74">
            <a:extLst>
              <a:ext uri="{FF2B5EF4-FFF2-40B4-BE49-F238E27FC236}">
                <a16:creationId xmlns:a16="http://schemas.microsoft.com/office/drawing/2014/main" id="{800E7938-2F7B-6D42-A984-07E3A19627CE}"/>
              </a:ext>
            </a:extLst>
          </p:cNvPr>
          <p:cNvCxnSpPr>
            <a:cxnSpLocks/>
            <a:stCxn id="145" idx="3"/>
            <a:endCxn id="23" idx="1"/>
          </p:cNvCxnSpPr>
          <p:nvPr/>
        </p:nvCxnSpPr>
        <p:spPr>
          <a:xfrm>
            <a:off x="3362392" y="4986983"/>
            <a:ext cx="358341" cy="0"/>
          </a:xfrm>
          <a:prstGeom prst="bentConnector3">
            <a:avLst>
              <a:gd name="adj1" fmla="val 50000"/>
            </a:avLst>
          </a:prstGeom>
          <a:noFill/>
          <a:ln w="22225" cmpd="sng">
            <a:solidFill>
              <a:srgbClr val="D6D6D6"/>
            </a:solidFill>
            <a:tailEnd type="triangle"/>
          </a:ln>
          <a:effectLst/>
        </p:spPr>
      </p:cxnSp>
      <p:cxnSp>
        <p:nvCxnSpPr>
          <p:cNvPr id="150" name="Straight Connector 74">
            <a:extLst>
              <a:ext uri="{FF2B5EF4-FFF2-40B4-BE49-F238E27FC236}">
                <a16:creationId xmlns:a16="http://schemas.microsoft.com/office/drawing/2014/main" id="{9054AA54-1474-3343-A484-0C6A00A9EF43}"/>
              </a:ext>
            </a:extLst>
          </p:cNvPr>
          <p:cNvCxnSpPr>
            <a:cxnSpLocks/>
            <a:stCxn id="145" idx="2"/>
            <a:endCxn id="77" idx="1"/>
          </p:cNvCxnSpPr>
          <p:nvPr/>
        </p:nvCxnSpPr>
        <p:spPr>
          <a:xfrm rot="16200000" flipH="1">
            <a:off x="5340778" y="2858157"/>
            <a:ext cx="544127" cy="5415298"/>
          </a:xfrm>
          <a:prstGeom prst="bentConnector2">
            <a:avLst/>
          </a:prstGeom>
          <a:noFill/>
          <a:ln w="22225" cmpd="sng">
            <a:solidFill>
              <a:srgbClr val="D6D6D6"/>
            </a:solidFill>
            <a:tailEnd type="triangle"/>
          </a:ln>
          <a:effectLst/>
        </p:spPr>
      </p:cxnSp>
      <p:sp>
        <p:nvSpPr>
          <p:cNvPr id="46" name="TextBox 45">
            <a:extLst>
              <a:ext uri="{FF2B5EF4-FFF2-40B4-BE49-F238E27FC236}">
                <a16:creationId xmlns:a16="http://schemas.microsoft.com/office/drawing/2014/main" id="{3DD6E6F6-7978-A745-96B6-413A8E752BEB}"/>
              </a:ext>
            </a:extLst>
          </p:cNvPr>
          <p:cNvSpPr txBox="1"/>
          <p:nvPr/>
        </p:nvSpPr>
        <p:spPr>
          <a:xfrm>
            <a:off x="8221930" y="4476599"/>
            <a:ext cx="1703379" cy="520773"/>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 is used by Dev/Test Apps</a:t>
            </a:r>
          </a:p>
          <a:p>
            <a:pPr>
              <a:lnSpc>
                <a:spcPct val="80000"/>
              </a:lnSpc>
              <a:spcBef>
                <a:spcPts val="0"/>
              </a:spcBef>
            </a:pPr>
            <a:endParaRPr lang="en-US" sz="1100" b="0">
              <a:solidFill>
                <a:schemeClr val="tx1"/>
              </a:solidFill>
              <a:latin typeface="+mn-lt"/>
            </a:endParaRPr>
          </a:p>
        </p:txBody>
      </p:sp>
      <p:sp>
        <p:nvSpPr>
          <p:cNvPr id="48" name="Rectangle 47">
            <a:extLst>
              <a:ext uri="{FF2B5EF4-FFF2-40B4-BE49-F238E27FC236}">
                <a16:creationId xmlns:a16="http://schemas.microsoft.com/office/drawing/2014/main" id="{0CDBCF5C-8275-A441-AB68-45A14058D188}"/>
              </a:ext>
            </a:extLst>
          </p:cNvPr>
          <p:cNvSpPr/>
          <p:nvPr/>
        </p:nvSpPr>
        <p:spPr bwMode="gray">
          <a:xfrm>
            <a:off x="5734211" y="1374479"/>
            <a:ext cx="4810977" cy="491779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a:t>
            </a:r>
          </a:p>
        </p:txBody>
      </p:sp>
    </p:spTree>
    <p:extLst>
      <p:ext uri="{BB962C8B-B14F-4D97-AF65-F5344CB8AC3E}">
        <p14:creationId xmlns:p14="http://schemas.microsoft.com/office/powerpoint/2010/main" val="1553481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496F3D1-9F54-414E-9E4A-CF185921593A}"/>
              </a:ext>
            </a:extLst>
          </p:cNvPr>
          <p:cNvSpPr>
            <a:spLocks noGrp="1"/>
          </p:cNvSpPr>
          <p:nvPr>
            <p:ph type="body" sz="quarter" idx="14"/>
          </p:nvPr>
        </p:nvSpPr>
        <p:spPr>
          <a:xfrm>
            <a:off x="469900" y="1494013"/>
            <a:ext cx="1876510" cy="4650617"/>
          </a:xfrm>
        </p:spPr>
        <p:txBody>
          <a:bodyPr/>
          <a:lstStyle/>
          <a:p>
            <a:r>
              <a:rPr lang="en-US" sz="1100" b="1"/>
              <a:t>Pain Points</a:t>
            </a:r>
          </a:p>
          <a:p>
            <a:pPr marL="228600" indent="-228600">
              <a:buFont typeface="+mj-lt"/>
              <a:buAutoNum type="arabicPeriod"/>
            </a:pPr>
            <a:r>
              <a:rPr lang="en-US" sz="1100"/>
              <a:t>Manual Deployments result in server troubleshooting and overhead</a:t>
            </a:r>
          </a:p>
          <a:p>
            <a:pPr marL="228600" indent="-228600">
              <a:buFont typeface="+mj-lt"/>
              <a:buAutoNum type="arabicPeriod"/>
            </a:pPr>
            <a:r>
              <a:rPr lang="en-US" sz="1100"/>
              <a:t>Develop must copy code and synchronize two repositories</a:t>
            </a:r>
          </a:p>
          <a:p>
            <a:pPr marL="228600" indent="-228600">
              <a:buFont typeface="+mj-lt"/>
              <a:buAutoNum type="arabicPeriod"/>
            </a:pPr>
            <a:r>
              <a:rPr lang="en-US" sz="1100"/>
              <a:t>Developer/Data team has to move data from Deloitte to CDC network and also ensure that any additional CDC data is replicated to Deloitte</a:t>
            </a:r>
          </a:p>
          <a:p>
            <a:pPr marL="228600" indent="-228600">
              <a:buFont typeface="+mj-lt"/>
              <a:buAutoNum type="arabicPeriod"/>
            </a:pPr>
            <a:r>
              <a:rPr lang="en-US" sz="1100"/>
              <a:t>Security Scan not effectively used within development iterations resulting in bottleneck for production</a:t>
            </a:r>
          </a:p>
          <a:p>
            <a:pPr marL="228600" indent="-228600">
              <a:buFont typeface="+mj-lt"/>
              <a:buAutoNum type="arabicPeriod"/>
            </a:pPr>
            <a:r>
              <a:rPr lang="en-US" sz="1100"/>
              <a:t>App must be deployed and maintained in Test environment, despite low usage and similar version as DEV</a:t>
            </a:r>
          </a:p>
          <a:p>
            <a:endParaRPr lang="en-US" sz="1100"/>
          </a:p>
        </p:txBody>
      </p:sp>
      <p:sp>
        <p:nvSpPr>
          <p:cNvPr id="2" name="Title 1">
            <a:extLst>
              <a:ext uri="{FF2B5EF4-FFF2-40B4-BE49-F238E27FC236}">
                <a16:creationId xmlns:a16="http://schemas.microsoft.com/office/drawing/2014/main" id="{6803BF32-346D-D848-BCA0-2E76713755FF}"/>
              </a:ext>
            </a:extLst>
          </p:cNvPr>
          <p:cNvSpPr>
            <a:spLocks noGrp="1"/>
          </p:cNvSpPr>
          <p:nvPr>
            <p:ph type="title"/>
          </p:nvPr>
        </p:nvSpPr>
        <p:spPr>
          <a:xfrm>
            <a:off x="397360" y="582026"/>
            <a:ext cx="6704684" cy="451866"/>
          </a:xfrm>
        </p:spPr>
        <p:txBody>
          <a:bodyPr/>
          <a:lstStyle/>
          <a:p>
            <a:r>
              <a:rPr lang="en-US" sz="3600"/>
              <a:t>Operations Lifecycle: Current State</a:t>
            </a:r>
          </a:p>
        </p:txBody>
      </p:sp>
      <p:sp>
        <p:nvSpPr>
          <p:cNvPr id="6" name="Rectangle 5">
            <a:extLst>
              <a:ext uri="{FF2B5EF4-FFF2-40B4-BE49-F238E27FC236}">
                <a16:creationId xmlns:a16="http://schemas.microsoft.com/office/drawing/2014/main" id="{9EE36527-2B7C-D841-8BBA-39A4A301218D}"/>
              </a:ext>
            </a:extLst>
          </p:cNvPr>
          <p:cNvSpPr/>
          <p:nvPr/>
        </p:nvSpPr>
        <p:spPr>
          <a:xfrm>
            <a:off x="4065952" y="2739202"/>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Self-Hosted GitLab</a:t>
            </a:r>
          </a:p>
        </p:txBody>
      </p:sp>
      <p:sp>
        <p:nvSpPr>
          <p:cNvPr id="7" name="Rectangle 6">
            <a:extLst>
              <a:ext uri="{FF2B5EF4-FFF2-40B4-BE49-F238E27FC236}">
                <a16:creationId xmlns:a16="http://schemas.microsoft.com/office/drawing/2014/main" id="{7EC2D5C7-3065-C042-B369-CA2C2309D512}"/>
              </a:ext>
            </a:extLst>
          </p:cNvPr>
          <p:cNvSpPr/>
          <p:nvPr/>
        </p:nvSpPr>
        <p:spPr>
          <a:xfrm>
            <a:off x="4065952" y="171495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EC2 Deployment</a:t>
            </a:r>
          </a:p>
        </p:txBody>
      </p:sp>
      <p:sp>
        <p:nvSpPr>
          <p:cNvPr id="9" name="Rectangle 8">
            <a:extLst>
              <a:ext uri="{FF2B5EF4-FFF2-40B4-BE49-F238E27FC236}">
                <a16:creationId xmlns:a16="http://schemas.microsoft.com/office/drawing/2014/main" id="{FC47455C-BE5E-9B46-A8F2-33D49C655F92}"/>
              </a:ext>
            </a:extLst>
          </p:cNvPr>
          <p:cNvSpPr/>
          <p:nvPr/>
        </p:nvSpPr>
        <p:spPr>
          <a:xfrm>
            <a:off x="7102045" y="271425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ECPaaS Dev</a:t>
            </a:r>
          </a:p>
        </p:txBody>
      </p:sp>
      <p:cxnSp>
        <p:nvCxnSpPr>
          <p:cNvPr id="10" name="Straight Connector 74">
            <a:extLst>
              <a:ext uri="{FF2B5EF4-FFF2-40B4-BE49-F238E27FC236}">
                <a16:creationId xmlns:a16="http://schemas.microsoft.com/office/drawing/2014/main" id="{EDAE3E5F-E9E0-6849-BA0C-E0F499A17093}"/>
              </a:ext>
            </a:extLst>
          </p:cNvPr>
          <p:cNvCxnSpPr>
            <a:cxnSpLocks/>
            <a:stCxn id="6" idx="3"/>
            <a:endCxn id="17" idx="1"/>
          </p:cNvCxnSpPr>
          <p:nvPr/>
        </p:nvCxnSpPr>
        <p:spPr>
          <a:xfrm flipV="1">
            <a:off x="4980352" y="3033394"/>
            <a:ext cx="916621" cy="0"/>
          </a:xfrm>
          <a:prstGeom prst="straightConnector1">
            <a:avLst/>
          </a:prstGeom>
          <a:noFill/>
          <a:ln w="22225" cmpd="sng">
            <a:solidFill>
              <a:srgbClr val="FDD300"/>
            </a:solidFill>
            <a:tailEnd type="triangle"/>
          </a:ln>
          <a:effectLst/>
        </p:spPr>
      </p:cxnSp>
      <p:sp>
        <p:nvSpPr>
          <p:cNvPr id="12" name="TextBox 11">
            <a:extLst>
              <a:ext uri="{FF2B5EF4-FFF2-40B4-BE49-F238E27FC236}">
                <a16:creationId xmlns:a16="http://schemas.microsoft.com/office/drawing/2014/main" id="{4793E1DF-A8BA-4B45-814D-CE4487530B8C}"/>
              </a:ext>
            </a:extLst>
          </p:cNvPr>
          <p:cNvSpPr txBox="1"/>
          <p:nvPr/>
        </p:nvSpPr>
        <p:spPr>
          <a:xfrm>
            <a:off x="3931970" y="3447619"/>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eloper</a:t>
            </a:r>
          </a:p>
          <a:p>
            <a:pPr>
              <a:lnSpc>
                <a:spcPct val="80000"/>
              </a:lnSpc>
              <a:spcBef>
                <a:spcPts val="0"/>
              </a:spcBef>
            </a:pPr>
            <a:r>
              <a:rPr lang="en-US" sz="1100" b="0">
                <a:solidFill>
                  <a:schemeClr val="tx1"/>
                </a:solidFill>
                <a:latin typeface="+mn-lt"/>
              </a:rPr>
              <a:t>Submits new code changes</a:t>
            </a:r>
          </a:p>
        </p:txBody>
      </p:sp>
      <p:sp>
        <p:nvSpPr>
          <p:cNvPr id="13" name="Left Brace 12">
            <a:extLst>
              <a:ext uri="{FF2B5EF4-FFF2-40B4-BE49-F238E27FC236}">
                <a16:creationId xmlns:a16="http://schemas.microsoft.com/office/drawing/2014/main" id="{35C1F822-75BF-944C-B30D-BAEED58529DB}"/>
              </a:ext>
            </a:extLst>
          </p:cNvPr>
          <p:cNvSpPr/>
          <p:nvPr/>
        </p:nvSpPr>
        <p:spPr>
          <a:xfrm rot="16200000" flipH="1" flipV="1">
            <a:off x="9231194" y="180028"/>
            <a:ext cx="271297" cy="4529596"/>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14" name="TextBox 13">
            <a:extLst>
              <a:ext uri="{FF2B5EF4-FFF2-40B4-BE49-F238E27FC236}">
                <a16:creationId xmlns:a16="http://schemas.microsoft.com/office/drawing/2014/main" id="{D9574139-CC82-2D45-8309-DFE356415800}"/>
              </a:ext>
            </a:extLst>
          </p:cNvPr>
          <p:cNvSpPr txBox="1"/>
          <p:nvPr/>
        </p:nvSpPr>
        <p:spPr>
          <a:xfrm>
            <a:off x="8538007" y="1856259"/>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CDC ECPaaS 3.X</a:t>
            </a:r>
          </a:p>
        </p:txBody>
      </p:sp>
      <p:cxnSp>
        <p:nvCxnSpPr>
          <p:cNvPr id="15" name="Straight Connector 74">
            <a:extLst>
              <a:ext uri="{FF2B5EF4-FFF2-40B4-BE49-F238E27FC236}">
                <a16:creationId xmlns:a16="http://schemas.microsoft.com/office/drawing/2014/main" id="{B2FB466C-6DB7-AA43-BCCB-F6EC0AF9A2E3}"/>
              </a:ext>
            </a:extLst>
          </p:cNvPr>
          <p:cNvCxnSpPr>
            <a:cxnSpLocks/>
            <a:stCxn id="6" idx="0"/>
            <a:endCxn id="7" idx="2"/>
          </p:cNvCxnSpPr>
          <p:nvPr/>
        </p:nvCxnSpPr>
        <p:spPr>
          <a:xfrm rot="5400000" flipH="1" flipV="1">
            <a:off x="4324138" y="2540188"/>
            <a:ext cx="410729" cy="0"/>
          </a:xfrm>
          <a:prstGeom prst="bentConnector3">
            <a:avLst>
              <a:gd name="adj1" fmla="val 50000"/>
            </a:avLst>
          </a:prstGeom>
          <a:noFill/>
          <a:ln w="22225" cmpd="sng">
            <a:solidFill>
              <a:srgbClr val="D6D6D6"/>
            </a:solidFill>
            <a:prstDash val="sysDash"/>
            <a:tailEnd type="triangle"/>
          </a:ln>
          <a:effectLst/>
        </p:spPr>
      </p:cxnSp>
      <p:sp>
        <p:nvSpPr>
          <p:cNvPr id="16" name="TextBox 15">
            <a:extLst>
              <a:ext uri="{FF2B5EF4-FFF2-40B4-BE49-F238E27FC236}">
                <a16:creationId xmlns:a16="http://schemas.microsoft.com/office/drawing/2014/main" id="{291918C6-3E93-D843-939D-63ADA0C0955E}"/>
              </a:ext>
            </a:extLst>
          </p:cNvPr>
          <p:cNvSpPr txBox="1"/>
          <p:nvPr/>
        </p:nvSpPr>
        <p:spPr>
          <a:xfrm>
            <a:off x="5703130" y="3440997"/>
            <a:ext cx="1295616" cy="320098"/>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000" b="0" i="1">
                <a:solidFill>
                  <a:schemeClr val="bg1">
                    <a:lumMod val="50000"/>
                  </a:schemeClr>
                </a:solidFill>
                <a:latin typeface="+mn-lt"/>
              </a:rPr>
              <a:t>Copy Repository to CDC</a:t>
            </a:r>
          </a:p>
        </p:txBody>
      </p:sp>
      <p:sp>
        <p:nvSpPr>
          <p:cNvPr id="17" name="Rectangle 16">
            <a:extLst>
              <a:ext uri="{FF2B5EF4-FFF2-40B4-BE49-F238E27FC236}">
                <a16:creationId xmlns:a16="http://schemas.microsoft.com/office/drawing/2014/main" id="{77B6C6D4-65BE-7F48-B2CB-57B2B02D15B5}"/>
              </a:ext>
            </a:extLst>
          </p:cNvPr>
          <p:cNvSpPr/>
          <p:nvPr/>
        </p:nvSpPr>
        <p:spPr>
          <a:xfrm>
            <a:off x="5896973" y="2726634"/>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1000"/>
              <a:t>CDC Enterprise GitLab</a:t>
            </a:r>
          </a:p>
        </p:txBody>
      </p:sp>
      <p:cxnSp>
        <p:nvCxnSpPr>
          <p:cNvPr id="18" name="Straight Connector 74">
            <a:extLst>
              <a:ext uri="{FF2B5EF4-FFF2-40B4-BE49-F238E27FC236}">
                <a16:creationId xmlns:a16="http://schemas.microsoft.com/office/drawing/2014/main" id="{6BBA5B77-D378-8545-9C78-2F4CD19A3304}"/>
              </a:ext>
            </a:extLst>
          </p:cNvPr>
          <p:cNvCxnSpPr>
            <a:cxnSpLocks/>
            <a:stCxn id="9" idx="3"/>
            <a:endCxn id="20" idx="1"/>
          </p:cNvCxnSpPr>
          <p:nvPr/>
        </p:nvCxnSpPr>
        <p:spPr>
          <a:xfrm>
            <a:off x="8016445" y="3021016"/>
            <a:ext cx="337644" cy="0"/>
          </a:xfrm>
          <a:prstGeom prst="straightConnector1">
            <a:avLst/>
          </a:prstGeom>
          <a:noFill/>
          <a:ln w="22225" cmpd="sng">
            <a:solidFill>
              <a:srgbClr val="D6D6D6"/>
            </a:solidFill>
            <a:tailEnd type="triangle"/>
          </a:ln>
          <a:effectLst/>
        </p:spPr>
      </p:cxnSp>
      <p:cxnSp>
        <p:nvCxnSpPr>
          <p:cNvPr id="19" name="Straight Connector 74">
            <a:extLst>
              <a:ext uri="{FF2B5EF4-FFF2-40B4-BE49-F238E27FC236}">
                <a16:creationId xmlns:a16="http://schemas.microsoft.com/office/drawing/2014/main" id="{927F280B-FF39-974E-A326-28732C9C28C2}"/>
              </a:ext>
            </a:extLst>
          </p:cNvPr>
          <p:cNvCxnSpPr>
            <a:cxnSpLocks/>
            <a:stCxn id="17" idx="3"/>
            <a:endCxn id="9" idx="1"/>
          </p:cNvCxnSpPr>
          <p:nvPr/>
        </p:nvCxnSpPr>
        <p:spPr>
          <a:xfrm flipV="1">
            <a:off x="6811373" y="3021016"/>
            <a:ext cx="290672" cy="0"/>
          </a:xfrm>
          <a:prstGeom prst="straightConnector1">
            <a:avLst/>
          </a:prstGeom>
          <a:noFill/>
          <a:ln w="22225" cmpd="sng">
            <a:solidFill>
              <a:srgbClr val="D6D6D6"/>
            </a:solidFill>
            <a:tailEnd type="triangle"/>
          </a:ln>
          <a:effectLst/>
        </p:spPr>
      </p:cxnSp>
      <p:sp>
        <p:nvSpPr>
          <p:cNvPr id="20" name="Rectangle 19">
            <a:extLst>
              <a:ext uri="{FF2B5EF4-FFF2-40B4-BE49-F238E27FC236}">
                <a16:creationId xmlns:a16="http://schemas.microsoft.com/office/drawing/2014/main" id="{364210EB-9D1B-7E42-978B-D54156F318C8}"/>
              </a:ext>
            </a:extLst>
          </p:cNvPr>
          <p:cNvSpPr/>
          <p:nvPr/>
        </p:nvSpPr>
        <p:spPr>
          <a:xfrm>
            <a:off x="8354089" y="2726634"/>
            <a:ext cx="914400" cy="613520"/>
          </a:xfrm>
          <a:prstGeom prst="rect">
            <a:avLst/>
          </a:prstGeom>
          <a:solidFill>
            <a:schemeClr val="accent3">
              <a:lumMod val="20000"/>
              <a:lumOff val="80000"/>
            </a:schemeClr>
          </a:solidFill>
          <a:ln w="12700" algn="ctr">
            <a:solidFill>
              <a:schemeClr val="accent6"/>
            </a:solidFill>
            <a:prstDash val="solid"/>
            <a:miter lim="800000"/>
            <a:headEnd type="none" w="sm" len="sm"/>
            <a:tailEnd type="none" w="sm" len="sm"/>
          </a:ln>
        </p:spPr>
        <p:txBody>
          <a:bodyPr wrap="square" lIns="0" tIns="0" rIns="0" bIns="0" anchor="ctr"/>
          <a:lstStyle/>
          <a:p>
            <a:pPr algn="ctr"/>
            <a:r>
              <a:rPr lang="en-US" sz="1000"/>
              <a:t>ECPaaS Test</a:t>
            </a:r>
          </a:p>
        </p:txBody>
      </p:sp>
      <p:sp>
        <p:nvSpPr>
          <p:cNvPr id="21" name="Rectangle 20">
            <a:extLst>
              <a:ext uri="{FF2B5EF4-FFF2-40B4-BE49-F238E27FC236}">
                <a16:creationId xmlns:a16="http://schemas.microsoft.com/office/drawing/2014/main" id="{F1958830-145C-984D-9030-71E69425D5D2}"/>
              </a:ext>
            </a:extLst>
          </p:cNvPr>
          <p:cNvSpPr/>
          <p:nvPr/>
        </p:nvSpPr>
        <p:spPr>
          <a:xfrm>
            <a:off x="10764233" y="2726634"/>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err="1"/>
              <a:t>ECPaaS</a:t>
            </a:r>
            <a:r>
              <a:rPr lang="en-US" sz="1000"/>
              <a:t> Production</a:t>
            </a:r>
          </a:p>
        </p:txBody>
      </p:sp>
      <p:cxnSp>
        <p:nvCxnSpPr>
          <p:cNvPr id="22" name="Straight Connector 74">
            <a:extLst>
              <a:ext uri="{FF2B5EF4-FFF2-40B4-BE49-F238E27FC236}">
                <a16:creationId xmlns:a16="http://schemas.microsoft.com/office/drawing/2014/main" id="{4A0F444D-64E0-4348-9CBD-109983736642}"/>
              </a:ext>
            </a:extLst>
          </p:cNvPr>
          <p:cNvCxnSpPr>
            <a:cxnSpLocks/>
            <a:stCxn id="20" idx="3"/>
            <a:endCxn id="33" idx="1"/>
          </p:cNvCxnSpPr>
          <p:nvPr/>
        </p:nvCxnSpPr>
        <p:spPr>
          <a:xfrm>
            <a:off x="9268489" y="3033394"/>
            <a:ext cx="290672" cy="2986"/>
          </a:xfrm>
          <a:prstGeom prst="bentConnector3">
            <a:avLst>
              <a:gd name="adj1" fmla="val 50000"/>
            </a:avLst>
          </a:prstGeom>
          <a:noFill/>
          <a:ln w="22225" cmpd="sng">
            <a:solidFill>
              <a:srgbClr val="D6D6D6"/>
            </a:solidFill>
            <a:tailEnd type="triangle"/>
          </a:ln>
          <a:effectLst/>
        </p:spPr>
      </p:cxnSp>
      <p:sp>
        <p:nvSpPr>
          <p:cNvPr id="23" name="Rectangle 22">
            <a:extLst>
              <a:ext uri="{FF2B5EF4-FFF2-40B4-BE49-F238E27FC236}">
                <a16:creationId xmlns:a16="http://schemas.microsoft.com/office/drawing/2014/main" id="{343932C0-2353-7C4E-8CE4-C1348C669375}"/>
              </a:ext>
            </a:extLst>
          </p:cNvPr>
          <p:cNvSpPr/>
          <p:nvPr/>
        </p:nvSpPr>
        <p:spPr>
          <a:xfrm>
            <a:off x="3720733" y="4836285"/>
            <a:ext cx="1604838" cy="320098"/>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WS RDS - Postgres</a:t>
            </a:r>
          </a:p>
        </p:txBody>
      </p:sp>
      <p:sp>
        <p:nvSpPr>
          <p:cNvPr id="24" name="Rectangle 23">
            <a:extLst>
              <a:ext uri="{FF2B5EF4-FFF2-40B4-BE49-F238E27FC236}">
                <a16:creationId xmlns:a16="http://schemas.microsoft.com/office/drawing/2014/main" id="{05753340-1ED1-0B45-9528-C8FB88C5B924}"/>
              </a:ext>
            </a:extLst>
          </p:cNvPr>
          <p:cNvSpPr/>
          <p:nvPr/>
        </p:nvSpPr>
        <p:spPr>
          <a:xfrm>
            <a:off x="7091747" y="4853822"/>
            <a:ext cx="2176742" cy="323084"/>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ostgres Dev</a:t>
            </a:r>
          </a:p>
        </p:txBody>
      </p:sp>
      <p:pic>
        <p:nvPicPr>
          <p:cNvPr id="26" name="Picture 25">
            <a:extLst>
              <a:ext uri="{FF2B5EF4-FFF2-40B4-BE49-F238E27FC236}">
                <a16:creationId xmlns:a16="http://schemas.microsoft.com/office/drawing/2014/main" id="{DF61ED40-89BE-014F-B45E-6F84E97C0A6F}"/>
              </a:ext>
            </a:extLst>
          </p:cNvPr>
          <p:cNvPicPr>
            <a:picLocks noChangeAspect="1"/>
          </p:cNvPicPr>
          <p:nvPr/>
        </p:nvPicPr>
        <p:blipFill>
          <a:blip r:embed="rId3"/>
          <a:stretch>
            <a:fillRect/>
          </a:stretch>
        </p:blipFill>
        <p:spPr>
          <a:xfrm>
            <a:off x="5079536" y="5090072"/>
            <a:ext cx="345466" cy="393448"/>
          </a:xfrm>
          <a:prstGeom prst="rect">
            <a:avLst/>
          </a:prstGeom>
        </p:spPr>
      </p:pic>
      <p:pic>
        <p:nvPicPr>
          <p:cNvPr id="27" name="Picture 26">
            <a:extLst>
              <a:ext uri="{FF2B5EF4-FFF2-40B4-BE49-F238E27FC236}">
                <a16:creationId xmlns:a16="http://schemas.microsoft.com/office/drawing/2014/main" id="{BB4B7560-E98C-A645-B027-12441B91B2AA}"/>
              </a:ext>
            </a:extLst>
          </p:cNvPr>
          <p:cNvPicPr>
            <a:picLocks noChangeAspect="1"/>
          </p:cNvPicPr>
          <p:nvPr/>
        </p:nvPicPr>
        <p:blipFill>
          <a:blip r:embed="rId4"/>
          <a:stretch>
            <a:fillRect/>
          </a:stretch>
        </p:blipFill>
        <p:spPr>
          <a:xfrm>
            <a:off x="4827769" y="2153805"/>
            <a:ext cx="326478" cy="393448"/>
          </a:xfrm>
          <a:prstGeom prst="rect">
            <a:avLst/>
          </a:prstGeom>
        </p:spPr>
      </p:pic>
      <p:pic>
        <p:nvPicPr>
          <p:cNvPr id="28" name="Picture 27">
            <a:extLst>
              <a:ext uri="{FF2B5EF4-FFF2-40B4-BE49-F238E27FC236}">
                <a16:creationId xmlns:a16="http://schemas.microsoft.com/office/drawing/2014/main" id="{071ACE07-A71A-4B47-8085-C21CC5129766}"/>
              </a:ext>
            </a:extLst>
          </p:cNvPr>
          <p:cNvPicPr>
            <a:picLocks noChangeAspect="1"/>
          </p:cNvPicPr>
          <p:nvPr/>
        </p:nvPicPr>
        <p:blipFill>
          <a:blip r:embed="rId5"/>
          <a:stretch>
            <a:fillRect/>
          </a:stretch>
        </p:blipFill>
        <p:spPr>
          <a:xfrm>
            <a:off x="9925309" y="1890752"/>
            <a:ext cx="317500" cy="292100"/>
          </a:xfrm>
          <a:prstGeom prst="rect">
            <a:avLst/>
          </a:prstGeom>
        </p:spPr>
      </p:pic>
      <p:sp>
        <p:nvSpPr>
          <p:cNvPr id="30" name="Rectangle 29">
            <a:extLst>
              <a:ext uri="{FF2B5EF4-FFF2-40B4-BE49-F238E27FC236}">
                <a16:creationId xmlns:a16="http://schemas.microsoft.com/office/drawing/2014/main" id="{D422DB41-3AB0-2648-B589-864A6BEEF597}"/>
              </a:ext>
            </a:extLst>
          </p:cNvPr>
          <p:cNvSpPr/>
          <p:nvPr/>
        </p:nvSpPr>
        <p:spPr>
          <a:xfrm>
            <a:off x="10752950" y="4853822"/>
            <a:ext cx="914400" cy="320098"/>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ostgres Production</a:t>
            </a:r>
          </a:p>
        </p:txBody>
      </p:sp>
      <p:sp>
        <p:nvSpPr>
          <p:cNvPr id="33" name="Rectangle 32">
            <a:extLst>
              <a:ext uri="{FF2B5EF4-FFF2-40B4-BE49-F238E27FC236}">
                <a16:creationId xmlns:a16="http://schemas.microsoft.com/office/drawing/2014/main" id="{E6C1EB0B-D6C7-8844-A72A-363F4C64F301}"/>
              </a:ext>
            </a:extLst>
          </p:cNvPr>
          <p:cNvSpPr/>
          <p:nvPr/>
        </p:nvSpPr>
        <p:spPr>
          <a:xfrm>
            <a:off x="9559161" y="2729620"/>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1000"/>
              <a:t>Security Scan</a:t>
            </a:r>
          </a:p>
        </p:txBody>
      </p:sp>
      <p:cxnSp>
        <p:nvCxnSpPr>
          <p:cNvPr id="36" name="Straight Connector 74">
            <a:extLst>
              <a:ext uri="{FF2B5EF4-FFF2-40B4-BE49-F238E27FC236}">
                <a16:creationId xmlns:a16="http://schemas.microsoft.com/office/drawing/2014/main" id="{2503D715-EC65-7947-8142-DBBF9AE9D5E9}"/>
              </a:ext>
            </a:extLst>
          </p:cNvPr>
          <p:cNvCxnSpPr>
            <a:cxnSpLocks/>
            <a:stCxn id="33" idx="3"/>
            <a:endCxn id="21" idx="1"/>
          </p:cNvCxnSpPr>
          <p:nvPr/>
        </p:nvCxnSpPr>
        <p:spPr>
          <a:xfrm flipV="1">
            <a:off x="10473561" y="3033394"/>
            <a:ext cx="290672" cy="2986"/>
          </a:xfrm>
          <a:prstGeom prst="bentConnector3">
            <a:avLst>
              <a:gd name="adj1" fmla="val 50000"/>
            </a:avLst>
          </a:prstGeom>
          <a:noFill/>
          <a:ln w="22225" cmpd="sng">
            <a:solidFill>
              <a:srgbClr val="D6D6D6"/>
            </a:solidFill>
            <a:tailEnd type="triangle"/>
          </a:ln>
          <a:effectLst/>
        </p:spPr>
      </p:cxnSp>
      <p:sp>
        <p:nvSpPr>
          <p:cNvPr id="53" name="Rectangle 52">
            <a:extLst>
              <a:ext uri="{FF2B5EF4-FFF2-40B4-BE49-F238E27FC236}">
                <a16:creationId xmlns:a16="http://schemas.microsoft.com/office/drawing/2014/main" id="{E3DC0D3C-7BDA-9349-A187-4CFBCA7DFEE5}"/>
              </a:ext>
            </a:extLst>
          </p:cNvPr>
          <p:cNvSpPr/>
          <p:nvPr/>
        </p:nvSpPr>
        <p:spPr>
          <a:xfrm>
            <a:off x="2427891" y="2739202"/>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Local Development</a:t>
            </a:r>
          </a:p>
        </p:txBody>
      </p:sp>
      <p:cxnSp>
        <p:nvCxnSpPr>
          <p:cNvPr id="64" name="Straight Connector 74">
            <a:extLst>
              <a:ext uri="{FF2B5EF4-FFF2-40B4-BE49-F238E27FC236}">
                <a16:creationId xmlns:a16="http://schemas.microsoft.com/office/drawing/2014/main" id="{AFA74A32-E6C2-3B4C-A37F-3E8F7FF99091}"/>
              </a:ext>
            </a:extLst>
          </p:cNvPr>
          <p:cNvCxnSpPr>
            <a:cxnSpLocks/>
            <a:stCxn id="53" idx="3"/>
            <a:endCxn id="6" idx="1"/>
          </p:cNvCxnSpPr>
          <p:nvPr/>
        </p:nvCxnSpPr>
        <p:spPr>
          <a:xfrm>
            <a:off x="3342291" y="3045962"/>
            <a:ext cx="723661" cy="0"/>
          </a:xfrm>
          <a:prstGeom prst="straightConnector1">
            <a:avLst/>
          </a:prstGeom>
          <a:noFill/>
          <a:ln w="22225" cmpd="sng">
            <a:solidFill>
              <a:srgbClr val="D6D6D6"/>
            </a:solidFill>
            <a:tailEnd type="triangle"/>
          </a:ln>
          <a:effectLst/>
        </p:spPr>
      </p:cxnSp>
      <p:sp>
        <p:nvSpPr>
          <p:cNvPr id="73" name="TextBox 72">
            <a:extLst>
              <a:ext uri="{FF2B5EF4-FFF2-40B4-BE49-F238E27FC236}">
                <a16:creationId xmlns:a16="http://schemas.microsoft.com/office/drawing/2014/main" id="{01103F7B-1CFB-6844-860B-AEB366E7B385}"/>
              </a:ext>
            </a:extLst>
          </p:cNvPr>
          <p:cNvSpPr txBox="1"/>
          <p:nvPr/>
        </p:nvSpPr>
        <p:spPr>
          <a:xfrm>
            <a:off x="10242809" y="3345913"/>
            <a:ext cx="1204930"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Submit to ECPaaS for deployment</a:t>
            </a:r>
          </a:p>
        </p:txBody>
      </p:sp>
      <p:sp>
        <p:nvSpPr>
          <p:cNvPr id="75" name="TextBox 74">
            <a:extLst>
              <a:ext uri="{FF2B5EF4-FFF2-40B4-BE49-F238E27FC236}">
                <a16:creationId xmlns:a16="http://schemas.microsoft.com/office/drawing/2014/main" id="{1D20A48F-6194-5D40-BAE0-39708E686180}"/>
              </a:ext>
            </a:extLst>
          </p:cNvPr>
          <p:cNvSpPr txBox="1"/>
          <p:nvPr/>
        </p:nvSpPr>
        <p:spPr>
          <a:xfrm>
            <a:off x="3920687" y="5245891"/>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ata / App Team</a:t>
            </a:r>
          </a:p>
          <a:p>
            <a:pPr>
              <a:lnSpc>
                <a:spcPct val="80000"/>
              </a:lnSpc>
              <a:spcBef>
                <a:spcPts val="0"/>
              </a:spcBef>
            </a:pPr>
            <a:r>
              <a:rPr lang="en-US" sz="1100" b="0">
                <a:solidFill>
                  <a:schemeClr val="tx1"/>
                </a:solidFill>
                <a:latin typeface="+mn-lt"/>
              </a:rPr>
              <a:t>Adds new data</a:t>
            </a:r>
          </a:p>
        </p:txBody>
      </p:sp>
      <p:sp>
        <p:nvSpPr>
          <p:cNvPr id="76" name="TextBox 75">
            <a:extLst>
              <a:ext uri="{FF2B5EF4-FFF2-40B4-BE49-F238E27FC236}">
                <a16:creationId xmlns:a16="http://schemas.microsoft.com/office/drawing/2014/main" id="{80FA2994-89D5-F046-A9FE-C07099E0D98A}"/>
              </a:ext>
            </a:extLst>
          </p:cNvPr>
          <p:cNvSpPr txBox="1"/>
          <p:nvPr/>
        </p:nvSpPr>
        <p:spPr>
          <a:xfrm>
            <a:off x="6486784" y="5319804"/>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 Date / App / DevOp Team</a:t>
            </a:r>
          </a:p>
          <a:p>
            <a:pPr>
              <a:lnSpc>
                <a:spcPct val="80000"/>
              </a:lnSpc>
              <a:spcBef>
                <a:spcPts val="0"/>
              </a:spcBef>
            </a:pPr>
            <a:r>
              <a:rPr lang="en-US" sz="1100" b="0">
                <a:solidFill>
                  <a:schemeClr val="tx1"/>
                </a:solidFill>
                <a:latin typeface="+mn-lt"/>
              </a:rPr>
              <a:t>Copies data</a:t>
            </a:r>
          </a:p>
          <a:p>
            <a:pPr>
              <a:lnSpc>
                <a:spcPct val="80000"/>
              </a:lnSpc>
              <a:spcBef>
                <a:spcPts val="0"/>
              </a:spcBef>
            </a:pPr>
            <a:endParaRPr lang="en-US" sz="1100" b="0">
              <a:solidFill>
                <a:schemeClr val="tx1"/>
              </a:solidFill>
              <a:latin typeface="+mn-lt"/>
            </a:endParaRPr>
          </a:p>
        </p:txBody>
      </p:sp>
      <p:sp>
        <p:nvSpPr>
          <p:cNvPr id="77" name="Rectangle 76">
            <a:extLst>
              <a:ext uri="{FF2B5EF4-FFF2-40B4-BE49-F238E27FC236}">
                <a16:creationId xmlns:a16="http://schemas.microsoft.com/office/drawing/2014/main" id="{EEF5EC48-FE02-8C4C-9084-C90BFDF0B99C}"/>
              </a:ext>
            </a:extLst>
          </p:cNvPr>
          <p:cNvSpPr/>
          <p:nvPr/>
        </p:nvSpPr>
        <p:spPr>
          <a:xfrm>
            <a:off x="8320490" y="5531110"/>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Ingestion Service</a:t>
            </a:r>
          </a:p>
        </p:txBody>
      </p:sp>
      <p:pic>
        <p:nvPicPr>
          <p:cNvPr id="79" name="Picture 78">
            <a:extLst>
              <a:ext uri="{FF2B5EF4-FFF2-40B4-BE49-F238E27FC236}">
                <a16:creationId xmlns:a16="http://schemas.microsoft.com/office/drawing/2014/main" id="{FEB86B5C-7F30-C747-8453-3130781A3DC3}"/>
              </a:ext>
            </a:extLst>
          </p:cNvPr>
          <p:cNvPicPr>
            <a:picLocks noChangeAspect="1"/>
          </p:cNvPicPr>
          <p:nvPr/>
        </p:nvPicPr>
        <p:blipFill>
          <a:blip r:embed="rId6"/>
          <a:stretch>
            <a:fillRect/>
          </a:stretch>
        </p:blipFill>
        <p:spPr>
          <a:xfrm>
            <a:off x="9260637" y="5769206"/>
            <a:ext cx="375714" cy="406595"/>
          </a:xfrm>
          <a:prstGeom prst="rect">
            <a:avLst/>
          </a:prstGeom>
        </p:spPr>
      </p:pic>
      <p:cxnSp>
        <p:nvCxnSpPr>
          <p:cNvPr id="80" name="Straight Connector 74">
            <a:extLst>
              <a:ext uri="{FF2B5EF4-FFF2-40B4-BE49-F238E27FC236}">
                <a16:creationId xmlns:a16="http://schemas.microsoft.com/office/drawing/2014/main" id="{71DDA851-0751-7A49-8341-63097EE471D3}"/>
              </a:ext>
            </a:extLst>
          </p:cNvPr>
          <p:cNvCxnSpPr>
            <a:cxnSpLocks/>
            <a:stCxn id="24" idx="0"/>
            <a:endCxn id="23" idx="0"/>
          </p:cNvCxnSpPr>
          <p:nvPr/>
        </p:nvCxnSpPr>
        <p:spPr>
          <a:xfrm rot="16200000" flipV="1">
            <a:off x="6342867" y="3016571"/>
            <a:ext cx="17537" cy="3656966"/>
          </a:xfrm>
          <a:prstGeom prst="bentConnector3">
            <a:avLst>
              <a:gd name="adj1" fmla="val 1403530"/>
            </a:avLst>
          </a:prstGeom>
          <a:noFill/>
          <a:ln w="22225" cmpd="sng">
            <a:solidFill>
              <a:srgbClr val="FDD300"/>
            </a:solidFill>
            <a:tailEnd type="triangle"/>
          </a:ln>
          <a:effectLst/>
        </p:spPr>
      </p:cxnSp>
      <p:sp>
        <p:nvSpPr>
          <p:cNvPr id="83" name="TextBox 82">
            <a:extLst>
              <a:ext uri="{FF2B5EF4-FFF2-40B4-BE49-F238E27FC236}">
                <a16:creationId xmlns:a16="http://schemas.microsoft.com/office/drawing/2014/main" id="{74411139-3E4B-9642-B97E-20F088FEEEA5}"/>
              </a:ext>
            </a:extLst>
          </p:cNvPr>
          <p:cNvSpPr txBox="1"/>
          <p:nvPr/>
        </p:nvSpPr>
        <p:spPr>
          <a:xfrm>
            <a:off x="5671681" y="4369090"/>
            <a:ext cx="1560119" cy="2639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000" b="0" i="1">
                <a:solidFill>
                  <a:schemeClr val="bg1">
                    <a:lumMod val="50000"/>
                  </a:schemeClr>
                </a:solidFill>
                <a:latin typeface="+mn-lt"/>
              </a:rPr>
              <a:t>Copy Ingested Data to Deloitte</a:t>
            </a:r>
          </a:p>
        </p:txBody>
      </p:sp>
      <p:cxnSp>
        <p:nvCxnSpPr>
          <p:cNvPr id="85" name="Straight Connector 74">
            <a:extLst>
              <a:ext uri="{FF2B5EF4-FFF2-40B4-BE49-F238E27FC236}">
                <a16:creationId xmlns:a16="http://schemas.microsoft.com/office/drawing/2014/main" id="{008DDFE9-C686-1141-8BF1-C70D347B935C}"/>
              </a:ext>
            </a:extLst>
          </p:cNvPr>
          <p:cNvCxnSpPr>
            <a:cxnSpLocks/>
            <a:stCxn id="77" idx="0"/>
            <a:endCxn id="24" idx="2"/>
          </p:cNvCxnSpPr>
          <p:nvPr/>
        </p:nvCxnSpPr>
        <p:spPr>
          <a:xfrm rot="16200000" flipV="1">
            <a:off x="8301802" y="5055222"/>
            <a:ext cx="354204" cy="597572"/>
          </a:xfrm>
          <a:prstGeom prst="bentConnector3">
            <a:avLst>
              <a:gd name="adj1" fmla="val 50000"/>
            </a:avLst>
          </a:prstGeom>
          <a:noFill/>
          <a:ln w="22225" cmpd="sng">
            <a:solidFill>
              <a:srgbClr val="D6D6D6"/>
            </a:solidFill>
            <a:prstDash val="sysDash"/>
            <a:tailEnd type="triangle"/>
          </a:ln>
          <a:effectLst/>
        </p:spPr>
      </p:cxnSp>
      <p:cxnSp>
        <p:nvCxnSpPr>
          <p:cNvPr id="94" name="Straight Connector 74">
            <a:extLst>
              <a:ext uri="{FF2B5EF4-FFF2-40B4-BE49-F238E27FC236}">
                <a16:creationId xmlns:a16="http://schemas.microsoft.com/office/drawing/2014/main" id="{9B63AE30-F168-3542-AFC8-B66F1B1EB809}"/>
              </a:ext>
            </a:extLst>
          </p:cNvPr>
          <p:cNvCxnSpPr>
            <a:cxnSpLocks/>
            <a:stCxn id="23" idx="3"/>
            <a:endCxn id="24" idx="1"/>
          </p:cNvCxnSpPr>
          <p:nvPr/>
        </p:nvCxnSpPr>
        <p:spPr>
          <a:xfrm>
            <a:off x="5325571" y="4996334"/>
            <a:ext cx="1766176" cy="0"/>
          </a:xfrm>
          <a:prstGeom prst="bentConnector3">
            <a:avLst>
              <a:gd name="adj1" fmla="val 50000"/>
            </a:avLst>
          </a:prstGeom>
          <a:noFill/>
          <a:ln w="22225" cmpd="sng">
            <a:solidFill>
              <a:srgbClr val="D6D6D6"/>
            </a:solidFill>
            <a:tailEnd type="triangle"/>
          </a:ln>
          <a:effectLst/>
        </p:spPr>
      </p:cxnSp>
      <p:cxnSp>
        <p:nvCxnSpPr>
          <p:cNvPr id="97" name="Straight Connector 74">
            <a:extLst>
              <a:ext uri="{FF2B5EF4-FFF2-40B4-BE49-F238E27FC236}">
                <a16:creationId xmlns:a16="http://schemas.microsoft.com/office/drawing/2014/main" id="{0566378F-203A-8242-B95A-3ADF0AB09F25}"/>
              </a:ext>
            </a:extLst>
          </p:cNvPr>
          <p:cNvCxnSpPr>
            <a:cxnSpLocks/>
            <a:stCxn id="24" idx="3"/>
            <a:endCxn id="30" idx="1"/>
          </p:cNvCxnSpPr>
          <p:nvPr/>
        </p:nvCxnSpPr>
        <p:spPr>
          <a:xfrm flipV="1">
            <a:off x="9268489" y="5013871"/>
            <a:ext cx="1484461" cy="1493"/>
          </a:xfrm>
          <a:prstGeom prst="bentConnector3">
            <a:avLst>
              <a:gd name="adj1" fmla="val 50000"/>
            </a:avLst>
          </a:prstGeom>
          <a:noFill/>
          <a:ln w="22225" cmpd="sng">
            <a:solidFill>
              <a:srgbClr val="D6D6D6"/>
            </a:solidFill>
            <a:tailEnd type="triangle"/>
          </a:ln>
          <a:effectLst/>
        </p:spPr>
      </p:cxnSp>
      <p:sp>
        <p:nvSpPr>
          <p:cNvPr id="126" name="TextBox 125">
            <a:extLst>
              <a:ext uri="{FF2B5EF4-FFF2-40B4-BE49-F238E27FC236}">
                <a16:creationId xmlns:a16="http://schemas.microsoft.com/office/drawing/2014/main" id="{7A97EF4C-5050-514A-9654-A0C1A56C57F7}"/>
              </a:ext>
            </a:extLst>
          </p:cNvPr>
          <p:cNvSpPr txBox="1"/>
          <p:nvPr/>
        </p:nvSpPr>
        <p:spPr>
          <a:xfrm>
            <a:off x="7046701" y="3312509"/>
            <a:ext cx="100919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Op Config &amp; Deploy</a:t>
            </a:r>
          </a:p>
        </p:txBody>
      </p:sp>
      <p:sp>
        <p:nvSpPr>
          <p:cNvPr id="127" name="TextBox 126">
            <a:extLst>
              <a:ext uri="{FF2B5EF4-FFF2-40B4-BE49-F238E27FC236}">
                <a16:creationId xmlns:a16="http://schemas.microsoft.com/office/drawing/2014/main" id="{4802BAB3-7F0F-744D-95F2-ADCEADD80805}"/>
              </a:ext>
            </a:extLst>
          </p:cNvPr>
          <p:cNvSpPr txBox="1"/>
          <p:nvPr/>
        </p:nvSpPr>
        <p:spPr>
          <a:xfrm>
            <a:off x="8302931" y="3327776"/>
            <a:ext cx="100919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Op Config &amp; Deploy</a:t>
            </a:r>
          </a:p>
        </p:txBody>
      </p:sp>
      <p:sp>
        <p:nvSpPr>
          <p:cNvPr id="128" name="Rectangle 127">
            <a:extLst>
              <a:ext uri="{FF2B5EF4-FFF2-40B4-BE49-F238E27FC236}">
                <a16:creationId xmlns:a16="http://schemas.microsoft.com/office/drawing/2014/main" id="{7FB8D9AA-B8D8-6448-87FD-20250E80D346}"/>
              </a:ext>
            </a:extLst>
          </p:cNvPr>
          <p:cNvSpPr/>
          <p:nvPr/>
        </p:nvSpPr>
        <p:spPr bwMode="gray">
          <a:xfrm>
            <a:off x="3608752" y="1374479"/>
            <a:ext cx="1985841" cy="491779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Deloitte AWS</a:t>
            </a:r>
          </a:p>
        </p:txBody>
      </p:sp>
      <p:sp>
        <p:nvSpPr>
          <p:cNvPr id="131" name="Rectangle 130">
            <a:extLst>
              <a:ext uri="{FF2B5EF4-FFF2-40B4-BE49-F238E27FC236}">
                <a16:creationId xmlns:a16="http://schemas.microsoft.com/office/drawing/2014/main" id="{6D0B2F07-98BC-484C-8E94-0A7D88BB3C64}"/>
              </a:ext>
            </a:extLst>
          </p:cNvPr>
          <p:cNvSpPr/>
          <p:nvPr/>
        </p:nvSpPr>
        <p:spPr bwMode="gray">
          <a:xfrm>
            <a:off x="10608957" y="1374479"/>
            <a:ext cx="1311696" cy="491779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 Cloud</a:t>
            </a:r>
          </a:p>
        </p:txBody>
      </p:sp>
      <p:sp>
        <p:nvSpPr>
          <p:cNvPr id="145" name="Rectangle 144">
            <a:extLst>
              <a:ext uri="{FF2B5EF4-FFF2-40B4-BE49-F238E27FC236}">
                <a16:creationId xmlns:a16="http://schemas.microsoft.com/office/drawing/2014/main" id="{3E8AFB6B-DC07-2242-8704-09BC7C4933D2}"/>
              </a:ext>
            </a:extLst>
          </p:cNvPr>
          <p:cNvSpPr/>
          <p:nvPr/>
        </p:nvSpPr>
        <p:spPr>
          <a:xfrm>
            <a:off x="2447992" y="468022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ata Sources</a:t>
            </a:r>
          </a:p>
        </p:txBody>
      </p:sp>
      <p:cxnSp>
        <p:nvCxnSpPr>
          <p:cNvPr id="147" name="Straight Connector 74">
            <a:extLst>
              <a:ext uri="{FF2B5EF4-FFF2-40B4-BE49-F238E27FC236}">
                <a16:creationId xmlns:a16="http://schemas.microsoft.com/office/drawing/2014/main" id="{800E7938-2F7B-6D42-A984-07E3A19627CE}"/>
              </a:ext>
            </a:extLst>
          </p:cNvPr>
          <p:cNvCxnSpPr>
            <a:cxnSpLocks/>
            <a:stCxn id="145" idx="3"/>
            <a:endCxn id="23" idx="1"/>
          </p:cNvCxnSpPr>
          <p:nvPr/>
        </p:nvCxnSpPr>
        <p:spPr>
          <a:xfrm>
            <a:off x="3362392" y="4986983"/>
            <a:ext cx="358341" cy="0"/>
          </a:xfrm>
          <a:prstGeom prst="bentConnector3">
            <a:avLst>
              <a:gd name="adj1" fmla="val 50000"/>
            </a:avLst>
          </a:prstGeom>
          <a:noFill/>
          <a:ln w="22225" cmpd="sng">
            <a:solidFill>
              <a:srgbClr val="D6D6D6"/>
            </a:solidFill>
            <a:tailEnd type="triangle"/>
          </a:ln>
          <a:effectLst/>
        </p:spPr>
      </p:cxnSp>
      <p:cxnSp>
        <p:nvCxnSpPr>
          <p:cNvPr id="150" name="Straight Connector 74">
            <a:extLst>
              <a:ext uri="{FF2B5EF4-FFF2-40B4-BE49-F238E27FC236}">
                <a16:creationId xmlns:a16="http://schemas.microsoft.com/office/drawing/2014/main" id="{9054AA54-1474-3343-A484-0C6A00A9EF43}"/>
              </a:ext>
            </a:extLst>
          </p:cNvPr>
          <p:cNvCxnSpPr>
            <a:cxnSpLocks/>
            <a:stCxn id="145" idx="2"/>
            <a:endCxn id="77" idx="1"/>
          </p:cNvCxnSpPr>
          <p:nvPr/>
        </p:nvCxnSpPr>
        <p:spPr>
          <a:xfrm rot="16200000" flipH="1">
            <a:off x="5340778" y="2858157"/>
            <a:ext cx="544127" cy="5415298"/>
          </a:xfrm>
          <a:prstGeom prst="bentConnector2">
            <a:avLst/>
          </a:prstGeom>
          <a:noFill/>
          <a:ln w="22225" cmpd="sng">
            <a:solidFill>
              <a:srgbClr val="D6D6D6"/>
            </a:solidFill>
            <a:tailEnd type="triangle"/>
          </a:ln>
          <a:effectLst/>
        </p:spPr>
      </p:cxnSp>
      <p:sp>
        <p:nvSpPr>
          <p:cNvPr id="46" name="TextBox 45">
            <a:extLst>
              <a:ext uri="{FF2B5EF4-FFF2-40B4-BE49-F238E27FC236}">
                <a16:creationId xmlns:a16="http://schemas.microsoft.com/office/drawing/2014/main" id="{3DD6E6F6-7978-A745-96B6-413A8E752BEB}"/>
              </a:ext>
            </a:extLst>
          </p:cNvPr>
          <p:cNvSpPr txBox="1"/>
          <p:nvPr/>
        </p:nvSpPr>
        <p:spPr>
          <a:xfrm>
            <a:off x="8221930" y="4476599"/>
            <a:ext cx="1703379" cy="520773"/>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 is used by Dev/Test Apps</a:t>
            </a:r>
          </a:p>
          <a:p>
            <a:pPr>
              <a:lnSpc>
                <a:spcPct val="80000"/>
              </a:lnSpc>
              <a:spcBef>
                <a:spcPts val="0"/>
              </a:spcBef>
            </a:pPr>
            <a:endParaRPr lang="en-US" sz="1100" b="0">
              <a:solidFill>
                <a:schemeClr val="tx1"/>
              </a:solidFill>
              <a:latin typeface="+mn-lt"/>
            </a:endParaRPr>
          </a:p>
        </p:txBody>
      </p:sp>
      <p:sp>
        <p:nvSpPr>
          <p:cNvPr id="48" name="Rectangle 47">
            <a:extLst>
              <a:ext uri="{FF2B5EF4-FFF2-40B4-BE49-F238E27FC236}">
                <a16:creationId xmlns:a16="http://schemas.microsoft.com/office/drawing/2014/main" id="{0CDBCF5C-8275-A441-AB68-45A14058D188}"/>
              </a:ext>
            </a:extLst>
          </p:cNvPr>
          <p:cNvSpPr/>
          <p:nvPr/>
        </p:nvSpPr>
        <p:spPr bwMode="gray">
          <a:xfrm>
            <a:off x="5734211" y="1374479"/>
            <a:ext cx="4810977" cy="491779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a:t>
            </a:r>
          </a:p>
        </p:txBody>
      </p:sp>
      <p:sp>
        <p:nvSpPr>
          <p:cNvPr id="49" name="TextBox 48">
            <a:extLst>
              <a:ext uri="{FF2B5EF4-FFF2-40B4-BE49-F238E27FC236}">
                <a16:creationId xmlns:a16="http://schemas.microsoft.com/office/drawing/2014/main" id="{F8AB5E2A-D519-AB4A-AEB8-0EDB32D738EB}"/>
              </a:ext>
            </a:extLst>
          </p:cNvPr>
          <p:cNvSpPr txBox="1"/>
          <p:nvPr/>
        </p:nvSpPr>
        <p:spPr>
          <a:xfrm>
            <a:off x="8217063" y="439139"/>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CDC ECPaaS 3.X</a:t>
            </a:r>
          </a:p>
        </p:txBody>
      </p:sp>
      <p:pic>
        <p:nvPicPr>
          <p:cNvPr id="50" name="Picture 49">
            <a:extLst>
              <a:ext uri="{FF2B5EF4-FFF2-40B4-BE49-F238E27FC236}">
                <a16:creationId xmlns:a16="http://schemas.microsoft.com/office/drawing/2014/main" id="{720988B3-2E56-6B4E-A450-C5F92276A403}"/>
              </a:ext>
            </a:extLst>
          </p:cNvPr>
          <p:cNvPicPr>
            <a:picLocks noChangeAspect="1"/>
          </p:cNvPicPr>
          <p:nvPr/>
        </p:nvPicPr>
        <p:blipFill>
          <a:blip r:embed="rId5"/>
          <a:stretch>
            <a:fillRect/>
          </a:stretch>
        </p:blipFill>
        <p:spPr>
          <a:xfrm>
            <a:off x="9604365" y="473632"/>
            <a:ext cx="317500" cy="292100"/>
          </a:xfrm>
          <a:prstGeom prst="rect">
            <a:avLst/>
          </a:prstGeom>
        </p:spPr>
      </p:pic>
      <p:sp>
        <p:nvSpPr>
          <p:cNvPr id="51" name="TextBox 50">
            <a:extLst>
              <a:ext uri="{FF2B5EF4-FFF2-40B4-BE49-F238E27FC236}">
                <a16:creationId xmlns:a16="http://schemas.microsoft.com/office/drawing/2014/main" id="{F61E58ED-0972-CE47-8795-854FB5A2A880}"/>
              </a:ext>
            </a:extLst>
          </p:cNvPr>
          <p:cNvSpPr txBox="1"/>
          <p:nvPr/>
        </p:nvSpPr>
        <p:spPr>
          <a:xfrm>
            <a:off x="9821882" y="449733"/>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Hosted on AWS</a:t>
            </a:r>
          </a:p>
        </p:txBody>
      </p:sp>
      <p:sp>
        <p:nvSpPr>
          <p:cNvPr id="52" name="TextBox 51">
            <a:extLst>
              <a:ext uri="{FF2B5EF4-FFF2-40B4-BE49-F238E27FC236}">
                <a16:creationId xmlns:a16="http://schemas.microsoft.com/office/drawing/2014/main" id="{97CE9080-D9F2-C240-852D-523ACBD7DD1A}"/>
              </a:ext>
            </a:extLst>
          </p:cNvPr>
          <p:cNvSpPr txBox="1"/>
          <p:nvPr/>
        </p:nvSpPr>
        <p:spPr>
          <a:xfrm>
            <a:off x="7091747" y="434464"/>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FF0000"/>
                </a:solidFill>
                <a:latin typeface="+mn-lt"/>
              </a:rPr>
              <a:t>Legacy</a:t>
            </a:r>
          </a:p>
        </p:txBody>
      </p:sp>
      <p:sp>
        <p:nvSpPr>
          <p:cNvPr id="54" name="TextBox 53">
            <a:extLst>
              <a:ext uri="{FF2B5EF4-FFF2-40B4-BE49-F238E27FC236}">
                <a16:creationId xmlns:a16="http://schemas.microsoft.com/office/drawing/2014/main" id="{7F8761F4-C364-EC4B-BD93-2391200BFA15}"/>
              </a:ext>
            </a:extLst>
          </p:cNvPr>
          <p:cNvSpPr txBox="1"/>
          <p:nvPr/>
        </p:nvSpPr>
        <p:spPr>
          <a:xfrm>
            <a:off x="8217063" y="858013"/>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CDC ECPaaS 4.X</a:t>
            </a:r>
          </a:p>
        </p:txBody>
      </p:sp>
      <p:pic>
        <p:nvPicPr>
          <p:cNvPr id="55" name="Picture 54">
            <a:extLst>
              <a:ext uri="{FF2B5EF4-FFF2-40B4-BE49-F238E27FC236}">
                <a16:creationId xmlns:a16="http://schemas.microsoft.com/office/drawing/2014/main" id="{0B9BE3D6-506C-7548-9AED-43C0F67DE306}"/>
              </a:ext>
            </a:extLst>
          </p:cNvPr>
          <p:cNvPicPr>
            <a:picLocks noChangeAspect="1"/>
          </p:cNvPicPr>
          <p:nvPr/>
        </p:nvPicPr>
        <p:blipFill>
          <a:blip r:embed="rId5"/>
          <a:stretch>
            <a:fillRect/>
          </a:stretch>
        </p:blipFill>
        <p:spPr>
          <a:xfrm>
            <a:off x="9604365" y="892506"/>
            <a:ext cx="317500" cy="292100"/>
          </a:xfrm>
          <a:prstGeom prst="rect">
            <a:avLst/>
          </a:prstGeom>
        </p:spPr>
      </p:pic>
      <p:sp>
        <p:nvSpPr>
          <p:cNvPr id="56" name="TextBox 55">
            <a:extLst>
              <a:ext uri="{FF2B5EF4-FFF2-40B4-BE49-F238E27FC236}">
                <a16:creationId xmlns:a16="http://schemas.microsoft.com/office/drawing/2014/main" id="{5E5655DF-E432-E041-A745-F26B4C9971C8}"/>
              </a:ext>
            </a:extLst>
          </p:cNvPr>
          <p:cNvSpPr txBox="1"/>
          <p:nvPr/>
        </p:nvSpPr>
        <p:spPr>
          <a:xfrm>
            <a:off x="9878475" y="869653"/>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Hosted on Azure (ARO 4)</a:t>
            </a:r>
          </a:p>
        </p:txBody>
      </p:sp>
      <p:sp>
        <p:nvSpPr>
          <p:cNvPr id="57" name="TextBox 56">
            <a:extLst>
              <a:ext uri="{FF2B5EF4-FFF2-40B4-BE49-F238E27FC236}">
                <a16:creationId xmlns:a16="http://schemas.microsoft.com/office/drawing/2014/main" id="{079931E4-C9EE-E54D-9A80-1206C2A45AAF}"/>
              </a:ext>
            </a:extLst>
          </p:cNvPr>
          <p:cNvSpPr txBox="1"/>
          <p:nvPr/>
        </p:nvSpPr>
        <p:spPr>
          <a:xfrm>
            <a:off x="7017941" y="867264"/>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FF0000"/>
                </a:solidFill>
                <a:latin typeface="+mn-lt"/>
              </a:rPr>
              <a:t>Current/Future</a:t>
            </a:r>
          </a:p>
        </p:txBody>
      </p:sp>
    </p:spTree>
    <p:extLst>
      <p:ext uri="{BB962C8B-B14F-4D97-AF65-F5344CB8AC3E}">
        <p14:creationId xmlns:p14="http://schemas.microsoft.com/office/powerpoint/2010/main" val="22406998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496F3D1-9F54-414E-9E4A-CF185921593A}"/>
              </a:ext>
            </a:extLst>
          </p:cNvPr>
          <p:cNvSpPr>
            <a:spLocks noGrp="1"/>
          </p:cNvSpPr>
          <p:nvPr>
            <p:ph type="body" sz="quarter" idx="14"/>
          </p:nvPr>
        </p:nvSpPr>
        <p:spPr>
          <a:xfrm>
            <a:off x="508959" y="1375759"/>
            <a:ext cx="3221154" cy="5168732"/>
          </a:xfrm>
        </p:spPr>
        <p:txBody>
          <a:bodyPr/>
          <a:lstStyle/>
          <a:p>
            <a:r>
              <a:rPr lang="en-US" b="1"/>
              <a:t>Optimize path to production</a:t>
            </a:r>
          </a:p>
          <a:p>
            <a:pPr marL="171450" indent="-171450">
              <a:buFont typeface="Arial" panose="020B0604020202020204" pitchFamily="34" charset="0"/>
              <a:buChar char="•"/>
            </a:pPr>
            <a:r>
              <a:rPr lang="en-US"/>
              <a:t>Remove CDC GitLab from development iterations. Copy when going to production</a:t>
            </a:r>
          </a:p>
          <a:p>
            <a:pPr marL="171450" indent="-171450">
              <a:buFont typeface="Arial" panose="020B0604020202020204" pitchFamily="34" charset="0"/>
              <a:buChar char="•"/>
            </a:pPr>
            <a:r>
              <a:rPr lang="en-US"/>
              <a:t>Decommission TEST resources and merge into Dev</a:t>
            </a:r>
          </a:p>
          <a:p>
            <a:pPr marL="171450" indent="-171450">
              <a:buFont typeface="Arial" panose="020B0604020202020204" pitchFamily="34" charset="0"/>
              <a:buChar char="•"/>
            </a:pPr>
            <a:r>
              <a:rPr lang="en-US"/>
              <a:t>Transition from Deloitte database to CDC cloud database as primary store for DEV</a:t>
            </a:r>
          </a:p>
          <a:p>
            <a:pPr marL="171450" indent="-171450">
              <a:buFont typeface="Arial" panose="020B0604020202020204" pitchFamily="34" charset="0"/>
              <a:buChar char="•"/>
            </a:pPr>
            <a:r>
              <a:rPr lang="en-US"/>
              <a:t>Reduce reliance on </a:t>
            </a:r>
            <a:r>
              <a:rPr lang="en-US" u="sng"/>
              <a:t>persistent</a:t>
            </a:r>
            <a:r>
              <a:rPr lang="en-US"/>
              <a:t> Deloitte Demo environment by (</a:t>
            </a:r>
            <a:r>
              <a:rPr lang="en-US">
                <a:solidFill>
                  <a:srgbClr val="FF0000"/>
                </a:solidFill>
              </a:rPr>
              <a:t>TBD</a:t>
            </a:r>
            <a:r>
              <a:rPr lang="en-US"/>
              <a:t>)</a:t>
            </a:r>
          </a:p>
          <a:p>
            <a:r>
              <a:rPr lang="en-US" b="1"/>
              <a:t>Reduce Manual Deployment</a:t>
            </a:r>
          </a:p>
          <a:p>
            <a:pPr marL="171450" indent="-171450">
              <a:buFont typeface="Arial" panose="020B0604020202020204" pitchFamily="34" charset="0"/>
              <a:buChar char="•"/>
            </a:pPr>
            <a:r>
              <a:rPr lang="en-US"/>
              <a:t>Transition to cloud containerized services and containerize existing apps</a:t>
            </a:r>
          </a:p>
          <a:p>
            <a:r>
              <a:rPr lang="en-US" b="1"/>
              <a:t>Reduce operations overhead</a:t>
            </a:r>
          </a:p>
          <a:p>
            <a:pPr marL="171450" indent="-171450">
              <a:buFont typeface="Arial" panose="020B0604020202020204" pitchFamily="34" charset="0"/>
              <a:buChar char="•"/>
            </a:pPr>
            <a:r>
              <a:rPr lang="en-US"/>
              <a:t>Migrate to CDC GitHub to reduce team overhead and unneeded replication</a:t>
            </a:r>
          </a:p>
          <a:p>
            <a:r>
              <a:rPr lang="en-US" b="1"/>
              <a:t>Improve database durability, availability, and resilience</a:t>
            </a:r>
          </a:p>
          <a:p>
            <a:pPr marL="171450" indent="-171450">
              <a:buFont typeface="Arial" panose="020B0604020202020204" pitchFamily="34" charset="0"/>
              <a:buChar char="•"/>
            </a:pPr>
            <a:r>
              <a:rPr lang="en-US"/>
              <a:t>Transition away from database containers. Utilize existing CDC cloud platform to build persistent database</a:t>
            </a:r>
          </a:p>
        </p:txBody>
      </p:sp>
      <p:sp>
        <p:nvSpPr>
          <p:cNvPr id="2" name="Title 1">
            <a:extLst>
              <a:ext uri="{FF2B5EF4-FFF2-40B4-BE49-F238E27FC236}">
                <a16:creationId xmlns:a16="http://schemas.microsoft.com/office/drawing/2014/main" id="{6803BF32-346D-D848-BCA0-2E76713755FF}"/>
              </a:ext>
            </a:extLst>
          </p:cNvPr>
          <p:cNvSpPr>
            <a:spLocks noGrp="1"/>
          </p:cNvSpPr>
          <p:nvPr>
            <p:ph type="title"/>
          </p:nvPr>
        </p:nvSpPr>
        <p:spPr/>
        <p:txBody>
          <a:bodyPr/>
          <a:lstStyle/>
          <a:p>
            <a:r>
              <a:rPr lang="en-US" sz="3600"/>
              <a:t>Operations Environment Lifecycle: Future State</a:t>
            </a:r>
          </a:p>
        </p:txBody>
      </p:sp>
      <p:sp>
        <p:nvSpPr>
          <p:cNvPr id="6" name="Rectangle 5">
            <a:extLst>
              <a:ext uri="{FF2B5EF4-FFF2-40B4-BE49-F238E27FC236}">
                <a16:creationId xmlns:a16="http://schemas.microsoft.com/office/drawing/2014/main" id="{9EE36527-2B7C-D841-8BBA-39A4A301218D}"/>
              </a:ext>
            </a:extLst>
          </p:cNvPr>
          <p:cNvSpPr/>
          <p:nvPr/>
        </p:nvSpPr>
        <p:spPr>
          <a:xfrm>
            <a:off x="5313718" y="322827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CDC GitHub</a:t>
            </a:r>
          </a:p>
        </p:txBody>
      </p:sp>
      <p:sp>
        <p:nvSpPr>
          <p:cNvPr id="9" name="Rectangle 8">
            <a:extLst>
              <a:ext uri="{FF2B5EF4-FFF2-40B4-BE49-F238E27FC236}">
                <a16:creationId xmlns:a16="http://schemas.microsoft.com/office/drawing/2014/main" id="{FC47455C-BE5E-9B46-A8F2-33D49C655F92}"/>
              </a:ext>
            </a:extLst>
          </p:cNvPr>
          <p:cNvSpPr/>
          <p:nvPr/>
        </p:nvSpPr>
        <p:spPr>
          <a:xfrm>
            <a:off x="6807853" y="322827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err="1"/>
              <a:t>ECPaaS</a:t>
            </a:r>
            <a:r>
              <a:rPr lang="en-US" sz="1000"/>
              <a:t> Dev</a:t>
            </a:r>
          </a:p>
        </p:txBody>
      </p:sp>
      <p:sp>
        <p:nvSpPr>
          <p:cNvPr id="12" name="TextBox 11">
            <a:extLst>
              <a:ext uri="{FF2B5EF4-FFF2-40B4-BE49-F238E27FC236}">
                <a16:creationId xmlns:a16="http://schemas.microsoft.com/office/drawing/2014/main" id="{4793E1DF-A8BA-4B45-814D-CE4487530B8C}"/>
              </a:ext>
            </a:extLst>
          </p:cNvPr>
          <p:cNvSpPr txBox="1"/>
          <p:nvPr/>
        </p:nvSpPr>
        <p:spPr>
          <a:xfrm>
            <a:off x="4686245" y="4013278"/>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eloper</a:t>
            </a:r>
          </a:p>
          <a:p>
            <a:pPr>
              <a:lnSpc>
                <a:spcPct val="80000"/>
              </a:lnSpc>
              <a:spcBef>
                <a:spcPts val="0"/>
              </a:spcBef>
            </a:pPr>
            <a:r>
              <a:rPr lang="en-US" sz="1100" b="0">
                <a:solidFill>
                  <a:schemeClr val="tx1"/>
                </a:solidFill>
                <a:latin typeface="+mn-lt"/>
              </a:rPr>
              <a:t>Submits new code changes</a:t>
            </a:r>
          </a:p>
        </p:txBody>
      </p:sp>
      <p:sp>
        <p:nvSpPr>
          <p:cNvPr id="13" name="Left Brace 12">
            <a:extLst>
              <a:ext uri="{FF2B5EF4-FFF2-40B4-BE49-F238E27FC236}">
                <a16:creationId xmlns:a16="http://schemas.microsoft.com/office/drawing/2014/main" id="{35C1F822-75BF-944C-B30D-BAEED58529DB}"/>
              </a:ext>
            </a:extLst>
          </p:cNvPr>
          <p:cNvSpPr/>
          <p:nvPr/>
        </p:nvSpPr>
        <p:spPr>
          <a:xfrm rot="16200000" flipH="1" flipV="1">
            <a:off x="8360351" y="1259262"/>
            <a:ext cx="271297" cy="3376294"/>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14" name="TextBox 13">
            <a:extLst>
              <a:ext uri="{FF2B5EF4-FFF2-40B4-BE49-F238E27FC236}">
                <a16:creationId xmlns:a16="http://schemas.microsoft.com/office/drawing/2014/main" id="{D9574139-CC82-2D45-8309-DFE356415800}"/>
              </a:ext>
            </a:extLst>
          </p:cNvPr>
          <p:cNvSpPr txBox="1"/>
          <p:nvPr/>
        </p:nvSpPr>
        <p:spPr>
          <a:xfrm>
            <a:off x="7599993" y="2438236"/>
            <a:ext cx="1460963" cy="333256"/>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CDC </a:t>
            </a:r>
            <a:r>
              <a:rPr lang="en-US" sz="1100" err="1">
                <a:solidFill>
                  <a:schemeClr val="tx1"/>
                </a:solidFill>
                <a:latin typeface="+mn-lt"/>
              </a:rPr>
              <a:t>ECPaaS</a:t>
            </a:r>
            <a:endParaRPr lang="en-US" sz="1100">
              <a:solidFill>
                <a:schemeClr val="tx1"/>
              </a:solidFill>
              <a:latin typeface="+mn-lt"/>
            </a:endParaRPr>
          </a:p>
        </p:txBody>
      </p:sp>
      <p:cxnSp>
        <p:nvCxnSpPr>
          <p:cNvPr id="15" name="Straight Connector 74">
            <a:extLst>
              <a:ext uri="{FF2B5EF4-FFF2-40B4-BE49-F238E27FC236}">
                <a16:creationId xmlns:a16="http://schemas.microsoft.com/office/drawing/2014/main" id="{B2FB466C-6DB7-AA43-BCCB-F6EC0AF9A2E3}"/>
              </a:ext>
            </a:extLst>
          </p:cNvPr>
          <p:cNvCxnSpPr>
            <a:cxnSpLocks/>
            <a:stCxn id="6" idx="0"/>
            <a:endCxn id="91" idx="2"/>
          </p:cNvCxnSpPr>
          <p:nvPr/>
        </p:nvCxnSpPr>
        <p:spPr>
          <a:xfrm rot="16200000" flipV="1">
            <a:off x="5237993" y="2695347"/>
            <a:ext cx="556559" cy="509293"/>
          </a:xfrm>
          <a:prstGeom prst="bentConnector3">
            <a:avLst>
              <a:gd name="adj1" fmla="val 63550"/>
            </a:avLst>
          </a:prstGeom>
          <a:noFill/>
          <a:ln w="22225" cmpd="sng">
            <a:solidFill>
              <a:srgbClr val="D6D6D6"/>
            </a:solidFill>
            <a:prstDash val="sysDash"/>
            <a:tailEnd type="triangle"/>
          </a:ln>
          <a:effectLst/>
        </p:spPr>
      </p:cxnSp>
      <p:sp>
        <p:nvSpPr>
          <p:cNvPr id="21" name="Rectangle 20">
            <a:extLst>
              <a:ext uri="{FF2B5EF4-FFF2-40B4-BE49-F238E27FC236}">
                <a16:creationId xmlns:a16="http://schemas.microsoft.com/office/drawing/2014/main" id="{F1958830-145C-984D-9030-71E69425D5D2}"/>
              </a:ext>
            </a:extLst>
          </p:cNvPr>
          <p:cNvSpPr/>
          <p:nvPr/>
        </p:nvSpPr>
        <p:spPr>
          <a:xfrm>
            <a:off x="9269747" y="3228273"/>
            <a:ext cx="914400" cy="613520"/>
          </a:xfrm>
          <a:prstGeom prst="rect">
            <a:avLst/>
          </a:prstGeom>
          <a:solidFill>
            <a:srgbClr val="FFBB8E"/>
          </a:solidFill>
          <a:ln w="6350" algn="ctr">
            <a:solidFill>
              <a:srgbClr val="C00000"/>
            </a:solidFill>
            <a:miter lim="800000"/>
            <a:headEnd type="none" w="sm" len="sm"/>
            <a:tailEnd type="none" w="sm" len="sm"/>
          </a:ln>
        </p:spPr>
        <p:txBody>
          <a:bodyPr wrap="square" lIns="0" tIns="0" rIns="0" bIns="0" anchor="ctr"/>
          <a:lstStyle/>
          <a:p>
            <a:pPr algn="ctr"/>
            <a:r>
              <a:rPr lang="en-US" sz="1000" err="1"/>
              <a:t>ECPaaS</a:t>
            </a:r>
            <a:r>
              <a:rPr lang="en-US" sz="1000"/>
              <a:t> Production</a:t>
            </a:r>
          </a:p>
        </p:txBody>
      </p:sp>
      <p:cxnSp>
        <p:nvCxnSpPr>
          <p:cNvPr id="22" name="Straight Connector 74">
            <a:extLst>
              <a:ext uri="{FF2B5EF4-FFF2-40B4-BE49-F238E27FC236}">
                <a16:creationId xmlns:a16="http://schemas.microsoft.com/office/drawing/2014/main" id="{4A0F444D-64E0-4348-9CBD-109983736642}"/>
              </a:ext>
            </a:extLst>
          </p:cNvPr>
          <p:cNvCxnSpPr>
            <a:cxnSpLocks/>
            <a:stCxn id="9" idx="3"/>
            <a:endCxn id="33" idx="1"/>
          </p:cNvCxnSpPr>
          <p:nvPr/>
        </p:nvCxnSpPr>
        <p:spPr>
          <a:xfrm>
            <a:off x="7722253" y="3535033"/>
            <a:ext cx="342422" cy="0"/>
          </a:xfrm>
          <a:prstGeom prst="straightConnector1">
            <a:avLst/>
          </a:prstGeom>
          <a:noFill/>
          <a:ln w="22225" cmpd="sng">
            <a:solidFill>
              <a:srgbClr val="D6D6D6"/>
            </a:solidFill>
            <a:tailEnd type="triangle"/>
          </a:ln>
          <a:effectLst/>
        </p:spPr>
      </p:cxnSp>
      <p:sp>
        <p:nvSpPr>
          <p:cNvPr id="24" name="Rectangle 23">
            <a:extLst>
              <a:ext uri="{FF2B5EF4-FFF2-40B4-BE49-F238E27FC236}">
                <a16:creationId xmlns:a16="http://schemas.microsoft.com/office/drawing/2014/main" id="{05753340-1ED1-0B45-9528-C8FB88C5B924}"/>
              </a:ext>
            </a:extLst>
          </p:cNvPr>
          <p:cNvSpPr/>
          <p:nvPr/>
        </p:nvSpPr>
        <p:spPr>
          <a:xfrm>
            <a:off x="8628901" y="5121208"/>
            <a:ext cx="1572756" cy="323084"/>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ostgres Dev</a:t>
            </a:r>
          </a:p>
        </p:txBody>
      </p:sp>
      <p:pic>
        <p:nvPicPr>
          <p:cNvPr id="28" name="Picture 27">
            <a:extLst>
              <a:ext uri="{FF2B5EF4-FFF2-40B4-BE49-F238E27FC236}">
                <a16:creationId xmlns:a16="http://schemas.microsoft.com/office/drawing/2014/main" id="{071ACE07-A71A-4B47-8085-C21CC5129766}"/>
              </a:ext>
            </a:extLst>
          </p:cNvPr>
          <p:cNvPicPr>
            <a:picLocks noChangeAspect="1"/>
          </p:cNvPicPr>
          <p:nvPr/>
        </p:nvPicPr>
        <p:blipFill>
          <a:blip r:embed="rId3"/>
          <a:stretch>
            <a:fillRect/>
          </a:stretch>
        </p:blipFill>
        <p:spPr>
          <a:xfrm>
            <a:off x="8934104" y="2458814"/>
            <a:ext cx="317500" cy="292100"/>
          </a:xfrm>
          <a:prstGeom prst="rect">
            <a:avLst/>
          </a:prstGeom>
        </p:spPr>
      </p:pic>
      <p:sp>
        <p:nvSpPr>
          <p:cNvPr id="30" name="Rectangle 29">
            <a:extLst>
              <a:ext uri="{FF2B5EF4-FFF2-40B4-BE49-F238E27FC236}">
                <a16:creationId xmlns:a16="http://schemas.microsoft.com/office/drawing/2014/main" id="{D422DB41-3AB0-2648-B589-864A6BEEF597}"/>
              </a:ext>
            </a:extLst>
          </p:cNvPr>
          <p:cNvSpPr/>
          <p:nvPr/>
        </p:nvSpPr>
        <p:spPr>
          <a:xfrm>
            <a:off x="10573556" y="5121208"/>
            <a:ext cx="914400" cy="320098"/>
          </a:xfrm>
          <a:prstGeom prst="rect">
            <a:avLst/>
          </a:prstGeom>
          <a:solidFill>
            <a:srgbClr val="FFBB8E"/>
          </a:solidFill>
          <a:ln w="6350" algn="ctr">
            <a:solidFill>
              <a:srgbClr val="C00000"/>
            </a:solidFill>
            <a:miter lim="800000"/>
            <a:headEnd type="none" w="sm" len="sm"/>
            <a:tailEnd type="none" w="sm" len="sm"/>
          </a:ln>
        </p:spPr>
        <p:txBody>
          <a:bodyPr wrap="square" lIns="0" tIns="0" rIns="0" bIns="0" anchor="ctr"/>
          <a:lstStyle/>
          <a:p>
            <a:pPr algn="ctr"/>
            <a:r>
              <a:rPr lang="en-US" sz="1000"/>
              <a:t>Postgres Production</a:t>
            </a:r>
          </a:p>
        </p:txBody>
      </p:sp>
      <p:sp>
        <p:nvSpPr>
          <p:cNvPr id="33" name="Rectangle 32">
            <a:extLst>
              <a:ext uri="{FF2B5EF4-FFF2-40B4-BE49-F238E27FC236}">
                <a16:creationId xmlns:a16="http://schemas.microsoft.com/office/drawing/2014/main" id="{E6C1EB0B-D6C7-8844-A72A-363F4C64F301}"/>
              </a:ext>
            </a:extLst>
          </p:cNvPr>
          <p:cNvSpPr/>
          <p:nvPr/>
        </p:nvSpPr>
        <p:spPr>
          <a:xfrm>
            <a:off x="8064675" y="3228273"/>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1000"/>
              <a:t>Security Scan</a:t>
            </a:r>
          </a:p>
        </p:txBody>
      </p:sp>
      <p:cxnSp>
        <p:nvCxnSpPr>
          <p:cNvPr id="36" name="Straight Connector 74">
            <a:extLst>
              <a:ext uri="{FF2B5EF4-FFF2-40B4-BE49-F238E27FC236}">
                <a16:creationId xmlns:a16="http://schemas.microsoft.com/office/drawing/2014/main" id="{2503D715-EC65-7947-8142-DBBF9AE9D5E9}"/>
              </a:ext>
            </a:extLst>
          </p:cNvPr>
          <p:cNvCxnSpPr>
            <a:cxnSpLocks/>
            <a:stCxn id="33" idx="3"/>
            <a:endCxn id="21" idx="1"/>
          </p:cNvCxnSpPr>
          <p:nvPr/>
        </p:nvCxnSpPr>
        <p:spPr>
          <a:xfrm>
            <a:off x="8979075" y="3535033"/>
            <a:ext cx="290672" cy="0"/>
          </a:xfrm>
          <a:prstGeom prst="straightConnector1">
            <a:avLst/>
          </a:prstGeom>
          <a:noFill/>
          <a:ln w="22225" cmpd="sng">
            <a:solidFill>
              <a:srgbClr val="D6D6D6"/>
            </a:solidFill>
            <a:tailEnd type="triangle"/>
          </a:ln>
          <a:effectLst/>
        </p:spPr>
      </p:cxnSp>
      <p:sp>
        <p:nvSpPr>
          <p:cNvPr id="53" name="Rectangle 52">
            <a:extLst>
              <a:ext uri="{FF2B5EF4-FFF2-40B4-BE49-F238E27FC236}">
                <a16:creationId xmlns:a16="http://schemas.microsoft.com/office/drawing/2014/main" id="{E3DC0D3C-7BDA-9349-A187-4CFBCA7DFEE5}"/>
              </a:ext>
            </a:extLst>
          </p:cNvPr>
          <p:cNvSpPr/>
          <p:nvPr/>
        </p:nvSpPr>
        <p:spPr>
          <a:xfrm>
            <a:off x="4090492" y="3228273"/>
            <a:ext cx="914400" cy="613520"/>
          </a:xfrm>
          <a:prstGeom prst="rect">
            <a:avLst/>
          </a:prstGeom>
          <a:solidFill>
            <a:schemeClr val="accent1">
              <a:lumMod val="20000"/>
              <a:lumOff val="80000"/>
            </a:schemeClr>
          </a:solidFill>
          <a:ln w="6350" algn="ctr">
            <a:solidFill>
              <a:schemeClr val="accent1"/>
            </a:solidFill>
            <a:miter lim="800000"/>
            <a:headEnd type="none" w="sm" len="sm"/>
            <a:tailEnd type="none" w="sm" len="sm"/>
          </a:ln>
        </p:spPr>
        <p:txBody>
          <a:bodyPr wrap="square" lIns="0" tIns="0" rIns="0" bIns="0" anchor="ctr"/>
          <a:lstStyle/>
          <a:p>
            <a:pPr algn="ctr"/>
            <a:r>
              <a:rPr lang="en-US" sz="1000"/>
              <a:t>Local Development</a:t>
            </a:r>
          </a:p>
        </p:txBody>
      </p:sp>
      <p:cxnSp>
        <p:nvCxnSpPr>
          <p:cNvPr id="64" name="Straight Connector 74">
            <a:extLst>
              <a:ext uri="{FF2B5EF4-FFF2-40B4-BE49-F238E27FC236}">
                <a16:creationId xmlns:a16="http://schemas.microsoft.com/office/drawing/2014/main" id="{AFA74A32-E6C2-3B4C-A37F-3E8F7FF99091}"/>
              </a:ext>
            </a:extLst>
          </p:cNvPr>
          <p:cNvCxnSpPr>
            <a:cxnSpLocks/>
            <a:stCxn id="53" idx="3"/>
            <a:endCxn id="6" idx="1"/>
          </p:cNvCxnSpPr>
          <p:nvPr/>
        </p:nvCxnSpPr>
        <p:spPr>
          <a:xfrm>
            <a:off x="5004892" y="3535033"/>
            <a:ext cx="308826" cy="0"/>
          </a:xfrm>
          <a:prstGeom prst="straightConnector1">
            <a:avLst/>
          </a:prstGeom>
          <a:noFill/>
          <a:ln w="22225" cmpd="sng">
            <a:solidFill>
              <a:srgbClr val="D6D6D6"/>
            </a:solidFill>
            <a:tailEnd type="triangle"/>
          </a:ln>
          <a:effectLst/>
        </p:spPr>
      </p:cxnSp>
      <p:sp>
        <p:nvSpPr>
          <p:cNvPr id="73" name="TextBox 72">
            <a:extLst>
              <a:ext uri="{FF2B5EF4-FFF2-40B4-BE49-F238E27FC236}">
                <a16:creationId xmlns:a16="http://schemas.microsoft.com/office/drawing/2014/main" id="{01103F7B-1CFB-6844-860B-AEB366E7B385}"/>
              </a:ext>
            </a:extLst>
          </p:cNvPr>
          <p:cNvSpPr txBox="1"/>
          <p:nvPr/>
        </p:nvSpPr>
        <p:spPr>
          <a:xfrm>
            <a:off x="8748323" y="3852509"/>
            <a:ext cx="1204930"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Submit to </a:t>
            </a:r>
            <a:r>
              <a:rPr lang="en-US" sz="1100" b="0" err="1">
                <a:solidFill>
                  <a:schemeClr val="tx1"/>
                </a:solidFill>
                <a:latin typeface="+mn-lt"/>
              </a:rPr>
              <a:t>ECPaaS</a:t>
            </a:r>
            <a:r>
              <a:rPr lang="en-US" sz="1100" b="0">
                <a:solidFill>
                  <a:schemeClr val="tx1"/>
                </a:solidFill>
                <a:latin typeface="+mn-lt"/>
              </a:rPr>
              <a:t> for deployment</a:t>
            </a:r>
          </a:p>
        </p:txBody>
      </p:sp>
      <p:sp>
        <p:nvSpPr>
          <p:cNvPr id="76" name="TextBox 75">
            <a:extLst>
              <a:ext uri="{FF2B5EF4-FFF2-40B4-BE49-F238E27FC236}">
                <a16:creationId xmlns:a16="http://schemas.microsoft.com/office/drawing/2014/main" id="{80FA2994-89D5-F046-A9FE-C07099E0D98A}"/>
              </a:ext>
            </a:extLst>
          </p:cNvPr>
          <p:cNvSpPr txBox="1"/>
          <p:nvPr/>
        </p:nvSpPr>
        <p:spPr>
          <a:xfrm>
            <a:off x="4078554" y="5189158"/>
            <a:ext cx="1204930" cy="39211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 Date / App / DevOp Team</a:t>
            </a:r>
          </a:p>
          <a:p>
            <a:pPr>
              <a:lnSpc>
                <a:spcPct val="80000"/>
              </a:lnSpc>
              <a:spcBef>
                <a:spcPts val="0"/>
              </a:spcBef>
            </a:pPr>
            <a:r>
              <a:rPr lang="en-US" sz="1100" b="0">
                <a:solidFill>
                  <a:schemeClr val="tx1"/>
                </a:solidFill>
                <a:latin typeface="+mn-lt"/>
              </a:rPr>
              <a:t>Copies data</a:t>
            </a:r>
          </a:p>
          <a:p>
            <a:pPr>
              <a:lnSpc>
                <a:spcPct val="80000"/>
              </a:lnSpc>
              <a:spcBef>
                <a:spcPts val="0"/>
              </a:spcBef>
            </a:pPr>
            <a:endParaRPr lang="en-US" sz="1100" b="0">
              <a:solidFill>
                <a:schemeClr val="tx1"/>
              </a:solidFill>
              <a:latin typeface="+mn-lt"/>
            </a:endParaRPr>
          </a:p>
        </p:txBody>
      </p:sp>
      <p:sp>
        <p:nvSpPr>
          <p:cNvPr id="77" name="Rectangle 76">
            <a:extLst>
              <a:ext uri="{FF2B5EF4-FFF2-40B4-BE49-F238E27FC236}">
                <a16:creationId xmlns:a16="http://schemas.microsoft.com/office/drawing/2014/main" id="{EEF5EC48-FE02-8C4C-9084-C90BFDF0B99C}"/>
              </a:ext>
            </a:extLst>
          </p:cNvPr>
          <p:cNvSpPr/>
          <p:nvPr/>
        </p:nvSpPr>
        <p:spPr>
          <a:xfrm>
            <a:off x="7150275" y="507210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Ingestion Service</a:t>
            </a:r>
          </a:p>
        </p:txBody>
      </p:sp>
      <p:cxnSp>
        <p:nvCxnSpPr>
          <p:cNvPr id="97" name="Straight Connector 74">
            <a:extLst>
              <a:ext uri="{FF2B5EF4-FFF2-40B4-BE49-F238E27FC236}">
                <a16:creationId xmlns:a16="http://schemas.microsoft.com/office/drawing/2014/main" id="{0566378F-203A-8242-B95A-3ADF0AB09F25}"/>
              </a:ext>
            </a:extLst>
          </p:cNvPr>
          <p:cNvCxnSpPr>
            <a:cxnSpLocks/>
            <a:stCxn id="24" idx="3"/>
            <a:endCxn id="30" idx="1"/>
          </p:cNvCxnSpPr>
          <p:nvPr/>
        </p:nvCxnSpPr>
        <p:spPr>
          <a:xfrm flipV="1">
            <a:off x="10201657" y="5281257"/>
            <a:ext cx="371899" cy="1493"/>
          </a:xfrm>
          <a:prstGeom prst="bentConnector3">
            <a:avLst>
              <a:gd name="adj1" fmla="val 50000"/>
            </a:avLst>
          </a:prstGeom>
          <a:noFill/>
          <a:ln w="22225" cmpd="sng">
            <a:solidFill>
              <a:srgbClr val="D6D6D6"/>
            </a:solidFill>
            <a:tailEnd type="triangle"/>
          </a:ln>
          <a:effectLst/>
        </p:spPr>
      </p:cxnSp>
      <p:sp>
        <p:nvSpPr>
          <p:cNvPr id="126" name="TextBox 125">
            <a:extLst>
              <a:ext uri="{FF2B5EF4-FFF2-40B4-BE49-F238E27FC236}">
                <a16:creationId xmlns:a16="http://schemas.microsoft.com/office/drawing/2014/main" id="{7A97EF4C-5050-514A-9654-A0C1A56C57F7}"/>
              </a:ext>
            </a:extLst>
          </p:cNvPr>
          <p:cNvSpPr txBox="1"/>
          <p:nvPr/>
        </p:nvSpPr>
        <p:spPr>
          <a:xfrm>
            <a:off x="6752509" y="3815091"/>
            <a:ext cx="100919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b="0">
                <a:solidFill>
                  <a:schemeClr val="tx1"/>
                </a:solidFill>
                <a:latin typeface="+mn-lt"/>
              </a:rPr>
              <a:t>DevOp Config &amp; Deploy</a:t>
            </a:r>
          </a:p>
        </p:txBody>
      </p:sp>
      <p:sp>
        <p:nvSpPr>
          <p:cNvPr id="128" name="Rectangle 127">
            <a:extLst>
              <a:ext uri="{FF2B5EF4-FFF2-40B4-BE49-F238E27FC236}">
                <a16:creationId xmlns:a16="http://schemas.microsoft.com/office/drawing/2014/main" id="{7FB8D9AA-B8D8-6448-87FD-20250E80D346}"/>
              </a:ext>
            </a:extLst>
          </p:cNvPr>
          <p:cNvSpPr/>
          <p:nvPr/>
        </p:nvSpPr>
        <p:spPr bwMode="gray">
          <a:xfrm>
            <a:off x="4380177" y="1623306"/>
            <a:ext cx="1890049" cy="137555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Deloitte AWS</a:t>
            </a:r>
          </a:p>
        </p:txBody>
      </p:sp>
      <p:sp>
        <p:nvSpPr>
          <p:cNvPr id="131" name="Rectangle 130">
            <a:extLst>
              <a:ext uri="{FF2B5EF4-FFF2-40B4-BE49-F238E27FC236}">
                <a16:creationId xmlns:a16="http://schemas.microsoft.com/office/drawing/2014/main" id="{6D0B2F07-98BC-484C-8E94-0A7D88BB3C64}"/>
              </a:ext>
            </a:extLst>
          </p:cNvPr>
          <p:cNvSpPr/>
          <p:nvPr/>
        </p:nvSpPr>
        <p:spPr bwMode="gray">
          <a:xfrm>
            <a:off x="6460874" y="1623306"/>
            <a:ext cx="4234757" cy="2803811"/>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 Enterprise &amp; Cloud</a:t>
            </a:r>
          </a:p>
        </p:txBody>
      </p:sp>
      <p:sp>
        <p:nvSpPr>
          <p:cNvPr id="145" name="Rectangle 144">
            <a:extLst>
              <a:ext uri="{FF2B5EF4-FFF2-40B4-BE49-F238E27FC236}">
                <a16:creationId xmlns:a16="http://schemas.microsoft.com/office/drawing/2014/main" id="{3E8AFB6B-DC07-2242-8704-09BC7C4933D2}"/>
              </a:ext>
            </a:extLst>
          </p:cNvPr>
          <p:cNvSpPr/>
          <p:nvPr/>
        </p:nvSpPr>
        <p:spPr>
          <a:xfrm>
            <a:off x="5182057" y="5078453"/>
            <a:ext cx="914400" cy="613520"/>
          </a:xfrm>
          <a:prstGeom prst="rect">
            <a:avLst/>
          </a:prstGeom>
          <a:solidFill>
            <a:schemeClr val="accent1">
              <a:lumMod val="20000"/>
              <a:lumOff val="80000"/>
            </a:schemeClr>
          </a:solidFill>
          <a:ln w="6350" algn="ctr">
            <a:solidFill>
              <a:schemeClr val="accent1"/>
            </a:solidFill>
            <a:miter lim="800000"/>
            <a:headEnd type="none" w="sm" len="sm"/>
            <a:tailEnd type="none" w="sm" len="sm"/>
          </a:ln>
        </p:spPr>
        <p:txBody>
          <a:bodyPr wrap="square" lIns="0" tIns="0" rIns="0" bIns="0" anchor="ctr"/>
          <a:lstStyle/>
          <a:p>
            <a:pPr algn="ctr"/>
            <a:r>
              <a:rPr lang="en-US" sz="1000"/>
              <a:t>Data Sources</a:t>
            </a:r>
          </a:p>
        </p:txBody>
      </p:sp>
      <p:cxnSp>
        <p:nvCxnSpPr>
          <p:cNvPr id="150" name="Straight Connector 74">
            <a:extLst>
              <a:ext uri="{FF2B5EF4-FFF2-40B4-BE49-F238E27FC236}">
                <a16:creationId xmlns:a16="http://schemas.microsoft.com/office/drawing/2014/main" id="{9054AA54-1474-3343-A484-0C6A00A9EF43}"/>
              </a:ext>
            </a:extLst>
          </p:cNvPr>
          <p:cNvCxnSpPr>
            <a:cxnSpLocks/>
            <a:stCxn id="145" idx="3"/>
            <a:endCxn id="77" idx="1"/>
          </p:cNvCxnSpPr>
          <p:nvPr/>
        </p:nvCxnSpPr>
        <p:spPr>
          <a:xfrm flipV="1">
            <a:off x="6096457" y="5378863"/>
            <a:ext cx="1053818" cy="6350"/>
          </a:xfrm>
          <a:prstGeom prst="bentConnector3">
            <a:avLst>
              <a:gd name="adj1" fmla="val 50000"/>
            </a:avLst>
          </a:prstGeom>
          <a:noFill/>
          <a:ln w="22225" cmpd="sng">
            <a:solidFill>
              <a:srgbClr val="D6D6D6"/>
            </a:solidFill>
            <a:tailEnd type="triangle"/>
          </a:ln>
          <a:effectLst/>
        </p:spPr>
      </p:cxnSp>
      <p:cxnSp>
        <p:nvCxnSpPr>
          <p:cNvPr id="54" name="Straight Connector 74">
            <a:extLst>
              <a:ext uri="{FF2B5EF4-FFF2-40B4-BE49-F238E27FC236}">
                <a16:creationId xmlns:a16="http://schemas.microsoft.com/office/drawing/2014/main" id="{C6393E9B-F467-A34D-BE60-70EDF7C12186}"/>
              </a:ext>
            </a:extLst>
          </p:cNvPr>
          <p:cNvCxnSpPr>
            <a:cxnSpLocks/>
            <a:stCxn id="6" idx="3"/>
            <a:endCxn id="9" idx="1"/>
          </p:cNvCxnSpPr>
          <p:nvPr/>
        </p:nvCxnSpPr>
        <p:spPr>
          <a:xfrm>
            <a:off x="6228118" y="3535033"/>
            <a:ext cx="579735" cy="0"/>
          </a:xfrm>
          <a:prstGeom prst="straightConnector1">
            <a:avLst/>
          </a:prstGeom>
          <a:noFill/>
          <a:ln w="22225" cmpd="sng">
            <a:solidFill>
              <a:srgbClr val="D6D6D6"/>
            </a:solidFill>
            <a:tailEnd type="triangle"/>
          </a:ln>
          <a:effectLst/>
        </p:spPr>
      </p:cxnSp>
      <p:sp>
        <p:nvSpPr>
          <p:cNvPr id="91" name="Rectangle 90">
            <a:extLst>
              <a:ext uri="{FF2B5EF4-FFF2-40B4-BE49-F238E27FC236}">
                <a16:creationId xmlns:a16="http://schemas.microsoft.com/office/drawing/2014/main" id="{F2954D11-234A-D74F-BE2E-76A5431694E4}"/>
              </a:ext>
            </a:extLst>
          </p:cNvPr>
          <p:cNvSpPr/>
          <p:nvPr/>
        </p:nvSpPr>
        <p:spPr>
          <a:xfrm>
            <a:off x="4804425" y="2058194"/>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ECS Deployment</a:t>
            </a:r>
          </a:p>
        </p:txBody>
      </p:sp>
      <p:sp>
        <p:nvSpPr>
          <p:cNvPr id="95" name="Rectangle 94">
            <a:extLst>
              <a:ext uri="{FF2B5EF4-FFF2-40B4-BE49-F238E27FC236}">
                <a16:creationId xmlns:a16="http://schemas.microsoft.com/office/drawing/2014/main" id="{A5C3B437-3E43-B94D-A46E-8B5EAE878DE2}"/>
              </a:ext>
            </a:extLst>
          </p:cNvPr>
          <p:cNvSpPr/>
          <p:nvPr/>
        </p:nvSpPr>
        <p:spPr bwMode="gray">
          <a:xfrm>
            <a:off x="6460874" y="4593645"/>
            <a:ext cx="5261226" cy="1459372"/>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CDC Cloud Purposeful Databases</a:t>
            </a:r>
          </a:p>
        </p:txBody>
      </p:sp>
      <p:cxnSp>
        <p:nvCxnSpPr>
          <p:cNvPr id="114" name="Straight Connector 74">
            <a:extLst>
              <a:ext uri="{FF2B5EF4-FFF2-40B4-BE49-F238E27FC236}">
                <a16:creationId xmlns:a16="http://schemas.microsoft.com/office/drawing/2014/main" id="{97AFC2A4-6861-9A46-8995-76C1702415AF}"/>
              </a:ext>
            </a:extLst>
          </p:cNvPr>
          <p:cNvCxnSpPr>
            <a:cxnSpLocks/>
            <a:endCxn id="24" idx="1"/>
          </p:cNvCxnSpPr>
          <p:nvPr/>
        </p:nvCxnSpPr>
        <p:spPr>
          <a:xfrm flipV="1">
            <a:off x="8074703" y="5282750"/>
            <a:ext cx="554198" cy="5409"/>
          </a:xfrm>
          <a:prstGeom prst="bentConnector3">
            <a:avLst>
              <a:gd name="adj1" fmla="val 50000"/>
            </a:avLst>
          </a:prstGeom>
          <a:noFill/>
          <a:ln w="22225" cmpd="sng">
            <a:solidFill>
              <a:srgbClr val="D6D6D6"/>
            </a:solidFill>
            <a:tailEnd type="triangle"/>
          </a:ln>
          <a:effectLst/>
        </p:spPr>
      </p:cxnSp>
    </p:spTree>
    <p:extLst>
      <p:ext uri="{BB962C8B-B14F-4D97-AF65-F5344CB8AC3E}">
        <p14:creationId xmlns:p14="http://schemas.microsoft.com/office/powerpoint/2010/main" val="69680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CA9A35-5DDD-7141-AAFA-6F89F98D8591}"/>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EB69C7C5-0442-9746-8349-DA37934F0962}"/>
              </a:ext>
            </a:extLst>
          </p:cNvPr>
          <p:cNvSpPr>
            <a:spLocks noGrp="1"/>
          </p:cNvSpPr>
          <p:nvPr>
            <p:ph type="title"/>
          </p:nvPr>
        </p:nvSpPr>
        <p:spPr/>
        <p:txBody>
          <a:bodyPr/>
          <a:lstStyle/>
          <a:p>
            <a:r>
              <a:rPr lang="en-US"/>
              <a:t>Data Resilience, Durability, and Availability</a:t>
            </a:r>
          </a:p>
        </p:txBody>
      </p:sp>
    </p:spTree>
    <p:extLst>
      <p:ext uri="{BB962C8B-B14F-4D97-AF65-F5344CB8AC3E}">
        <p14:creationId xmlns:p14="http://schemas.microsoft.com/office/powerpoint/2010/main" val="40930299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EEF4A-04AE-4407-9E95-999A01506E45}"/>
              </a:ext>
            </a:extLst>
          </p:cNvPr>
          <p:cNvSpPr>
            <a:spLocks noGrp="1"/>
          </p:cNvSpPr>
          <p:nvPr>
            <p:ph type="title"/>
          </p:nvPr>
        </p:nvSpPr>
        <p:spPr/>
        <p:txBody>
          <a:bodyPr/>
          <a:lstStyle/>
          <a:p>
            <a:r>
              <a:rPr lang="en-US" sz="3600">
                <a:ea typeface="+mj-lt"/>
                <a:cs typeface="+mj-lt"/>
              </a:rPr>
              <a:t>Operations</a:t>
            </a:r>
          </a:p>
        </p:txBody>
      </p:sp>
      <p:sp>
        <p:nvSpPr>
          <p:cNvPr id="3" name="Content Placeholder 2">
            <a:extLst>
              <a:ext uri="{FF2B5EF4-FFF2-40B4-BE49-F238E27FC236}">
                <a16:creationId xmlns:a16="http://schemas.microsoft.com/office/drawing/2014/main" id="{C8088DC6-B419-4263-AC95-E7F35F448779}"/>
              </a:ext>
            </a:extLst>
          </p:cNvPr>
          <p:cNvSpPr>
            <a:spLocks noGrp="1"/>
          </p:cNvSpPr>
          <p:nvPr>
            <p:ph sz="half" idx="1"/>
          </p:nvPr>
        </p:nvSpPr>
        <p:spPr/>
        <p:txBody>
          <a:bodyPr vert="horz" lIns="91440" tIns="45720" rIns="91440" bIns="45720" rtlCol="0" anchor="t">
            <a:normAutofit/>
          </a:bodyPr>
          <a:lstStyle/>
          <a:p>
            <a:pPr marL="0" indent="0">
              <a:buNone/>
            </a:pPr>
            <a:r>
              <a:rPr lang="en-US" sz="1600" b="1">
                <a:cs typeface="Calibri" panose="020F0502020204030204"/>
              </a:rPr>
              <a:t>Key Questions</a:t>
            </a:r>
          </a:p>
          <a:p>
            <a:pPr marL="457200" indent="-457200"/>
            <a:r>
              <a:rPr lang="en-US" sz="1600">
                <a:cs typeface="Calibri" panose="020F0502020204030204"/>
              </a:rPr>
              <a:t>What processes are impeding time to deployment (dev/prod, scans, </a:t>
            </a:r>
            <a:r>
              <a:rPr lang="en-US" sz="1600" err="1">
                <a:cs typeface="Calibri" panose="020F0502020204030204"/>
              </a:rPr>
              <a:t>etc</a:t>
            </a:r>
            <a:r>
              <a:rPr lang="en-US" sz="1600">
                <a:cs typeface="Calibri" panose="020F0502020204030204"/>
              </a:rPr>
              <a:t>)?</a:t>
            </a:r>
          </a:p>
          <a:p>
            <a:pPr marL="457200" indent="-457200"/>
            <a:r>
              <a:rPr lang="en-US" sz="1600">
                <a:cs typeface="Calibri" panose="020F0502020204030204"/>
              </a:rPr>
              <a:t>What are best practices we need to automate manual tasks?</a:t>
            </a:r>
          </a:p>
          <a:p>
            <a:pPr marL="457200" indent="-457200"/>
            <a:r>
              <a:rPr lang="en-US" sz="1600">
                <a:cs typeface="Calibri" panose="020F0502020204030204"/>
              </a:rPr>
              <a:t>How can we consolidate procedures and support to improve efficiency?</a:t>
            </a:r>
          </a:p>
          <a:p>
            <a:pPr marL="457200" indent="-457200"/>
            <a:r>
              <a:rPr lang="en-US" sz="1600">
                <a:cs typeface="Calibri" panose="020F0502020204030204"/>
              </a:rPr>
              <a:t>How can we improve redundancy and fault tolerance in data and application stacks?</a:t>
            </a:r>
          </a:p>
          <a:p>
            <a:pPr marL="457200" indent="-457200"/>
            <a:endParaRPr lang="en-US" sz="1600">
              <a:cs typeface="Calibri" panose="020F0502020204030204"/>
            </a:endParaRPr>
          </a:p>
          <a:p>
            <a:pPr marL="0" indent="0">
              <a:buNone/>
            </a:pPr>
            <a:endParaRPr lang="en-US" sz="1600">
              <a:cs typeface="Calibri" panose="020F0502020204030204"/>
            </a:endParaRPr>
          </a:p>
        </p:txBody>
      </p:sp>
      <p:sp>
        <p:nvSpPr>
          <p:cNvPr id="4" name="Content Placeholder 3">
            <a:extLst>
              <a:ext uri="{FF2B5EF4-FFF2-40B4-BE49-F238E27FC236}">
                <a16:creationId xmlns:a16="http://schemas.microsoft.com/office/drawing/2014/main" id="{980DF6B4-9BF5-442A-8A09-B39D49EDE075}"/>
              </a:ext>
            </a:extLst>
          </p:cNvPr>
          <p:cNvSpPr>
            <a:spLocks noGrp="1"/>
          </p:cNvSpPr>
          <p:nvPr>
            <p:ph sz="half" idx="2"/>
          </p:nvPr>
        </p:nvSpPr>
        <p:spPr/>
        <p:txBody>
          <a:bodyPr>
            <a:normAutofit/>
          </a:bodyPr>
          <a:lstStyle/>
          <a:p>
            <a:endParaRPr lang="en-US"/>
          </a:p>
        </p:txBody>
      </p:sp>
    </p:spTree>
    <p:extLst>
      <p:ext uri="{BB962C8B-B14F-4D97-AF65-F5344CB8AC3E}">
        <p14:creationId xmlns:p14="http://schemas.microsoft.com/office/powerpoint/2010/main" val="1715448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5E65C-F4EF-44EB-82D7-0352E8A99F82}"/>
              </a:ext>
            </a:extLst>
          </p:cNvPr>
          <p:cNvSpPr>
            <a:spLocks noGrp="1"/>
          </p:cNvSpPr>
          <p:nvPr>
            <p:ph type="title"/>
          </p:nvPr>
        </p:nvSpPr>
        <p:spPr>
          <a:xfrm>
            <a:off x="914400" y="804672"/>
            <a:ext cx="3352800" cy="860597"/>
          </a:xfrm>
        </p:spPr>
        <p:txBody>
          <a:bodyPr>
            <a:normAutofit fontScale="90000"/>
          </a:bodyPr>
          <a:lstStyle/>
          <a:p>
            <a:r>
              <a:rPr lang="en-US">
                <a:ea typeface="+mj-lt"/>
                <a:cs typeface="+mj-lt"/>
              </a:rPr>
              <a:t>Application Development</a:t>
            </a:r>
          </a:p>
        </p:txBody>
      </p:sp>
      <p:sp>
        <p:nvSpPr>
          <p:cNvPr id="3" name="Content Placeholder 2">
            <a:extLst>
              <a:ext uri="{FF2B5EF4-FFF2-40B4-BE49-F238E27FC236}">
                <a16:creationId xmlns:a16="http://schemas.microsoft.com/office/drawing/2014/main" id="{56305F7F-B15F-4260-A5C2-A47F64F85F05}"/>
              </a:ext>
            </a:extLst>
          </p:cNvPr>
          <p:cNvSpPr>
            <a:spLocks noGrp="1"/>
          </p:cNvSpPr>
          <p:nvPr>
            <p:ph type="body" sz="quarter" idx="15"/>
          </p:nvPr>
        </p:nvSpPr>
        <p:spPr>
          <a:xfrm>
            <a:off x="914971" y="466344"/>
            <a:ext cx="3355848" cy="203200"/>
          </a:xfrm>
        </p:spPr>
        <p:txBody>
          <a:bodyPr vert="horz" lIns="91440" tIns="45720" rIns="91440" bIns="45720" rtlCol="0" anchor="t">
            <a:normAutofit fontScale="92500" lnSpcReduction="10000"/>
          </a:bodyPr>
          <a:lstStyle/>
          <a:p>
            <a:pPr marL="0" indent="0">
              <a:buNone/>
            </a:pPr>
            <a:r>
              <a:rPr lang="en-US">
                <a:cs typeface="Calibri"/>
              </a:rPr>
              <a:t>Guiding Principles &amp; Accelerators</a:t>
            </a:r>
          </a:p>
        </p:txBody>
      </p:sp>
      <p:sp>
        <p:nvSpPr>
          <p:cNvPr id="5" name="Text Placeholder 4">
            <a:extLst>
              <a:ext uri="{FF2B5EF4-FFF2-40B4-BE49-F238E27FC236}">
                <a16:creationId xmlns:a16="http://schemas.microsoft.com/office/drawing/2014/main" id="{B4472F0F-057A-BB43-A51F-7C536E5DC033}"/>
              </a:ext>
            </a:extLst>
          </p:cNvPr>
          <p:cNvSpPr>
            <a:spLocks noGrp="1"/>
          </p:cNvSpPr>
          <p:nvPr>
            <p:ph type="body" sz="quarter" idx="16"/>
          </p:nvPr>
        </p:nvSpPr>
        <p:spPr>
          <a:xfrm>
            <a:off x="914400" y="2543323"/>
            <a:ext cx="3355975" cy="2649408"/>
          </a:xfrm>
        </p:spPr>
        <p:txBody>
          <a:bodyPr/>
          <a:lstStyle/>
          <a:p>
            <a:r>
              <a:rPr lang="en-US">
                <a:cs typeface="Calibri"/>
              </a:rPr>
              <a:t>What </a:t>
            </a:r>
            <a:r>
              <a:rPr lang="en-US" b="1">
                <a:cs typeface="Calibri"/>
              </a:rPr>
              <a:t>processes</a:t>
            </a:r>
            <a:r>
              <a:rPr lang="en-US">
                <a:cs typeface="Calibri"/>
              </a:rPr>
              <a:t> are impeding development?</a:t>
            </a:r>
          </a:p>
          <a:p>
            <a:r>
              <a:rPr lang="en-US">
                <a:cs typeface="Calibri"/>
              </a:rPr>
              <a:t>What </a:t>
            </a:r>
            <a:r>
              <a:rPr lang="en-US" b="1">
                <a:cs typeface="Calibri"/>
              </a:rPr>
              <a:t>knowledge sharing/transition </a:t>
            </a:r>
            <a:r>
              <a:rPr lang="en-US">
                <a:cs typeface="Calibri"/>
              </a:rPr>
              <a:t>needs to occur for each pod?</a:t>
            </a:r>
          </a:p>
          <a:p>
            <a:r>
              <a:rPr lang="en-US">
                <a:cs typeface="Calibri"/>
              </a:rPr>
              <a:t>What are methods for </a:t>
            </a:r>
            <a:r>
              <a:rPr lang="en-US" b="1">
                <a:cs typeface="Calibri"/>
              </a:rPr>
              <a:t>delivering quality code </a:t>
            </a:r>
            <a:r>
              <a:rPr lang="en-US">
                <a:cs typeface="Calibri"/>
              </a:rPr>
              <a:t>across all pods?</a:t>
            </a:r>
          </a:p>
          <a:p>
            <a:r>
              <a:rPr lang="en-US">
                <a:cs typeface="Calibri"/>
              </a:rPr>
              <a:t>What </a:t>
            </a:r>
            <a:r>
              <a:rPr lang="en-US" b="1">
                <a:cs typeface="Calibri"/>
              </a:rPr>
              <a:t>best practices </a:t>
            </a:r>
            <a:r>
              <a:rPr lang="en-US">
                <a:cs typeface="Calibri"/>
              </a:rPr>
              <a:t>are essential for delivering products (versioning/tagging, checkpoints, etc.)</a:t>
            </a:r>
          </a:p>
        </p:txBody>
      </p:sp>
      <p:graphicFrame>
        <p:nvGraphicFramePr>
          <p:cNvPr id="73" name="Table 73">
            <a:extLst>
              <a:ext uri="{FF2B5EF4-FFF2-40B4-BE49-F238E27FC236}">
                <a16:creationId xmlns:a16="http://schemas.microsoft.com/office/drawing/2014/main" id="{289A4272-FF58-1F43-BA08-E1E4F503ED91}"/>
              </a:ext>
            </a:extLst>
          </p:cNvPr>
          <p:cNvGraphicFramePr>
            <a:graphicFrameLocks noGrp="1"/>
          </p:cNvGraphicFramePr>
          <p:nvPr>
            <p:extLst>
              <p:ext uri="{D42A27DB-BD31-4B8C-83A1-F6EECF244321}">
                <p14:modId xmlns:p14="http://schemas.microsoft.com/office/powerpoint/2010/main" val="4153138598"/>
              </p:ext>
            </p:extLst>
          </p:nvPr>
        </p:nvGraphicFramePr>
        <p:xfrm>
          <a:off x="5829886" y="929188"/>
          <a:ext cx="5795567" cy="2369820"/>
        </p:xfrm>
        <a:graphic>
          <a:graphicData uri="http://schemas.openxmlformats.org/drawingml/2006/table">
            <a:tbl>
              <a:tblPr firstRow="1" bandRow="1">
                <a:tableStyleId>{073A0DAA-6AF3-43AB-8588-CEC1D06C72B9}</a:tableStyleId>
              </a:tblPr>
              <a:tblGrid>
                <a:gridCol w="1731322">
                  <a:extLst>
                    <a:ext uri="{9D8B030D-6E8A-4147-A177-3AD203B41FA5}">
                      <a16:colId xmlns:a16="http://schemas.microsoft.com/office/drawing/2014/main" val="3551894191"/>
                    </a:ext>
                  </a:extLst>
                </a:gridCol>
                <a:gridCol w="4064245">
                  <a:extLst>
                    <a:ext uri="{9D8B030D-6E8A-4147-A177-3AD203B41FA5}">
                      <a16:colId xmlns:a16="http://schemas.microsoft.com/office/drawing/2014/main" val="482845941"/>
                    </a:ext>
                  </a:extLst>
                </a:gridCol>
              </a:tblGrid>
              <a:tr h="388620">
                <a:tc>
                  <a:txBody>
                    <a:bodyPr/>
                    <a:lstStyle/>
                    <a:p>
                      <a:r>
                        <a:rPr lang="en-US" sz="1100">
                          <a:solidFill>
                            <a:schemeClr val="tx1"/>
                          </a:solidFill>
                        </a:rPr>
                        <a:t>Measurement</a:t>
                      </a:r>
                    </a:p>
                  </a:txBody>
                  <a:tcPr>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r>
                        <a:rPr lang="en-US" sz="1100">
                          <a:solidFill>
                            <a:schemeClr val="tx1"/>
                          </a:solidFill>
                        </a:rPr>
                        <a:t>Objective</a:t>
                      </a:r>
                    </a:p>
                  </a:txBody>
                  <a:tcPr>
                    <a:lnB w="12700" cap="flat" cmpd="sng" algn="ctr">
                      <a:solidFill>
                        <a:schemeClr val="bg1">
                          <a:lumMod val="7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126457746"/>
                  </a:ext>
                </a:extLst>
              </a:tr>
              <a:tr h="388620">
                <a:tc>
                  <a:txBody>
                    <a:bodyPr/>
                    <a:lstStyle/>
                    <a:p>
                      <a:r>
                        <a:rPr lang="en-US" sz="1100"/>
                        <a:t>Test Coverag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100"/>
                        <a:t>Increase test Coverage every versio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9705197"/>
                  </a:ext>
                </a:extLst>
              </a:tr>
              <a:tr h="388620">
                <a:tc>
                  <a:txBody>
                    <a:bodyPr/>
                    <a:lstStyle/>
                    <a:p>
                      <a:r>
                        <a:rPr lang="en-US" sz="1100"/>
                        <a:t>Automated Code 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100"/>
                        <a:t>Lint Fre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5345952"/>
                  </a:ext>
                </a:extLst>
              </a:tr>
              <a:tr h="388620">
                <a:tc>
                  <a:txBody>
                    <a:bodyPr/>
                    <a:lstStyle/>
                    <a:p>
                      <a:r>
                        <a:rPr lang="en-US" sz="1100"/>
                        <a:t>Peer Code Review</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100"/>
                        <a:t>Review Turnaround &lt;2 Business day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5468760"/>
                  </a:ext>
                </a:extLst>
              </a:tr>
              <a:tr h="388620">
                <a:tc>
                  <a:txBody>
                    <a:bodyPr/>
                    <a:lstStyle/>
                    <a:p>
                      <a:r>
                        <a:rPr lang="en-US" sz="1100"/>
                        <a:t>Bug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100"/>
                        <a:t>Decrease number of bugs every versio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2459192"/>
                  </a:ext>
                </a:extLst>
              </a:tr>
              <a:tr h="388620">
                <a:tc>
                  <a:txBody>
                    <a:bodyPr/>
                    <a:lstStyle/>
                    <a:p>
                      <a:r>
                        <a:rPr lang="en-US" sz="1100"/>
                        <a:t>Time to Pro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100"/>
                        <a:t>1 Month (TB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22524494"/>
                  </a:ext>
                </a:extLst>
              </a:tr>
            </a:tbl>
          </a:graphicData>
        </a:graphic>
      </p:graphicFrame>
      <p:sp>
        <p:nvSpPr>
          <p:cNvPr id="6" name="Text Placeholder 4">
            <a:extLst>
              <a:ext uri="{FF2B5EF4-FFF2-40B4-BE49-F238E27FC236}">
                <a16:creationId xmlns:a16="http://schemas.microsoft.com/office/drawing/2014/main" id="{55C0ADFB-C6DD-0B4A-97F2-6DE6F7CC0829}"/>
              </a:ext>
            </a:extLst>
          </p:cNvPr>
          <p:cNvSpPr txBox="1">
            <a:spLocks/>
          </p:cNvSpPr>
          <p:nvPr/>
        </p:nvSpPr>
        <p:spPr>
          <a:xfrm>
            <a:off x="5829886" y="4215045"/>
            <a:ext cx="5628336" cy="2374729"/>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buFont typeface="+mj-lt"/>
              <a:buAutoNum type="arabicPeriod"/>
            </a:pPr>
            <a:r>
              <a:rPr lang="en-US">
                <a:cs typeface="Calibri"/>
              </a:rPr>
              <a:t>Aim for high test coverage to improve quality and reduce issues during integration</a:t>
            </a:r>
          </a:p>
          <a:p>
            <a:pPr marL="228600" indent="-228600">
              <a:buFont typeface="+mj-lt"/>
              <a:buAutoNum type="arabicPeriod"/>
            </a:pPr>
            <a:r>
              <a:rPr lang="en-US">
                <a:cs typeface="Calibri"/>
              </a:rPr>
              <a:t>Set standards for peer review to create consistent code</a:t>
            </a:r>
          </a:p>
          <a:p>
            <a:pPr marL="228600" indent="-228600">
              <a:buFont typeface="+mj-lt"/>
              <a:buAutoNum type="arabicPeriod"/>
            </a:pPr>
            <a:r>
              <a:rPr lang="en-US">
                <a:cs typeface="Calibri"/>
              </a:rPr>
              <a:t>Automate code standards to improve readability and review</a:t>
            </a:r>
          </a:p>
          <a:p>
            <a:pPr marL="228600" indent="-228600">
              <a:buFont typeface="+mj-lt"/>
              <a:buAutoNum type="arabicPeriod"/>
            </a:pPr>
            <a:r>
              <a:rPr lang="en-US">
                <a:cs typeface="Calibri"/>
              </a:rPr>
              <a:t>Document code for knowledge sharing and understandability</a:t>
            </a:r>
          </a:p>
          <a:p>
            <a:pPr marL="228600" indent="-228600">
              <a:buFont typeface="+mj-lt"/>
              <a:buAutoNum type="arabicPeriod"/>
            </a:pPr>
            <a:r>
              <a:rPr lang="en-US">
                <a:cs typeface="Calibri"/>
              </a:rPr>
              <a:t>Apply version control to releases and milestones</a:t>
            </a:r>
          </a:p>
        </p:txBody>
      </p:sp>
      <p:cxnSp>
        <p:nvCxnSpPr>
          <p:cNvPr id="7" name="Straight Connector 6">
            <a:extLst>
              <a:ext uri="{FF2B5EF4-FFF2-40B4-BE49-F238E27FC236}">
                <a16:creationId xmlns:a16="http://schemas.microsoft.com/office/drawing/2014/main" id="{D297C212-BE28-8A47-914B-FEEF927A03D8}"/>
              </a:ext>
            </a:extLst>
          </p:cNvPr>
          <p:cNvCxnSpPr>
            <a:cxnSpLocks/>
          </p:cNvCxnSpPr>
          <p:nvPr/>
        </p:nvCxnSpPr>
        <p:spPr>
          <a:xfrm flipH="1" flipV="1">
            <a:off x="6096000" y="3790786"/>
            <a:ext cx="4758424" cy="18569"/>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A2AA324-AED5-6D46-BFD5-168C00A39012}"/>
              </a:ext>
            </a:extLst>
          </p:cNvPr>
          <p:cNvSpPr txBox="1"/>
          <p:nvPr/>
        </p:nvSpPr>
        <p:spPr>
          <a:xfrm>
            <a:off x="7393517" y="3635937"/>
            <a:ext cx="2043162" cy="24622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spc="300">
                <a:solidFill>
                  <a:srgbClr val="000000"/>
                </a:solidFill>
                <a:latin typeface="Open Sans"/>
                <a:ea typeface="Open Sans" charset="0"/>
                <a:cs typeface="Open Sans" charset="0"/>
              </a:rPr>
              <a:t>Guiding Principles</a:t>
            </a:r>
            <a:endParaRPr kumimoji="0" lang="en-US" sz="1000" b="1" i="0" u="none" strike="noStrike" kern="1200" cap="none" spc="300" normalizeH="0" baseline="0" noProof="0">
              <a:ln>
                <a:noFill/>
              </a:ln>
              <a:solidFill>
                <a:srgbClr val="000000"/>
              </a:solidFill>
              <a:effectLst/>
              <a:uLnTx/>
              <a:uFillTx/>
              <a:latin typeface="Open Sans"/>
              <a:ea typeface="Open Sans" charset="0"/>
              <a:cs typeface="Open Sans" charset="0"/>
            </a:endParaRPr>
          </a:p>
        </p:txBody>
      </p:sp>
      <p:cxnSp>
        <p:nvCxnSpPr>
          <p:cNvPr id="9" name="Straight Connector 8">
            <a:extLst>
              <a:ext uri="{FF2B5EF4-FFF2-40B4-BE49-F238E27FC236}">
                <a16:creationId xmlns:a16="http://schemas.microsoft.com/office/drawing/2014/main" id="{F20CF589-00E6-5A4F-826F-7EAE7ADC1FAA}"/>
              </a:ext>
            </a:extLst>
          </p:cNvPr>
          <p:cNvCxnSpPr>
            <a:cxnSpLocks/>
          </p:cNvCxnSpPr>
          <p:nvPr/>
        </p:nvCxnSpPr>
        <p:spPr>
          <a:xfrm flipH="1" flipV="1">
            <a:off x="914400" y="1995883"/>
            <a:ext cx="3898773" cy="50618"/>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256B5A4-5537-4540-98B2-386976E562CD}"/>
              </a:ext>
            </a:extLst>
          </p:cNvPr>
          <p:cNvSpPr txBox="1"/>
          <p:nvPr/>
        </p:nvSpPr>
        <p:spPr>
          <a:xfrm>
            <a:off x="1864064" y="1889543"/>
            <a:ext cx="2043162" cy="24622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spc="300">
                <a:solidFill>
                  <a:srgbClr val="000000"/>
                </a:solidFill>
                <a:latin typeface="Open Sans"/>
                <a:ea typeface="Open Sans" charset="0"/>
                <a:cs typeface="Open Sans" charset="0"/>
              </a:rPr>
              <a:t>Key Questions</a:t>
            </a:r>
            <a:endParaRPr kumimoji="0" lang="en-US" sz="1000" b="1" i="0" u="none" strike="noStrike" kern="1200" cap="none" spc="300" normalizeH="0" baseline="0" noProof="0">
              <a:ln>
                <a:noFill/>
              </a:ln>
              <a:solidFill>
                <a:srgbClr val="000000"/>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3645467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6F96-D6BB-DD40-AD3C-8C50B0DFF80B}"/>
              </a:ext>
            </a:extLst>
          </p:cNvPr>
          <p:cNvSpPr>
            <a:spLocks noGrp="1"/>
          </p:cNvSpPr>
          <p:nvPr>
            <p:ph type="title"/>
          </p:nvPr>
        </p:nvSpPr>
        <p:spPr/>
        <p:txBody>
          <a:bodyPr/>
          <a:lstStyle/>
          <a:p>
            <a:r>
              <a:rPr lang="en-US" sz="3600"/>
              <a:t>Current State: Application Lifecycle</a:t>
            </a:r>
          </a:p>
        </p:txBody>
      </p:sp>
      <p:sp>
        <p:nvSpPr>
          <p:cNvPr id="41" name="Rectangle 40">
            <a:extLst>
              <a:ext uri="{FF2B5EF4-FFF2-40B4-BE49-F238E27FC236}">
                <a16:creationId xmlns:a16="http://schemas.microsoft.com/office/drawing/2014/main" id="{C07F1A4F-5DD5-9140-B57E-0D34BCB80A5D}"/>
              </a:ext>
            </a:extLst>
          </p:cNvPr>
          <p:cNvSpPr/>
          <p:nvPr/>
        </p:nvSpPr>
        <p:spPr>
          <a:xfrm>
            <a:off x="3722060" y="334517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evelop</a:t>
            </a:r>
          </a:p>
        </p:txBody>
      </p:sp>
      <p:sp>
        <p:nvSpPr>
          <p:cNvPr id="42" name="Rectangle 41">
            <a:extLst>
              <a:ext uri="{FF2B5EF4-FFF2-40B4-BE49-F238E27FC236}">
                <a16:creationId xmlns:a16="http://schemas.microsoft.com/office/drawing/2014/main" id="{096326A9-D4B4-AC44-92C7-C2FF1E1DF175}"/>
              </a:ext>
            </a:extLst>
          </p:cNvPr>
          <p:cNvSpPr/>
          <p:nvPr/>
        </p:nvSpPr>
        <p:spPr>
          <a:xfrm>
            <a:off x="6621545" y="3335301"/>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Functional Test</a:t>
            </a:r>
          </a:p>
        </p:txBody>
      </p:sp>
      <p:cxnSp>
        <p:nvCxnSpPr>
          <p:cNvPr id="43" name="Straight Connector 74">
            <a:extLst>
              <a:ext uri="{FF2B5EF4-FFF2-40B4-BE49-F238E27FC236}">
                <a16:creationId xmlns:a16="http://schemas.microsoft.com/office/drawing/2014/main" id="{1F481355-9FC8-5447-9B2B-6F5FF2611EB7}"/>
              </a:ext>
            </a:extLst>
          </p:cNvPr>
          <p:cNvCxnSpPr>
            <a:cxnSpLocks/>
            <a:stCxn id="41" idx="3"/>
            <a:endCxn id="47" idx="1"/>
          </p:cNvCxnSpPr>
          <p:nvPr/>
        </p:nvCxnSpPr>
        <p:spPr>
          <a:xfrm>
            <a:off x="4636460" y="3651939"/>
            <a:ext cx="631887" cy="1411"/>
          </a:xfrm>
          <a:prstGeom prst="bentConnector3">
            <a:avLst>
              <a:gd name="adj1" fmla="val 50000"/>
            </a:avLst>
          </a:prstGeom>
          <a:noFill/>
          <a:ln w="22225" cmpd="sng">
            <a:solidFill>
              <a:srgbClr val="FDD300"/>
            </a:solidFill>
            <a:tailEnd type="triangle"/>
          </a:ln>
          <a:effectLst/>
        </p:spPr>
      </p:cxnSp>
      <p:sp>
        <p:nvSpPr>
          <p:cNvPr id="44" name="Rectangle 43">
            <a:extLst>
              <a:ext uri="{FF2B5EF4-FFF2-40B4-BE49-F238E27FC236}">
                <a16:creationId xmlns:a16="http://schemas.microsoft.com/office/drawing/2014/main" id="{4B0217D8-D6B5-9E47-A72A-A2488B6DD30A}"/>
              </a:ext>
            </a:extLst>
          </p:cNvPr>
          <p:cNvSpPr/>
          <p:nvPr/>
        </p:nvSpPr>
        <p:spPr>
          <a:xfrm>
            <a:off x="2350778" y="3348498"/>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lan</a:t>
            </a:r>
          </a:p>
        </p:txBody>
      </p:sp>
      <p:cxnSp>
        <p:nvCxnSpPr>
          <p:cNvPr id="45" name="Straight Connector 74">
            <a:extLst>
              <a:ext uri="{FF2B5EF4-FFF2-40B4-BE49-F238E27FC236}">
                <a16:creationId xmlns:a16="http://schemas.microsoft.com/office/drawing/2014/main" id="{7E4DBFB6-D21C-AC46-9A44-1C0A0BC3CE19}"/>
              </a:ext>
            </a:extLst>
          </p:cNvPr>
          <p:cNvCxnSpPr>
            <a:cxnSpLocks/>
            <a:stCxn id="44" idx="3"/>
            <a:endCxn id="41" idx="1"/>
          </p:cNvCxnSpPr>
          <p:nvPr/>
        </p:nvCxnSpPr>
        <p:spPr>
          <a:xfrm flipV="1">
            <a:off x="3265178" y="3651939"/>
            <a:ext cx="456882" cy="3319"/>
          </a:xfrm>
          <a:prstGeom prst="bentConnector3">
            <a:avLst>
              <a:gd name="adj1" fmla="val 50000"/>
            </a:avLst>
          </a:prstGeom>
          <a:noFill/>
          <a:ln w="22225" cmpd="sng">
            <a:solidFill>
              <a:srgbClr val="D6D6D6"/>
            </a:solidFill>
            <a:tailEnd type="triangle"/>
          </a:ln>
          <a:effectLst/>
        </p:spPr>
      </p:cxnSp>
      <p:sp>
        <p:nvSpPr>
          <p:cNvPr id="47" name="Rectangle 46">
            <a:extLst>
              <a:ext uri="{FF2B5EF4-FFF2-40B4-BE49-F238E27FC236}">
                <a16:creationId xmlns:a16="http://schemas.microsoft.com/office/drawing/2014/main" id="{165813AB-5C10-814C-8936-955E4ADC43D4}"/>
              </a:ext>
            </a:extLst>
          </p:cNvPr>
          <p:cNvSpPr/>
          <p:nvPr/>
        </p:nvSpPr>
        <p:spPr>
          <a:xfrm>
            <a:off x="5268347" y="3346590"/>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Build</a:t>
            </a:r>
          </a:p>
        </p:txBody>
      </p:sp>
      <p:cxnSp>
        <p:nvCxnSpPr>
          <p:cNvPr id="50" name="Straight Connector 74">
            <a:extLst>
              <a:ext uri="{FF2B5EF4-FFF2-40B4-BE49-F238E27FC236}">
                <a16:creationId xmlns:a16="http://schemas.microsoft.com/office/drawing/2014/main" id="{A6CABF1A-4F33-A34B-BDF4-9C048BD3546A}"/>
              </a:ext>
            </a:extLst>
          </p:cNvPr>
          <p:cNvCxnSpPr>
            <a:cxnSpLocks/>
            <a:stCxn id="47" idx="3"/>
            <a:endCxn id="42" idx="1"/>
          </p:cNvCxnSpPr>
          <p:nvPr/>
        </p:nvCxnSpPr>
        <p:spPr>
          <a:xfrm flipV="1">
            <a:off x="6182747" y="3642061"/>
            <a:ext cx="438798" cy="11289"/>
          </a:xfrm>
          <a:prstGeom prst="bentConnector3">
            <a:avLst>
              <a:gd name="adj1" fmla="val 50000"/>
            </a:avLst>
          </a:prstGeom>
          <a:noFill/>
          <a:ln w="22225" cmpd="sng">
            <a:solidFill>
              <a:srgbClr val="D6D6D6"/>
            </a:solidFill>
            <a:tailEnd type="triangle"/>
          </a:ln>
          <a:effectLst/>
        </p:spPr>
      </p:cxnSp>
      <p:sp>
        <p:nvSpPr>
          <p:cNvPr id="52" name="Rectangle 51">
            <a:extLst>
              <a:ext uri="{FF2B5EF4-FFF2-40B4-BE49-F238E27FC236}">
                <a16:creationId xmlns:a16="http://schemas.microsoft.com/office/drawing/2014/main" id="{4D4541D4-2B43-B54E-9C5F-17CDAB08844B}"/>
              </a:ext>
            </a:extLst>
          </p:cNvPr>
          <p:cNvSpPr/>
          <p:nvPr/>
        </p:nvSpPr>
        <p:spPr>
          <a:xfrm>
            <a:off x="7974743" y="334517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eploy</a:t>
            </a:r>
          </a:p>
        </p:txBody>
      </p:sp>
      <p:cxnSp>
        <p:nvCxnSpPr>
          <p:cNvPr id="53" name="Straight Connector 74">
            <a:extLst>
              <a:ext uri="{FF2B5EF4-FFF2-40B4-BE49-F238E27FC236}">
                <a16:creationId xmlns:a16="http://schemas.microsoft.com/office/drawing/2014/main" id="{9DB948A4-6458-7D41-B321-C0ACC5B4C209}"/>
              </a:ext>
            </a:extLst>
          </p:cNvPr>
          <p:cNvCxnSpPr>
            <a:cxnSpLocks/>
            <a:stCxn id="42" idx="2"/>
            <a:endCxn id="41" idx="2"/>
          </p:cNvCxnSpPr>
          <p:nvPr/>
        </p:nvCxnSpPr>
        <p:spPr>
          <a:xfrm rot="5400000">
            <a:off x="5624064" y="2504018"/>
            <a:ext cx="9878" cy="2899485"/>
          </a:xfrm>
          <a:prstGeom prst="bentConnector3">
            <a:avLst>
              <a:gd name="adj1" fmla="val 2414234"/>
            </a:avLst>
          </a:prstGeom>
          <a:noFill/>
          <a:ln w="22225" cmpd="sng">
            <a:solidFill>
              <a:srgbClr val="D6D6D6"/>
            </a:solidFill>
            <a:tailEnd type="triangle"/>
          </a:ln>
          <a:effectLst/>
        </p:spPr>
      </p:cxnSp>
      <p:cxnSp>
        <p:nvCxnSpPr>
          <p:cNvPr id="56" name="Straight Connector 74">
            <a:extLst>
              <a:ext uri="{FF2B5EF4-FFF2-40B4-BE49-F238E27FC236}">
                <a16:creationId xmlns:a16="http://schemas.microsoft.com/office/drawing/2014/main" id="{4571014C-0D5D-2A48-89C5-6AA47AA65090}"/>
              </a:ext>
            </a:extLst>
          </p:cNvPr>
          <p:cNvCxnSpPr>
            <a:cxnSpLocks/>
            <a:stCxn id="42" idx="3"/>
          </p:cNvCxnSpPr>
          <p:nvPr/>
        </p:nvCxnSpPr>
        <p:spPr>
          <a:xfrm flipV="1">
            <a:off x="7535945" y="3635131"/>
            <a:ext cx="438798" cy="6930"/>
          </a:xfrm>
          <a:prstGeom prst="bentConnector3">
            <a:avLst>
              <a:gd name="adj1" fmla="val 50000"/>
            </a:avLst>
          </a:prstGeom>
          <a:noFill/>
          <a:ln w="22225" cmpd="sng">
            <a:solidFill>
              <a:srgbClr val="D6D6D6"/>
            </a:solidFill>
            <a:tailEnd type="triangle"/>
          </a:ln>
          <a:effectLst/>
        </p:spPr>
      </p:cxnSp>
      <p:sp>
        <p:nvSpPr>
          <p:cNvPr id="65" name="Rectangle 64">
            <a:extLst>
              <a:ext uri="{FF2B5EF4-FFF2-40B4-BE49-F238E27FC236}">
                <a16:creationId xmlns:a16="http://schemas.microsoft.com/office/drawing/2014/main" id="{DB767E9F-AF44-8647-9E09-60BC699420F1}"/>
              </a:ext>
            </a:extLst>
          </p:cNvPr>
          <p:cNvSpPr/>
          <p:nvPr/>
        </p:nvSpPr>
        <p:spPr>
          <a:xfrm>
            <a:off x="9327940" y="3328371"/>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Operate</a:t>
            </a:r>
          </a:p>
        </p:txBody>
      </p:sp>
      <p:cxnSp>
        <p:nvCxnSpPr>
          <p:cNvPr id="66" name="Straight Connector 74">
            <a:extLst>
              <a:ext uri="{FF2B5EF4-FFF2-40B4-BE49-F238E27FC236}">
                <a16:creationId xmlns:a16="http://schemas.microsoft.com/office/drawing/2014/main" id="{E7CCF48D-013D-C845-A10B-3134262C5579}"/>
              </a:ext>
            </a:extLst>
          </p:cNvPr>
          <p:cNvCxnSpPr>
            <a:cxnSpLocks/>
            <a:stCxn id="52" idx="3"/>
            <a:endCxn id="65" idx="1"/>
          </p:cNvCxnSpPr>
          <p:nvPr/>
        </p:nvCxnSpPr>
        <p:spPr>
          <a:xfrm flipV="1">
            <a:off x="8889143" y="3635131"/>
            <a:ext cx="438797" cy="16808"/>
          </a:xfrm>
          <a:prstGeom prst="bentConnector3">
            <a:avLst>
              <a:gd name="adj1" fmla="val 50000"/>
            </a:avLst>
          </a:prstGeom>
          <a:noFill/>
          <a:ln w="22225" cmpd="sng">
            <a:solidFill>
              <a:srgbClr val="D6D6D6"/>
            </a:solidFill>
            <a:tailEnd type="triangle"/>
          </a:ln>
          <a:effectLst/>
        </p:spPr>
      </p:cxnSp>
      <p:grpSp>
        <p:nvGrpSpPr>
          <p:cNvPr id="67" name="Group 66">
            <a:extLst>
              <a:ext uri="{FF2B5EF4-FFF2-40B4-BE49-F238E27FC236}">
                <a16:creationId xmlns:a16="http://schemas.microsoft.com/office/drawing/2014/main" id="{ACE06C8A-32AA-6448-B8A0-248565FE65FE}"/>
              </a:ext>
            </a:extLst>
          </p:cNvPr>
          <p:cNvGrpSpPr/>
          <p:nvPr/>
        </p:nvGrpSpPr>
        <p:grpSpPr>
          <a:xfrm>
            <a:off x="7362827" y="4231843"/>
            <a:ext cx="1965113" cy="871021"/>
            <a:chOff x="3371331" y="1950898"/>
            <a:chExt cx="1965113" cy="871021"/>
          </a:xfrm>
        </p:grpSpPr>
        <p:sp>
          <p:nvSpPr>
            <p:cNvPr id="70" name="TextBox 69">
              <a:extLst>
                <a:ext uri="{FF2B5EF4-FFF2-40B4-BE49-F238E27FC236}">
                  <a16:creationId xmlns:a16="http://schemas.microsoft.com/office/drawing/2014/main" id="{FAB3E3E5-03CE-6E4A-A275-FDBD68D26817}"/>
                </a:ext>
              </a:extLst>
            </p:cNvPr>
            <p:cNvSpPr txBox="1"/>
            <p:nvPr/>
          </p:nvSpPr>
          <p:spPr>
            <a:xfrm>
              <a:off x="3371331" y="1950898"/>
              <a:ext cx="1965113" cy="31703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6 Months </a:t>
              </a:r>
              <a:r>
                <a:rPr lang="en-US" sz="1100">
                  <a:solidFill>
                    <a:srgbClr val="FF0000"/>
                  </a:solidFill>
                  <a:latin typeface="+mn-lt"/>
                </a:rPr>
                <a:t>(?)</a:t>
              </a:r>
              <a:r>
                <a:rPr lang="en-US" sz="1100">
                  <a:solidFill>
                    <a:schemeClr val="tx1"/>
                  </a:solidFill>
                  <a:latin typeface="+mn-lt"/>
                </a:rPr>
                <a:t> Between Production Deployment</a:t>
              </a:r>
            </a:p>
          </p:txBody>
        </p:sp>
        <p:sp>
          <p:nvSpPr>
            <p:cNvPr id="71" name="TextBox 70">
              <a:extLst>
                <a:ext uri="{FF2B5EF4-FFF2-40B4-BE49-F238E27FC236}">
                  <a16:creationId xmlns:a16="http://schemas.microsoft.com/office/drawing/2014/main" id="{CFE28310-9455-CA45-9890-FB1C762410C7}"/>
                </a:ext>
              </a:extLst>
            </p:cNvPr>
            <p:cNvSpPr txBox="1"/>
            <p:nvPr/>
          </p:nvSpPr>
          <p:spPr>
            <a:xfrm>
              <a:off x="3638488" y="226792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Deployments are held by SDLC requirements and late security scans. Compounded by growing user stories </a:t>
              </a:r>
            </a:p>
          </p:txBody>
        </p:sp>
      </p:grpSp>
      <p:grpSp>
        <p:nvGrpSpPr>
          <p:cNvPr id="91" name="Group 90">
            <a:extLst>
              <a:ext uri="{FF2B5EF4-FFF2-40B4-BE49-F238E27FC236}">
                <a16:creationId xmlns:a16="http://schemas.microsoft.com/office/drawing/2014/main" id="{5E90FE17-B1E9-E043-B6A6-8214B437A35D}"/>
              </a:ext>
            </a:extLst>
          </p:cNvPr>
          <p:cNvGrpSpPr/>
          <p:nvPr/>
        </p:nvGrpSpPr>
        <p:grpSpPr>
          <a:xfrm>
            <a:off x="4656432" y="2467869"/>
            <a:ext cx="1965113" cy="714052"/>
            <a:chOff x="3371331" y="2002842"/>
            <a:chExt cx="1965113" cy="714052"/>
          </a:xfrm>
        </p:grpSpPr>
        <p:sp>
          <p:nvSpPr>
            <p:cNvPr id="92" name="TextBox 91">
              <a:extLst>
                <a:ext uri="{FF2B5EF4-FFF2-40B4-BE49-F238E27FC236}">
                  <a16:creationId xmlns:a16="http://schemas.microsoft.com/office/drawing/2014/main" id="{0D5CA11C-7EB9-4B48-BF5A-A122B65D577D}"/>
                </a:ext>
              </a:extLst>
            </p:cNvPr>
            <p:cNvSpPr txBox="1"/>
            <p:nvPr/>
          </p:nvSpPr>
          <p:spPr>
            <a:xfrm>
              <a:off x="3371331" y="2002842"/>
              <a:ext cx="1965113" cy="156648"/>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Agile</a:t>
              </a:r>
            </a:p>
          </p:txBody>
        </p:sp>
        <p:sp>
          <p:nvSpPr>
            <p:cNvPr id="93" name="TextBox 92">
              <a:extLst>
                <a:ext uri="{FF2B5EF4-FFF2-40B4-BE49-F238E27FC236}">
                  <a16:creationId xmlns:a16="http://schemas.microsoft.com/office/drawing/2014/main" id="{E9426DC4-CBF4-144F-A5A2-0EB15B4006A0}"/>
                </a:ext>
              </a:extLst>
            </p:cNvPr>
            <p:cNvSpPr txBox="1"/>
            <p:nvPr/>
          </p:nvSpPr>
          <p:spPr>
            <a:xfrm>
              <a:off x="3599364" y="2162903"/>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Iterate through sprints and user stories</a:t>
              </a:r>
            </a:p>
          </p:txBody>
        </p:sp>
      </p:grpSp>
      <p:grpSp>
        <p:nvGrpSpPr>
          <p:cNvPr id="94" name="Group 93">
            <a:extLst>
              <a:ext uri="{FF2B5EF4-FFF2-40B4-BE49-F238E27FC236}">
                <a16:creationId xmlns:a16="http://schemas.microsoft.com/office/drawing/2014/main" id="{80925FF8-42DB-7D48-9988-CE5F1B431B78}"/>
              </a:ext>
            </a:extLst>
          </p:cNvPr>
          <p:cNvGrpSpPr/>
          <p:nvPr/>
        </p:nvGrpSpPr>
        <p:grpSpPr>
          <a:xfrm>
            <a:off x="4789537" y="4378561"/>
            <a:ext cx="1965113" cy="714052"/>
            <a:chOff x="3371331" y="2002842"/>
            <a:chExt cx="1965113" cy="714052"/>
          </a:xfrm>
        </p:grpSpPr>
        <p:sp>
          <p:nvSpPr>
            <p:cNvPr id="95" name="TextBox 94">
              <a:extLst>
                <a:ext uri="{FF2B5EF4-FFF2-40B4-BE49-F238E27FC236}">
                  <a16:creationId xmlns:a16="http://schemas.microsoft.com/office/drawing/2014/main" id="{FE9C1431-DF76-6D4B-81BB-75A3FDF4352C}"/>
                </a:ext>
              </a:extLst>
            </p:cNvPr>
            <p:cNvSpPr txBox="1"/>
            <p:nvPr/>
          </p:nvSpPr>
          <p:spPr>
            <a:xfrm>
              <a:off x="3371331" y="2002842"/>
              <a:ext cx="1965113" cy="156648"/>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Manual Testing</a:t>
              </a:r>
            </a:p>
          </p:txBody>
        </p:sp>
        <p:sp>
          <p:nvSpPr>
            <p:cNvPr id="96" name="TextBox 95">
              <a:extLst>
                <a:ext uri="{FF2B5EF4-FFF2-40B4-BE49-F238E27FC236}">
                  <a16:creationId xmlns:a16="http://schemas.microsoft.com/office/drawing/2014/main" id="{E479287A-9E4D-DC47-98C8-BAA7C8C776F2}"/>
                </a:ext>
              </a:extLst>
            </p:cNvPr>
            <p:cNvSpPr txBox="1"/>
            <p:nvPr/>
          </p:nvSpPr>
          <p:spPr>
            <a:xfrm>
              <a:off x="3599364" y="2162903"/>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Manually test features and code</a:t>
              </a:r>
            </a:p>
          </p:txBody>
        </p:sp>
      </p:grpSp>
    </p:spTree>
    <p:extLst>
      <p:ext uri="{BB962C8B-B14F-4D97-AF65-F5344CB8AC3E}">
        <p14:creationId xmlns:p14="http://schemas.microsoft.com/office/powerpoint/2010/main" val="6132845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6F96-D6BB-DD40-AD3C-8C50B0DFF80B}"/>
              </a:ext>
            </a:extLst>
          </p:cNvPr>
          <p:cNvSpPr>
            <a:spLocks noGrp="1"/>
          </p:cNvSpPr>
          <p:nvPr>
            <p:ph type="title"/>
          </p:nvPr>
        </p:nvSpPr>
        <p:spPr/>
        <p:txBody>
          <a:bodyPr/>
          <a:lstStyle/>
          <a:p>
            <a:r>
              <a:rPr lang="en-US" sz="3600"/>
              <a:t>Future State: Application Lifecycle</a:t>
            </a:r>
          </a:p>
        </p:txBody>
      </p:sp>
      <p:grpSp>
        <p:nvGrpSpPr>
          <p:cNvPr id="5" name="Group 4">
            <a:extLst>
              <a:ext uri="{FF2B5EF4-FFF2-40B4-BE49-F238E27FC236}">
                <a16:creationId xmlns:a16="http://schemas.microsoft.com/office/drawing/2014/main" id="{A82D2596-2A62-1C48-B001-6B6443C28461}"/>
              </a:ext>
            </a:extLst>
          </p:cNvPr>
          <p:cNvGrpSpPr/>
          <p:nvPr/>
        </p:nvGrpSpPr>
        <p:grpSpPr>
          <a:xfrm>
            <a:off x="3875127" y="2480790"/>
            <a:ext cx="1756474" cy="751873"/>
            <a:chOff x="3875127" y="2480790"/>
            <a:chExt cx="1756474" cy="751873"/>
          </a:xfrm>
        </p:grpSpPr>
        <p:sp>
          <p:nvSpPr>
            <p:cNvPr id="59" name="TextBox 58">
              <a:extLst>
                <a:ext uri="{FF2B5EF4-FFF2-40B4-BE49-F238E27FC236}">
                  <a16:creationId xmlns:a16="http://schemas.microsoft.com/office/drawing/2014/main" id="{75DAEA0A-19CE-BC45-890C-755D8C94A926}"/>
                </a:ext>
              </a:extLst>
            </p:cNvPr>
            <p:cNvSpPr txBox="1"/>
            <p:nvPr/>
          </p:nvSpPr>
          <p:spPr>
            <a:xfrm>
              <a:off x="3969739" y="248079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Automatic Build</a:t>
              </a:r>
            </a:p>
          </p:txBody>
        </p:sp>
        <p:sp>
          <p:nvSpPr>
            <p:cNvPr id="60" name="TextBox 59">
              <a:extLst>
                <a:ext uri="{FF2B5EF4-FFF2-40B4-BE49-F238E27FC236}">
                  <a16:creationId xmlns:a16="http://schemas.microsoft.com/office/drawing/2014/main" id="{AFF67307-9D25-A648-A6AE-F4AC6B54EFE9}"/>
                </a:ext>
              </a:extLst>
            </p:cNvPr>
            <p:cNvSpPr txBox="1"/>
            <p:nvPr/>
          </p:nvSpPr>
          <p:spPr>
            <a:xfrm>
              <a:off x="3875127" y="2619144"/>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Automate builds to ensure issues are discovered early</a:t>
              </a:r>
            </a:p>
          </p:txBody>
        </p:sp>
      </p:grpSp>
      <p:grpSp>
        <p:nvGrpSpPr>
          <p:cNvPr id="6" name="Group 5">
            <a:extLst>
              <a:ext uri="{FF2B5EF4-FFF2-40B4-BE49-F238E27FC236}">
                <a16:creationId xmlns:a16="http://schemas.microsoft.com/office/drawing/2014/main" id="{754F7780-82B4-0543-9436-3CFDB36E5DEB}"/>
              </a:ext>
            </a:extLst>
          </p:cNvPr>
          <p:cNvGrpSpPr/>
          <p:nvPr/>
        </p:nvGrpSpPr>
        <p:grpSpPr>
          <a:xfrm>
            <a:off x="5559477" y="2480790"/>
            <a:ext cx="1756474" cy="751873"/>
            <a:chOff x="5559477" y="2480790"/>
            <a:chExt cx="1756474" cy="751873"/>
          </a:xfrm>
        </p:grpSpPr>
        <p:sp>
          <p:nvSpPr>
            <p:cNvPr id="62" name="TextBox 61">
              <a:extLst>
                <a:ext uri="{FF2B5EF4-FFF2-40B4-BE49-F238E27FC236}">
                  <a16:creationId xmlns:a16="http://schemas.microsoft.com/office/drawing/2014/main" id="{03119B0F-B2AA-1249-B949-F745D43202C6}"/>
                </a:ext>
              </a:extLst>
            </p:cNvPr>
            <p:cNvSpPr txBox="1"/>
            <p:nvPr/>
          </p:nvSpPr>
          <p:spPr>
            <a:xfrm>
              <a:off x="5727954" y="248079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Automatic Testing</a:t>
              </a:r>
            </a:p>
          </p:txBody>
        </p:sp>
        <p:sp>
          <p:nvSpPr>
            <p:cNvPr id="63" name="TextBox 62">
              <a:extLst>
                <a:ext uri="{FF2B5EF4-FFF2-40B4-BE49-F238E27FC236}">
                  <a16:creationId xmlns:a16="http://schemas.microsoft.com/office/drawing/2014/main" id="{0C49699B-84E3-DB44-926C-D25F59305FA2}"/>
                </a:ext>
              </a:extLst>
            </p:cNvPr>
            <p:cNvSpPr txBox="1"/>
            <p:nvPr/>
          </p:nvSpPr>
          <p:spPr>
            <a:xfrm>
              <a:off x="5559477" y="2619143"/>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Automate unit and integrate tests to ensure code quality. Integrate security scan testing</a:t>
              </a:r>
            </a:p>
          </p:txBody>
        </p:sp>
      </p:grpSp>
      <p:grpSp>
        <p:nvGrpSpPr>
          <p:cNvPr id="7" name="Group 6">
            <a:extLst>
              <a:ext uri="{FF2B5EF4-FFF2-40B4-BE49-F238E27FC236}">
                <a16:creationId xmlns:a16="http://schemas.microsoft.com/office/drawing/2014/main" id="{4978C691-F65C-7E4C-B604-2BB47AF8FBCB}"/>
              </a:ext>
            </a:extLst>
          </p:cNvPr>
          <p:cNvGrpSpPr/>
          <p:nvPr/>
        </p:nvGrpSpPr>
        <p:grpSpPr>
          <a:xfrm>
            <a:off x="7206511" y="2445633"/>
            <a:ext cx="1738884" cy="746063"/>
            <a:chOff x="7206511" y="2445633"/>
            <a:chExt cx="1738884" cy="746063"/>
          </a:xfrm>
        </p:grpSpPr>
        <p:sp>
          <p:nvSpPr>
            <p:cNvPr id="68" name="TextBox 67">
              <a:extLst>
                <a:ext uri="{FF2B5EF4-FFF2-40B4-BE49-F238E27FC236}">
                  <a16:creationId xmlns:a16="http://schemas.microsoft.com/office/drawing/2014/main" id="{ADE6998C-5CF8-4A4F-BB2E-737B204DE5A4}"/>
                </a:ext>
              </a:extLst>
            </p:cNvPr>
            <p:cNvSpPr txBox="1"/>
            <p:nvPr/>
          </p:nvSpPr>
          <p:spPr>
            <a:xfrm>
              <a:off x="7206511" y="2445633"/>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Release</a:t>
              </a:r>
            </a:p>
          </p:txBody>
        </p:sp>
        <p:sp>
          <p:nvSpPr>
            <p:cNvPr id="69" name="TextBox 68">
              <a:extLst>
                <a:ext uri="{FF2B5EF4-FFF2-40B4-BE49-F238E27FC236}">
                  <a16:creationId xmlns:a16="http://schemas.microsoft.com/office/drawing/2014/main" id="{8AA5858D-DD07-4948-963A-4D0AEFAEABFC}"/>
                </a:ext>
              </a:extLst>
            </p:cNvPr>
            <p:cNvSpPr txBox="1"/>
            <p:nvPr/>
          </p:nvSpPr>
          <p:spPr>
            <a:xfrm>
              <a:off x="7422706" y="2660111"/>
              <a:ext cx="1306495"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Build releases for version control</a:t>
              </a:r>
            </a:p>
          </p:txBody>
        </p:sp>
      </p:grpSp>
      <p:sp>
        <p:nvSpPr>
          <p:cNvPr id="118" name="Rectangle 117">
            <a:extLst>
              <a:ext uri="{FF2B5EF4-FFF2-40B4-BE49-F238E27FC236}">
                <a16:creationId xmlns:a16="http://schemas.microsoft.com/office/drawing/2014/main" id="{C56D44E6-9E59-0448-AC39-6FBF60736CAC}"/>
              </a:ext>
            </a:extLst>
          </p:cNvPr>
          <p:cNvSpPr/>
          <p:nvPr/>
        </p:nvSpPr>
        <p:spPr>
          <a:xfrm>
            <a:off x="3104466" y="368384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evelop</a:t>
            </a:r>
          </a:p>
        </p:txBody>
      </p:sp>
      <p:sp>
        <p:nvSpPr>
          <p:cNvPr id="119" name="Rectangle 118">
            <a:extLst>
              <a:ext uri="{FF2B5EF4-FFF2-40B4-BE49-F238E27FC236}">
                <a16:creationId xmlns:a16="http://schemas.microsoft.com/office/drawing/2014/main" id="{5EABD445-F9E8-204C-8735-EEFB3690E75D}"/>
              </a:ext>
            </a:extLst>
          </p:cNvPr>
          <p:cNvSpPr/>
          <p:nvPr/>
        </p:nvSpPr>
        <p:spPr>
          <a:xfrm>
            <a:off x="6003951" y="3673965"/>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Functional Test</a:t>
            </a:r>
          </a:p>
          <a:p>
            <a:pPr algn="ctr"/>
            <a:r>
              <a:rPr lang="en-US" sz="1000"/>
              <a:t>Automated Test</a:t>
            </a:r>
          </a:p>
          <a:p>
            <a:pPr algn="ctr"/>
            <a:r>
              <a:rPr lang="en-US" sz="1000"/>
              <a:t>Security Test</a:t>
            </a:r>
          </a:p>
        </p:txBody>
      </p:sp>
      <p:cxnSp>
        <p:nvCxnSpPr>
          <p:cNvPr id="150" name="Straight Connector 74">
            <a:extLst>
              <a:ext uri="{FF2B5EF4-FFF2-40B4-BE49-F238E27FC236}">
                <a16:creationId xmlns:a16="http://schemas.microsoft.com/office/drawing/2014/main" id="{E91B9DA5-987F-764A-9E92-122218E8BD63}"/>
              </a:ext>
            </a:extLst>
          </p:cNvPr>
          <p:cNvCxnSpPr>
            <a:cxnSpLocks/>
            <a:stCxn id="118" idx="3"/>
            <a:endCxn id="153" idx="1"/>
          </p:cNvCxnSpPr>
          <p:nvPr/>
        </p:nvCxnSpPr>
        <p:spPr>
          <a:xfrm>
            <a:off x="4018866" y="3990603"/>
            <a:ext cx="631887" cy="1411"/>
          </a:xfrm>
          <a:prstGeom prst="bentConnector3">
            <a:avLst>
              <a:gd name="adj1" fmla="val 50000"/>
            </a:avLst>
          </a:prstGeom>
          <a:noFill/>
          <a:ln w="22225" cmpd="sng">
            <a:solidFill>
              <a:srgbClr val="FDD300"/>
            </a:solidFill>
            <a:tailEnd type="triangle"/>
          </a:ln>
          <a:effectLst/>
        </p:spPr>
      </p:cxnSp>
      <p:sp>
        <p:nvSpPr>
          <p:cNvPr id="151" name="Rectangle 150">
            <a:extLst>
              <a:ext uri="{FF2B5EF4-FFF2-40B4-BE49-F238E27FC236}">
                <a16:creationId xmlns:a16="http://schemas.microsoft.com/office/drawing/2014/main" id="{C1B747B8-7FBF-FC49-804C-DC3090411323}"/>
              </a:ext>
            </a:extLst>
          </p:cNvPr>
          <p:cNvSpPr/>
          <p:nvPr/>
        </p:nvSpPr>
        <p:spPr>
          <a:xfrm>
            <a:off x="1733184" y="3687162"/>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lan</a:t>
            </a:r>
          </a:p>
        </p:txBody>
      </p:sp>
      <p:cxnSp>
        <p:nvCxnSpPr>
          <p:cNvPr id="152" name="Straight Connector 74">
            <a:extLst>
              <a:ext uri="{FF2B5EF4-FFF2-40B4-BE49-F238E27FC236}">
                <a16:creationId xmlns:a16="http://schemas.microsoft.com/office/drawing/2014/main" id="{74EF7C31-1916-4946-848B-743D3C8A2206}"/>
              </a:ext>
            </a:extLst>
          </p:cNvPr>
          <p:cNvCxnSpPr>
            <a:cxnSpLocks/>
            <a:stCxn id="151" idx="3"/>
            <a:endCxn id="118" idx="1"/>
          </p:cNvCxnSpPr>
          <p:nvPr/>
        </p:nvCxnSpPr>
        <p:spPr>
          <a:xfrm flipV="1">
            <a:off x="2647584" y="3990603"/>
            <a:ext cx="456882" cy="3319"/>
          </a:xfrm>
          <a:prstGeom prst="bentConnector3">
            <a:avLst>
              <a:gd name="adj1" fmla="val 50000"/>
            </a:avLst>
          </a:prstGeom>
          <a:noFill/>
          <a:ln w="22225" cmpd="sng">
            <a:solidFill>
              <a:srgbClr val="D6D6D6"/>
            </a:solidFill>
            <a:tailEnd type="triangle"/>
          </a:ln>
          <a:effectLst/>
        </p:spPr>
      </p:cxnSp>
      <p:sp>
        <p:nvSpPr>
          <p:cNvPr id="153" name="Rectangle 152">
            <a:extLst>
              <a:ext uri="{FF2B5EF4-FFF2-40B4-BE49-F238E27FC236}">
                <a16:creationId xmlns:a16="http://schemas.microsoft.com/office/drawing/2014/main" id="{9C2F277D-D717-FE4B-92F9-C0173BE6098C}"/>
              </a:ext>
            </a:extLst>
          </p:cNvPr>
          <p:cNvSpPr/>
          <p:nvPr/>
        </p:nvSpPr>
        <p:spPr>
          <a:xfrm>
            <a:off x="4650753" y="3685254"/>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Build</a:t>
            </a:r>
          </a:p>
        </p:txBody>
      </p:sp>
      <p:cxnSp>
        <p:nvCxnSpPr>
          <p:cNvPr id="154" name="Straight Connector 74">
            <a:extLst>
              <a:ext uri="{FF2B5EF4-FFF2-40B4-BE49-F238E27FC236}">
                <a16:creationId xmlns:a16="http://schemas.microsoft.com/office/drawing/2014/main" id="{373BD1E1-B42A-2542-AE45-9FA77B7D7B07}"/>
              </a:ext>
            </a:extLst>
          </p:cNvPr>
          <p:cNvCxnSpPr>
            <a:cxnSpLocks/>
            <a:stCxn id="153" idx="3"/>
            <a:endCxn id="119" idx="1"/>
          </p:cNvCxnSpPr>
          <p:nvPr/>
        </p:nvCxnSpPr>
        <p:spPr>
          <a:xfrm flipV="1">
            <a:off x="5565153" y="3980725"/>
            <a:ext cx="438798" cy="11289"/>
          </a:xfrm>
          <a:prstGeom prst="straightConnector1">
            <a:avLst/>
          </a:prstGeom>
          <a:noFill/>
          <a:ln w="22225" cmpd="sng">
            <a:solidFill>
              <a:srgbClr val="D6D6D6"/>
            </a:solidFill>
            <a:tailEnd type="triangle"/>
          </a:ln>
          <a:effectLst/>
        </p:spPr>
      </p:cxnSp>
      <p:sp>
        <p:nvSpPr>
          <p:cNvPr id="155" name="Rectangle 154">
            <a:extLst>
              <a:ext uri="{FF2B5EF4-FFF2-40B4-BE49-F238E27FC236}">
                <a16:creationId xmlns:a16="http://schemas.microsoft.com/office/drawing/2014/main" id="{E950DAA1-5E85-F64E-922C-ACDDCCC4EE1F}"/>
              </a:ext>
            </a:extLst>
          </p:cNvPr>
          <p:cNvSpPr/>
          <p:nvPr/>
        </p:nvSpPr>
        <p:spPr>
          <a:xfrm>
            <a:off x="7357149" y="368384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Release</a:t>
            </a:r>
          </a:p>
        </p:txBody>
      </p:sp>
      <p:cxnSp>
        <p:nvCxnSpPr>
          <p:cNvPr id="156" name="Straight Connector 74">
            <a:extLst>
              <a:ext uri="{FF2B5EF4-FFF2-40B4-BE49-F238E27FC236}">
                <a16:creationId xmlns:a16="http://schemas.microsoft.com/office/drawing/2014/main" id="{A0BD0C4B-F7E0-0E42-AA61-E410AF16999C}"/>
              </a:ext>
            </a:extLst>
          </p:cNvPr>
          <p:cNvCxnSpPr>
            <a:cxnSpLocks/>
            <a:stCxn id="119" idx="2"/>
            <a:endCxn id="118" idx="2"/>
          </p:cNvCxnSpPr>
          <p:nvPr/>
        </p:nvCxnSpPr>
        <p:spPr>
          <a:xfrm rot="5400000">
            <a:off x="5006470" y="2842682"/>
            <a:ext cx="9878" cy="2899485"/>
          </a:xfrm>
          <a:prstGeom prst="bentConnector3">
            <a:avLst>
              <a:gd name="adj1" fmla="val 2414234"/>
            </a:avLst>
          </a:prstGeom>
          <a:noFill/>
          <a:ln w="22225" cmpd="sng">
            <a:solidFill>
              <a:srgbClr val="D6D6D6"/>
            </a:solidFill>
            <a:tailEnd type="triangle"/>
          </a:ln>
          <a:effectLst/>
        </p:spPr>
      </p:cxnSp>
      <p:cxnSp>
        <p:nvCxnSpPr>
          <p:cNvPr id="157" name="Straight Connector 74">
            <a:extLst>
              <a:ext uri="{FF2B5EF4-FFF2-40B4-BE49-F238E27FC236}">
                <a16:creationId xmlns:a16="http://schemas.microsoft.com/office/drawing/2014/main" id="{53DD9FF3-DDD6-A54D-B5B7-B44B7DC98A74}"/>
              </a:ext>
            </a:extLst>
          </p:cNvPr>
          <p:cNvCxnSpPr>
            <a:cxnSpLocks/>
            <a:stCxn id="119" idx="3"/>
          </p:cNvCxnSpPr>
          <p:nvPr/>
        </p:nvCxnSpPr>
        <p:spPr>
          <a:xfrm flipV="1">
            <a:off x="6918351" y="3973795"/>
            <a:ext cx="438798" cy="6930"/>
          </a:xfrm>
          <a:prstGeom prst="straightConnector1">
            <a:avLst/>
          </a:prstGeom>
          <a:noFill/>
          <a:ln w="22225" cmpd="sng">
            <a:solidFill>
              <a:srgbClr val="D6D6D6"/>
            </a:solidFill>
            <a:tailEnd type="triangle"/>
          </a:ln>
          <a:effectLst/>
        </p:spPr>
      </p:cxnSp>
      <p:sp>
        <p:nvSpPr>
          <p:cNvPr id="158" name="Rectangle 157">
            <a:extLst>
              <a:ext uri="{FF2B5EF4-FFF2-40B4-BE49-F238E27FC236}">
                <a16:creationId xmlns:a16="http://schemas.microsoft.com/office/drawing/2014/main" id="{0FA30662-DCBE-6C43-A4AE-1E9CB653C2D8}"/>
              </a:ext>
            </a:extLst>
          </p:cNvPr>
          <p:cNvSpPr/>
          <p:nvPr/>
        </p:nvSpPr>
        <p:spPr>
          <a:xfrm>
            <a:off x="8710346" y="3667035"/>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eploy</a:t>
            </a:r>
          </a:p>
        </p:txBody>
      </p:sp>
      <p:cxnSp>
        <p:nvCxnSpPr>
          <p:cNvPr id="159" name="Straight Connector 74">
            <a:extLst>
              <a:ext uri="{FF2B5EF4-FFF2-40B4-BE49-F238E27FC236}">
                <a16:creationId xmlns:a16="http://schemas.microsoft.com/office/drawing/2014/main" id="{D93DE573-43B9-3544-8647-BE2FC39A6D25}"/>
              </a:ext>
            </a:extLst>
          </p:cNvPr>
          <p:cNvCxnSpPr>
            <a:cxnSpLocks/>
            <a:stCxn id="155" idx="3"/>
            <a:endCxn id="158" idx="1"/>
          </p:cNvCxnSpPr>
          <p:nvPr/>
        </p:nvCxnSpPr>
        <p:spPr>
          <a:xfrm flipV="1">
            <a:off x="8271549" y="3973795"/>
            <a:ext cx="438797" cy="16808"/>
          </a:xfrm>
          <a:prstGeom prst="straightConnector1">
            <a:avLst/>
          </a:prstGeom>
          <a:noFill/>
          <a:ln w="22225" cmpd="sng">
            <a:solidFill>
              <a:srgbClr val="D6D6D6"/>
            </a:solidFill>
            <a:tailEnd type="triangle"/>
          </a:ln>
          <a:effectLst/>
        </p:spPr>
      </p:cxnSp>
      <p:sp>
        <p:nvSpPr>
          <p:cNvPr id="164" name="Rectangle 163">
            <a:extLst>
              <a:ext uri="{FF2B5EF4-FFF2-40B4-BE49-F238E27FC236}">
                <a16:creationId xmlns:a16="http://schemas.microsoft.com/office/drawing/2014/main" id="{B08DD7F7-C035-BA49-8195-FD761CA615A5}"/>
              </a:ext>
            </a:extLst>
          </p:cNvPr>
          <p:cNvSpPr/>
          <p:nvPr/>
        </p:nvSpPr>
        <p:spPr>
          <a:xfrm>
            <a:off x="9972300" y="3661265"/>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Operate</a:t>
            </a:r>
          </a:p>
        </p:txBody>
      </p:sp>
      <p:cxnSp>
        <p:nvCxnSpPr>
          <p:cNvPr id="165" name="Straight Connector 74">
            <a:extLst>
              <a:ext uri="{FF2B5EF4-FFF2-40B4-BE49-F238E27FC236}">
                <a16:creationId xmlns:a16="http://schemas.microsoft.com/office/drawing/2014/main" id="{0AFFF7B1-2004-9549-A9CD-11FB9BFE6CBA}"/>
              </a:ext>
            </a:extLst>
          </p:cNvPr>
          <p:cNvCxnSpPr>
            <a:cxnSpLocks/>
            <a:stCxn id="164" idx="2"/>
            <a:endCxn id="151" idx="2"/>
          </p:cNvCxnSpPr>
          <p:nvPr/>
        </p:nvCxnSpPr>
        <p:spPr>
          <a:xfrm rot="5400000">
            <a:off x="6296994" y="168175"/>
            <a:ext cx="25897" cy="8239116"/>
          </a:xfrm>
          <a:prstGeom prst="bentConnector3">
            <a:avLst>
              <a:gd name="adj1" fmla="val 1593011"/>
            </a:avLst>
          </a:prstGeom>
          <a:noFill/>
          <a:ln w="22225" cmpd="sng">
            <a:solidFill>
              <a:srgbClr val="D6D6D6"/>
            </a:solidFill>
            <a:tailEnd type="triangle"/>
          </a:ln>
          <a:effectLst/>
        </p:spPr>
      </p:cxnSp>
      <p:cxnSp>
        <p:nvCxnSpPr>
          <p:cNvPr id="166" name="Straight Connector 74">
            <a:extLst>
              <a:ext uri="{FF2B5EF4-FFF2-40B4-BE49-F238E27FC236}">
                <a16:creationId xmlns:a16="http://schemas.microsoft.com/office/drawing/2014/main" id="{534E3EDB-AC43-C848-A4EF-9C95DA7ADE82}"/>
              </a:ext>
            </a:extLst>
          </p:cNvPr>
          <p:cNvCxnSpPr>
            <a:cxnSpLocks/>
            <a:stCxn id="158" idx="3"/>
            <a:endCxn id="164" idx="1"/>
          </p:cNvCxnSpPr>
          <p:nvPr/>
        </p:nvCxnSpPr>
        <p:spPr>
          <a:xfrm flipV="1">
            <a:off x="9624746" y="3968025"/>
            <a:ext cx="347554" cy="5770"/>
          </a:xfrm>
          <a:prstGeom prst="straightConnector1">
            <a:avLst/>
          </a:prstGeom>
          <a:noFill/>
          <a:ln w="22225" cmpd="sng">
            <a:solidFill>
              <a:srgbClr val="D6D6D6"/>
            </a:solidFill>
            <a:tailEnd type="triangle"/>
          </a:ln>
          <a:effectLst/>
        </p:spPr>
      </p:cxnSp>
      <p:grpSp>
        <p:nvGrpSpPr>
          <p:cNvPr id="167" name="Group 166">
            <a:extLst>
              <a:ext uri="{FF2B5EF4-FFF2-40B4-BE49-F238E27FC236}">
                <a16:creationId xmlns:a16="http://schemas.microsoft.com/office/drawing/2014/main" id="{807B9268-1C10-864B-8046-3C97A94910AF}"/>
              </a:ext>
            </a:extLst>
          </p:cNvPr>
          <p:cNvGrpSpPr/>
          <p:nvPr/>
        </p:nvGrpSpPr>
        <p:grpSpPr>
          <a:xfrm>
            <a:off x="5410772" y="4898182"/>
            <a:ext cx="1965113" cy="714052"/>
            <a:chOff x="3371331" y="2002842"/>
            <a:chExt cx="1965113" cy="714052"/>
          </a:xfrm>
        </p:grpSpPr>
        <p:sp>
          <p:nvSpPr>
            <p:cNvPr id="168" name="TextBox 167">
              <a:extLst>
                <a:ext uri="{FF2B5EF4-FFF2-40B4-BE49-F238E27FC236}">
                  <a16:creationId xmlns:a16="http://schemas.microsoft.com/office/drawing/2014/main" id="{6E70CB26-89FC-0C48-A360-5562001FE858}"/>
                </a:ext>
              </a:extLst>
            </p:cNvPr>
            <p:cNvSpPr txBox="1"/>
            <p:nvPr/>
          </p:nvSpPr>
          <p:spPr>
            <a:xfrm>
              <a:off x="3371331" y="2002842"/>
              <a:ext cx="1965113" cy="156648"/>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2 Weeks Between Production Deployment</a:t>
              </a:r>
            </a:p>
          </p:txBody>
        </p:sp>
        <p:sp>
          <p:nvSpPr>
            <p:cNvPr id="169" name="TextBox 168">
              <a:extLst>
                <a:ext uri="{FF2B5EF4-FFF2-40B4-BE49-F238E27FC236}">
                  <a16:creationId xmlns:a16="http://schemas.microsoft.com/office/drawing/2014/main" id="{25985672-6B20-E942-B2AD-3A50FCBAA9F0}"/>
                </a:ext>
              </a:extLst>
            </p:cNvPr>
            <p:cNvSpPr txBox="1"/>
            <p:nvPr/>
          </p:nvSpPr>
          <p:spPr>
            <a:xfrm>
              <a:off x="3599364" y="2162903"/>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and manage data pipelines and ETL</a:t>
              </a:r>
            </a:p>
          </p:txBody>
        </p:sp>
      </p:grpSp>
      <p:sp>
        <p:nvSpPr>
          <p:cNvPr id="170" name="Rectangle 169">
            <a:extLst>
              <a:ext uri="{FF2B5EF4-FFF2-40B4-BE49-F238E27FC236}">
                <a16:creationId xmlns:a16="http://schemas.microsoft.com/office/drawing/2014/main" id="{834EAC96-157F-DC4B-A11F-213AC35912E5}"/>
              </a:ext>
            </a:extLst>
          </p:cNvPr>
          <p:cNvSpPr/>
          <p:nvPr/>
        </p:nvSpPr>
        <p:spPr>
          <a:xfrm>
            <a:off x="3092131" y="3330810"/>
            <a:ext cx="3823112" cy="222582"/>
          </a:xfrm>
          <a:prstGeom prst="rect">
            <a:avLst/>
          </a:prstGeom>
          <a:solidFill>
            <a:schemeClr val="accent1">
              <a:lumMod val="20000"/>
              <a:lumOff val="80000"/>
            </a:schemeClr>
          </a:solidFill>
          <a:ln w="6350" algn="ctr">
            <a:solidFill>
              <a:schemeClr val="accent1"/>
            </a:solidFill>
            <a:miter lim="800000"/>
            <a:headEnd type="none" w="sm" len="sm"/>
            <a:tailEnd type="none" w="sm" len="sm"/>
          </a:ln>
        </p:spPr>
        <p:txBody>
          <a:bodyPr wrap="square" lIns="0" tIns="0" rIns="0" bIns="0" anchor="ctr"/>
          <a:lstStyle/>
          <a:p>
            <a:pPr algn="ctr"/>
            <a:r>
              <a:rPr lang="en-US" sz="1000"/>
              <a:t>Continuous Integration</a:t>
            </a:r>
          </a:p>
        </p:txBody>
      </p:sp>
      <p:sp>
        <p:nvSpPr>
          <p:cNvPr id="171" name="Rectangle 170">
            <a:extLst>
              <a:ext uri="{FF2B5EF4-FFF2-40B4-BE49-F238E27FC236}">
                <a16:creationId xmlns:a16="http://schemas.microsoft.com/office/drawing/2014/main" id="{A41C37EB-3E92-7042-AB49-A078CDB9F6E8}"/>
              </a:ext>
            </a:extLst>
          </p:cNvPr>
          <p:cNvSpPr/>
          <p:nvPr/>
        </p:nvSpPr>
        <p:spPr>
          <a:xfrm>
            <a:off x="7357149" y="3335304"/>
            <a:ext cx="2267597" cy="218088"/>
          </a:xfrm>
          <a:prstGeom prst="rect">
            <a:avLst/>
          </a:prstGeom>
          <a:solidFill>
            <a:schemeClr val="accent1">
              <a:lumMod val="20000"/>
              <a:lumOff val="80000"/>
            </a:schemeClr>
          </a:solidFill>
          <a:ln w="6350" algn="ctr">
            <a:solidFill>
              <a:schemeClr val="accent1"/>
            </a:solidFill>
            <a:miter lim="800000"/>
            <a:headEnd type="none" w="sm" len="sm"/>
            <a:tailEnd type="none" w="sm" len="sm"/>
          </a:ln>
        </p:spPr>
        <p:txBody>
          <a:bodyPr wrap="square" lIns="0" tIns="0" rIns="0" bIns="0" anchor="ctr"/>
          <a:lstStyle/>
          <a:p>
            <a:pPr algn="ctr"/>
            <a:r>
              <a:rPr lang="en-US" sz="1000"/>
              <a:t>Continuous Deployment</a:t>
            </a:r>
          </a:p>
        </p:txBody>
      </p:sp>
      <p:cxnSp>
        <p:nvCxnSpPr>
          <p:cNvPr id="172" name="Straight Connector 74">
            <a:extLst>
              <a:ext uri="{FF2B5EF4-FFF2-40B4-BE49-F238E27FC236}">
                <a16:creationId xmlns:a16="http://schemas.microsoft.com/office/drawing/2014/main" id="{0084A0F3-7F3D-5447-94B7-F3367FB835A9}"/>
              </a:ext>
            </a:extLst>
          </p:cNvPr>
          <p:cNvCxnSpPr>
            <a:cxnSpLocks/>
            <a:stCxn id="158" idx="2"/>
            <a:endCxn id="155" idx="2"/>
          </p:cNvCxnSpPr>
          <p:nvPr/>
        </p:nvCxnSpPr>
        <p:spPr>
          <a:xfrm rot="5400000">
            <a:off x="8482544" y="3612361"/>
            <a:ext cx="16808" cy="1353197"/>
          </a:xfrm>
          <a:prstGeom prst="bentConnector3">
            <a:avLst>
              <a:gd name="adj1" fmla="val 1460067"/>
            </a:avLst>
          </a:prstGeom>
          <a:noFill/>
          <a:ln w="22225" cmpd="sng">
            <a:solidFill>
              <a:srgbClr val="D6D6D6"/>
            </a:solidFill>
            <a:tailEnd type="triangle"/>
          </a:ln>
          <a:effectLst/>
        </p:spPr>
      </p:cxnSp>
      <p:grpSp>
        <p:nvGrpSpPr>
          <p:cNvPr id="8" name="Group 7">
            <a:extLst>
              <a:ext uri="{FF2B5EF4-FFF2-40B4-BE49-F238E27FC236}">
                <a16:creationId xmlns:a16="http://schemas.microsoft.com/office/drawing/2014/main" id="{0F582933-4C74-9747-8F00-6C3FA21BEE6B}"/>
              </a:ext>
            </a:extLst>
          </p:cNvPr>
          <p:cNvGrpSpPr/>
          <p:nvPr/>
        </p:nvGrpSpPr>
        <p:grpSpPr>
          <a:xfrm>
            <a:off x="8876363" y="2445633"/>
            <a:ext cx="1825506" cy="746063"/>
            <a:chOff x="8876363" y="2445633"/>
            <a:chExt cx="1825506" cy="746063"/>
          </a:xfrm>
        </p:grpSpPr>
        <p:sp>
          <p:nvSpPr>
            <p:cNvPr id="109" name="TextBox 108">
              <a:extLst>
                <a:ext uri="{FF2B5EF4-FFF2-40B4-BE49-F238E27FC236}">
                  <a16:creationId xmlns:a16="http://schemas.microsoft.com/office/drawing/2014/main" id="{DD8DC9A8-38DD-C44B-8E9D-BBBDCB2640BC}"/>
                </a:ext>
              </a:extLst>
            </p:cNvPr>
            <p:cNvSpPr txBox="1"/>
            <p:nvPr/>
          </p:nvSpPr>
          <p:spPr>
            <a:xfrm>
              <a:off x="8876363" y="2445633"/>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eploy</a:t>
              </a:r>
            </a:p>
          </p:txBody>
        </p:sp>
        <p:sp>
          <p:nvSpPr>
            <p:cNvPr id="41" name="TextBox 40">
              <a:extLst>
                <a:ext uri="{FF2B5EF4-FFF2-40B4-BE49-F238E27FC236}">
                  <a16:creationId xmlns:a16="http://schemas.microsoft.com/office/drawing/2014/main" id="{4EDF171B-38D9-F041-A5B7-A1CECF25C60B}"/>
                </a:ext>
              </a:extLst>
            </p:cNvPr>
            <p:cNvSpPr txBox="1"/>
            <p:nvPr/>
          </p:nvSpPr>
          <p:spPr>
            <a:xfrm>
              <a:off x="8945395" y="2660111"/>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treamline deployment workflow and SDLC process to deploy quickly into production</a:t>
              </a:r>
            </a:p>
          </p:txBody>
        </p:sp>
      </p:grpSp>
      <p:grpSp>
        <p:nvGrpSpPr>
          <p:cNvPr id="36" name="Group 35">
            <a:extLst>
              <a:ext uri="{FF2B5EF4-FFF2-40B4-BE49-F238E27FC236}">
                <a16:creationId xmlns:a16="http://schemas.microsoft.com/office/drawing/2014/main" id="{97D75130-A419-D14E-B6F0-53D6EC9777AF}"/>
              </a:ext>
            </a:extLst>
          </p:cNvPr>
          <p:cNvGrpSpPr/>
          <p:nvPr/>
        </p:nvGrpSpPr>
        <p:grpSpPr>
          <a:xfrm>
            <a:off x="9573816" y="4976506"/>
            <a:ext cx="1965113" cy="788796"/>
            <a:chOff x="3371331" y="2002842"/>
            <a:chExt cx="1965113" cy="714052"/>
          </a:xfrm>
        </p:grpSpPr>
        <p:sp>
          <p:nvSpPr>
            <p:cNvPr id="37" name="TextBox 36">
              <a:extLst>
                <a:ext uri="{FF2B5EF4-FFF2-40B4-BE49-F238E27FC236}">
                  <a16:creationId xmlns:a16="http://schemas.microsoft.com/office/drawing/2014/main" id="{9E46C00F-9339-564D-BCB0-E5BA597E6ECD}"/>
                </a:ext>
              </a:extLst>
            </p:cNvPr>
            <p:cNvSpPr txBox="1"/>
            <p:nvPr/>
          </p:nvSpPr>
          <p:spPr>
            <a:xfrm>
              <a:off x="3371331" y="2002842"/>
              <a:ext cx="1965113" cy="156648"/>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Production deploying will be one sprint behind.</a:t>
              </a:r>
            </a:p>
          </p:txBody>
        </p:sp>
        <p:sp>
          <p:nvSpPr>
            <p:cNvPr id="38" name="TextBox 37">
              <a:extLst>
                <a:ext uri="{FF2B5EF4-FFF2-40B4-BE49-F238E27FC236}">
                  <a16:creationId xmlns:a16="http://schemas.microsoft.com/office/drawing/2014/main" id="{4CD7E2E9-E6F0-D14B-B893-DC793636AFFC}"/>
                </a:ext>
              </a:extLst>
            </p:cNvPr>
            <p:cNvSpPr txBox="1"/>
            <p:nvPr/>
          </p:nvSpPr>
          <p:spPr>
            <a:xfrm>
              <a:off x="3599364" y="2162903"/>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endParaRPr lang="en-US" sz="900" b="0">
                <a:solidFill>
                  <a:schemeClr val="tx1"/>
                </a:solidFill>
                <a:latin typeface="+mn-lt"/>
              </a:endParaRPr>
            </a:p>
          </p:txBody>
        </p:sp>
      </p:grpSp>
    </p:spTree>
    <p:extLst>
      <p:ext uri="{BB962C8B-B14F-4D97-AF65-F5344CB8AC3E}">
        <p14:creationId xmlns:p14="http://schemas.microsoft.com/office/powerpoint/2010/main" val="28141668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587B69-5E2E-7841-B137-1491C6F88BB6}"/>
              </a:ext>
            </a:extLst>
          </p:cNvPr>
          <p:cNvSpPr>
            <a:spLocks noGrp="1"/>
          </p:cNvSpPr>
          <p:nvPr>
            <p:ph type="title"/>
          </p:nvPr>
        </p:nvSpPr>
        <p:spPr>
          <a:xfrm>
            <a:off x="6356419" y="675810"/>
            <a:ext cx="6137512" cy="381392"/>
          </a:xfrm>
        </p:spPr>
        <p:txBody>
          <a:bodyPr/>
          <a:lstStyle/>
          <a:p>
            <a:r>
              <a:rPr lang="en-US" sz="3600"/>
              <a:t>Database as a Code</a:t>
            </a:r>
          </a:p>
        </p:txBody>
      </p:sp>
      <p:sp>
        <p:nvSpPr>
          <p:cNvPr id="2" name="Text Placeholder 1">
            <a:extLst>
              <a:ext uri="{FF2B5EF4-FFF2-40B4-BE49-F238E27FC236}">
                <a16:creationId xmlns:a16="http://schemas.microsoft.com/office/drawing/2014/main" id="{DA833CC4-1A54-8E49-8B13-E092E92DC89E}"/>
              </a:ext>
            </a:extLst>
          </p:cNvPr>
          <p:cNvSpPr>
            <a:spLocks noGrp="1"/>
          </p:cNvSpPr>
          <p:nvPr>
            <p:ph type="body" sz="quarter" idx="15"/>
          </p:nvPr>
        </p:nvSpPr>
        <p:spPr>
          <a:xfrm>
            <a:off x="6356419" y="472610"/>
            <a:ext cx="3355848" cy="203200"/>
          </a:xfrm>
        </p:spPr>
        <p:txBody>
          <a:bodyPr/>
          <a:lstStyle/>
          <a:p>
            <a:r>
              <a:rPr lang="en-US"/>
              <a:t>Application Development</a:t>
            </a:r>
          </a:p>
        </p:txBody>
      </p:sp>
      <p:sp>
        <p:nvSpPr>
          <p:cNvPr id="5" name="Rectangle 4">
            <a:extLst>
              <a:ext uri="{FF2B5EF4-FFF2-40B4-BE49-F238E27FC236}">
                <a16:creationId xmlns:a16="http://schemas.microsoft.com/office/drawing/2014/main" id="{F421EB39-2E60-0B4D-9E17-C0CC6CD3A708}"/>
              </a:ext>
            </a:extLst>
          </p:cNvPr>
          <p:cNvSpPr/>
          <p:nvPr/>
        </p:nvSpPr>
        <p:spPr>
          <a:xfrm>
            <a:off x="3100756" y="610605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Master Database Repository</a:t>
            </a:r>
          </a:p>
        </p:txBody>
      </p:sp>
      <p:cxnSp>
        <p:nvCxnSpPr>
          <p:cNvPr id="9" name="Straight Connector 74">
            <a:extLst>
              <a:ext uri="{FF2B5EF4-FFF2-40B4-BE49-F238E27FC236}">
                <a16:creationId xmlns:a16="http://schemas.microsoft.com/office/drawing/2014/main" id="{4B4D2DE5-DB43-C040-AC41-7CBC361E00CF}"/>
              </a:ext>
            </a:extLst>
          </p:cNvPr>
          <p:cNvCxnSpPr>
            <a:cxnSpLocks/>
            <a:stCxn id="10" idx="1"/>
            <a:endCxn id="5" idx="0"/>
          </p:cNvCxnSpPr>
          <p:nvPr/>
        </p:nvCxnSpPr>
        <p:spPr>
          <a:xfrm rot="10800000" flipV="1">
            <a:off x="3557956" y="5561139"/>
            <a:ext cx="378050" cy="544919"/>
          </a:xfrm>
          <a:prstGeom prst="bentConnector2">
            <a:avLst/>
          </a:prstGeom>
          <a:noFill/>
          <a:ln w="22225" cmpd="sng">
            <a:solidFill>
              <a:srgbClr val="D6D6D6"/>
            </a:solidFill>
            <a:prstDash val="sysDash"/>
            <a:tailEnd type="triangle"/>
          </a:ln>
          <a:effectLst/>
        </p:spPr>
      </p:cxnSp>
      <p:sp>
        <p:nvSpPr>
          <p:cNvPr id="10" name="Rectangle 9">
            <a:extLst>
              <a:ext uri="{FF2B5EF4-FFF2-40B4-BE49-F238E27FC236}">
                <a16:creationId xmlns:a16="http://schemas.microsoft.com/office/drawing/2014/main" id="{57E4E865-0E5F-1949-9B21-A7C580C4E991}"/>
              </a:ext>
            </a:extLst>
          </p:cNvPr>
          <p:cNvSpPr/>
          <p:nvPr/>
        </p:nvSpPr>
        <p:spPr>
          <a:xfrm>
            <a:off x="3936006" y="5254380"/>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ummy Database Container</a:t>
            </a:r>
          </a:p>
        </p:txBody>
      </p:sp>
      <p:cxnSp>
        <p:nvCxnSpPr>
          <p:cNvPr id="11" name="Straight Connector 74">
            <a:extLst>
              <a:ext uri="{FF2B5EF4-FFF2-40B4-BE49-F238E27FC236}">
                <a16:creationId xmlns:a16="http://schemas.microsoft.com/office/drawing/2014/main" id="{167F2E4C-15DB-534D-80E9-247F674BCB9D}"/>
              </a:ext>
            </a:extLst>
          </p:cNvPr>
          <p:cNvCxnSpPr>
            <a:cxnSpLocks/>
            <a:stCxn id="13" idx="3"/>
            <a:endCxn id="10" idx="3"/>
          </p:cNvCxnSpPr>
          <p:nvPr/>
        </p:nvCxnSpPr>
        <p:spPr>
          <a:xfrm flipH="1">
            <a:off x="4850406" y="4828540"/>
            <a:ext cx="12700" cy="732600"/>
          </a:xfrm>
          <a:prstGeom prst="bentConnector3">
            <a:avLst>
              <a:gd name="adj1" fmla="val -1800000"/>
            </a:avLst>
          </a:prstGeom>
          <a:noFill/>
          <a:ln w="22225" cmpd="sng">
            <a:solidFill>
              <a:srgbClr val="D6D6D6"/>
            </a:solidFill>
            <a:tailEnd type="triangle"/>
          </a:ln>
          <a:effectLst/>
        </p:spPr>
      </p:cxnSp>
      <p:sp>
        <p:nvSpPr>
          <p:cNvPr id="12" name="Rectangle 11">
            <a:extLst>
              <a:ext uri="{FF2B5EF4-FFF2-40B4-BE49-F238E27FC236}">
                <a16:creationId xmlns:a16="http://schemas.microsoft.com/office/drawing/2014/main" id="{F2918E25-2847-7D4C-9666-4F8FE418C64D}"/>
              </a:ext>
            </a:extLst>
          </p:cNvPr>
          <p:cNvSpPr/>
          <p:nvPr/>
        </p:nvSpPr>
        <p:spPr>
          <a:xfrm>
            <a:off x="3948706" y="3865245"/>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pplication</a:t>
            </a:r>
          </a:p>
        </p:txBody>
      </p:sp>
      <p:sp>
        <p:nvSpPr>
          <p:cNvPr id="13" name="Rectangle 12">
            <a:extLst>
              <a:ext uri="{FF2B5EF4-FFF2-40B4-BE49-F238E27FC236}">
                <a16:creationId xmlns:a16="http://schemas.microsoft.com/office/drawing/2014/main" id="{605D9811-BB14-C644-A8BD-BD8281F50C71}"/>
              </a:ext>
            </a:extLst>
          </p:cNvPr>
          <p:cNvSpPr/>
          <p:nvPr/>
        </p:nvSpPr>
        <p:spPr>
          <a:xfrm>
            <a:off x="3948706" y="4552199"/>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PI Server</a:t>
            </a:r>
          </a:p>
        </p:txBody>
      </p:sp>
      <p:sp>
        <p:nvSpPr>
          <p:cNvPr id="19" name="Rectangle 18">
            <a:extLst>
              <a:ext uri="{FF2B5EF4-FFF2-40B4-BE49-F238E27FC236}">
                <a16:creationId xmlns:a16="http://schemas.microsoft.com/office/drawing/2014/main" id="{15E0B9FF-98E0-6A4C-AAF4-21EAFF003F74}"/>
              </a:ext>
            </a:extLst>
          </p:cNvPr>
          <p:cNvSpPr/>
          <p:nvPr/>
        </p:nvSpPr>
        <p:spPr>
          <a:xfrm>
            <a:off x="4089627" y="6133113"/>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Postgres Docker Image</a:t>
            </a:r>
          </a:p>
        </p:txBody>
      </p:sp>
      <p:cxnSp>
        <p:nvCxnSpPr>
          <p:cNvPr id="29" name="Straight Connector 74">
            <a:extLst>
              <a:ext uri="{FF2B5EF4-FFF2-40B4-BE49-F238E27FC236}">
                <a16:creationId xmlns:a16="http://schemas.microsoft.com/office/drawing/2014/main" id="{233ED01F-72DF-5646-8630-47789D081FDC}"/>
              </a:ext>
            </a:extLst>
          </p:cNvPr>
          <p:cNvCxnSpPr>
            <a:cxnSpLocks/>
            <a:stCxn id="10" idx="2"/>
            <a:endCxn id="19" idx="0"/>
          </p:cNvCxnSpPr>
          <p:nvPr/>
        </p:nvCxnSpPr>
        <p:spPr>
          <a:xfrm rot="16200000" flipH="1">
            <a:off x="4337410" y="5923695"/>
            <a:ext cx="265213" cy="153621"/>
          </a:xfrm>
          <a:prstGeom prst="bentConnector3">
            <a:avLst>
              <a:gd name="adj1" fmla="val 50000"/>
            </a:avLst>
          </a:prstGeom>
          <a:noFill/>
          <a:ln w="22225" cmpd="sng">
            <a:solidFill>
              <a:srgbClr val="D6D6D6"/>
            </a:solidFill>
            <a:prstDash val="sysDash"/>
            <a:tailEnd type="triangle"/>
          </a:ln>
          <a:effectLst/>
        </p:spPr>
      </p:cxnSp>
      <p:sp>
        <p:nvSpPr>
          <p:cNvPr id="33" name="Rectangle 32">
            <a:extLst>
              <a:ext uri="{FF2B5EF4-FFF2-40B4-BE49-F238E27FC236}">
                <a16:creationId xmlns:a16="http://schemas.microsoft.com/office/drawing/2014/main" id="{598509A3-B9DE-8042-93D9-3B6F328D524D}"/>
              </a:ext>
            </a:extLst>
          </p:cNvPr>
          <p:cNvSpPr/>
          <p:nvPr/>
        </p:nvSpPr>
        <p:spPr bwMode="gray">
          <a:xfrm>
            <a:off x="3504403" y="3493483"/>
            <a:ext cx="1767282" cy="2446152"/>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Local Environment</a:t>
            </a:r>
          </a:p>
        </p:txBody>
      </p:sp>
      <p:cxnSp>
        <p:nvCxnSpPr>
          <p:cNvPr id="37" name="Straight Connector 74">
            <a:extLst>
              <a:ext uri="{FF2B5EF4-FFF2-40B4-BE49-F238E27FC236}">
                <a16:creationId xmlns:a16="http://schemas.microsoft.com/office/drawing/2014/main" id="{05AF7645-DA75-394E-9D3C-FEAF79A9BB9C}"/>
              </a:ext>
            </a:extLst>
          </p:cNvPr>
          <p:cNvCxnSpPr>
            <a:cxnSpLocks/>
            <a:stCxn id="39" idx="2"/>
            <a:endCxn id="40" idx="0"/>
          </p:cNvCxnSpPr>
          <p:nvPr/>
        </p:nvCxnSpPr>
        <p:spPr>
          <a:xfrm rot="5400000">
            <a:off x="978894" y="5500669"/>
            <a:ext cx="462858" cy="12700"/>
          </a:xfrm>
          <a:prstGeom prst="bentConnector3">
            <a:avLst>
              <a:gd name="adj1" fmla="val 50000"/>
            </a:avLst>
          </a:prstGeom>
          <a:noFill/>
          <a:ln w="22225" cmpd="sng">
            <a:solidFill>
              <a:srgbClr val="D6D6D6"/>
            </a:solidFill>
            <a:tailEnd type="triangle"/>
          </a:ln>
          <a:effectLst/>
        </p:spPr>
      </p:cxnSp>
      <p:sp>
        <p:nvSpPr>
          <p:cNvPr id="38" name="Rectangle 37">
            <a:extLst>
              <a:ext uri="{FF2B5EF4-FFF2-40B4-BE49-F238E27FC236}">
                <a16:creationId xmlns:a16="http://schemas.microsoft.com/office/drawing/2014/main" id="{644E9800-C3D7-E543-AD94-0BD793B26AB1}"/>
              </a:ext>
            </a:extLst>
          </p:cNvPr>
          <p:cNvSpPr/>
          <p:nvPr/>
        </p:nvSpPr>
        <p:spPr>
          <a:xfrm>
            <a:off x="753123" y="4029605"/>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pplication</a:t>
            </a:r>
          </a:p>
        </p:txBody>
      </p:sp>
      <p:sp>
        <p:nvSpPr>
          <p:cNvPr id="39" name="Rectangle 38">
            <a:extLst>
              <a:ext uri="{FF2B5EF4-FFF2-40B4-BE49-F238E27FC236}">
                <a16:creationId xmlns:a16="http://schemas.microsoft.com/office/drawing/2014/main" id="{7927626D-A6E5-CC43-8E23-2566D169ADF9}"/>
              </a:ext>
            </a:extLst>
          </p:cNvPr>
          <p:cNvSpPr/>
          <p:nvPr/>
        </p:nvSpPr>
        <p:spPr>
          <a:xfrm>
            <a:off x="753123" y="4716559"/>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PI Server</a:t>
            </a:r>
          </a:p>
        </p:txBody>
      </p:sp>
      <p:sp>
        <p:nvSpPr>
          <p:cNvPr id="40" name="Rectangle 39">
            <a:extLst>
              <a:ext uri="{FF2B5EF4-FFF2-40B4-BE49-F238E27FC236}">
                <a16:creationId xmlns:a16="http://schemas.microsoft.com/office/drawing/2014/main" id="{B0366ECE-27D4-7A48-88B8-6A874D04AD97}"/>
              </a:ext>
            </a:extLst>
          </p:cNvPr>
          <p:cNvSpPr/>
          <p:nvPr/>
        </p:nvSpPr>
        <p:spPr>
          <a:xfrm>
            <a:off x="753123" y="5732098"/>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atabase</a:t>
            </a:r>
          </a:p>
        </p:txBody>
      </p:sp>
      <p:sp>
        <p:nvSpPr>
          <p:cNvPr id="42" name="Rectangle 41">
            <a:extLst>
              <a:ext uri="{FF2B5EF4-FFF2-40B4-BE49-F238E27FC236}">
                <a16:creationId xmlns:a16="http://schemas.microsoft.com/office/drawing/2014/main" id="{810E3158-0FEA-F348-8A61-AA998DD71CF6}"/>
              </a:ext>
            </a:extLst>
          </p:cNvPr>
          <p:cNvSpPr/>
          <p:nvPr/>
        </p:nvSpPr>
        <p:spPr bwMode="gray">
          <a:xfrm>
            <a:off x="383888" y="3622499"/>
            <a:ext cx="1970882" cy="1939639"/>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r>
              <a:rPr lang="en-US" sz="1200" b="1"/>
              <a:t>Deployed Environment</a:t>
            </a:r>
          </a:p>
        </p:txBody>
      </p:sp>
      <p:sp>
        <p:nvSpPr>
          <p:cNvPr id="46" name="TextBox 45">
            <a:extLst>
              <a:ext uri="{FF2B5EF4-FFF2-40B4-BE49-F238E27FC236}">
                <a16:creationId xmlns:a16="http://schemas.microsoft.com/office/drawing/2014/main" id="{3C1DC4FD-8067-8A4C-9311-3EB305B545BF}"/>
              </a:ext>
            </a:extLst>
          </p:cNvPr>
          <p:cNvSpPr txBox="1"/>
          <p:nvPr/>
        </p:nvSpPr>
        <p:spPr>
          <a:xfrm>
            <a:off x="6355182" y="3902076"/>
            <a:ext cx="4262018" cy="1815882"/>
          </a:xfrm>
          <a:prstGeom prst="rect">
            <a:avLst/>
          </a:prstGeom>
          <a:noFill/>
        </p:spPr>
        <p:txBody>
          <a:bodyPr wrap="square" rtlCol="0">
            <a:spAutoFit/>
          </a:bodyPr>
          <a:lstStyle/>
          <a:p>
            <a:r>
              <a:rPr lang="en-US" sz="1200" b="1"/>
              <a:t>Making Changes to Database</a:t>
            </a:r>
          </a:p>
          <a:p>
            <a:endParaRPr lang="en-US" sz="1200" b="1"/>
          </a:p>
          <a:p>
            <a:pPr marL="342900" indent="-342900">
              <a:buFont typeface="+mj-lt"/>
              <a:buAutoNum type="arabicPeriod"/>
            </a:pPr>
            <a:r>
              <a:rPr lang="en-US" sz="1100" b="1"/>
              <a:t>Develop</a:t>
            </a:r>
            <a:r>
              <a:rPr lang="en-US" sz="1100"/>
              <a:t>: Developer codes database schema change to dummy database</a:t>
            </a:r>
          </a:p>
          <a:p>
            <a:pPr marL="342900" indent="-342900">
              <a:buFont typeface="+mj-lt"/>
              <a:buAutoNum type="arabicPeriod"/>
            </a:pPr>
            <a:r>
              <a:rPr lang="en-US" sz="1100" b="1"/>
              <a:t>Integrate</a:t>
            </a:r>
            <a:r>
              <a:rPr lang="en-US" sz="1100"/>
              <a:t>: After local testing is complete, developer submits PR for Database Repository</a:t>
            </a:r>
          </a:p>
          <a:p>
            <a:pPr marL="342900" indent="-342900">
              <a:buFont typeface="+mj-lt"/>
              <a:buAutoNum type="arabicPeriod"/>
            </a:pPr>
            <a:r>
              <a:rPr lang="en-US" sz="1100" b="1"/>
              <a:t>Review</a:t>
            </a:r>
            <a:r>
              <a:rPr lang="en-US" sz="1100"/>
              <a:t>: 2 Reviewers approve and changes are merged</a:t>
            </a:r>
          </a:p>
          <a:p>
            <a:pPr marL="342900" indent="-342900">
              <a:buFont typeface="+mj-lt"/>
              <a:buAutoNum type="arabicPeriod"/>
            </a:pPr>
            <a:r>
              <a:rPr lang="en-US" sz="1100" b="1"/>
              <a:t>Build</a:t>
            </a:r>
            <a:r>
              <a:rPr lang="en-US" sz="1100"/>
              <a:t>: CI Tool detects changes and creates DB build with migration scripts</a:t>
            </a:r>
          </a:p>
          <a:p>
            <a:pPr marL="342900" indent="-342900">
              <a:buFont typeface="+mj-lt"/>
              <a:buAutoNum type="arabicPeriod"/>
            </a:pPr>
            <a:r>
              <a:rPr lang="en-US" sz="1100" b="1"/>
              <a:t>Deploy</a:t>
            </a:r>
            <a:r>
              <a:rPr lang="en-US" sz="1100"/>
              <a:t>: CI Tool deploys migration scripts</a:t>
            </a:r>
          </a:p>
        </p:txBody>
      </p:sp>
      <p:sp>
        <p:nvSpPr>
          <p:cNvPr id="7" name="TextBox 6">
            <a:extLst>
              <a:ext uri="{FF2B5EF4-FFF2-40B4-BE49-F238E27FC236}">
                <a16:creationId xmlns:a16="http://schemas.microsoft.com/office/drawing/2014/main" id="{5B0B2203-E086-6D4A-B57F-95302EB8A52F}"/>
              </a:ext>
            </a:extLst>
          </p:cNvPr>
          <p:cNvSpPr txBox="1"/>
          <p:nvPr/>
        </p:nvSpPr>
        <p:spPr>
          <a:xfrm>
            <a:off x="6234989" y="1705756"/>
            <a:ext cx="5036718" cy="1713290"/>
          </a:xfrm>
          <a:prstGeom prst="rect">
            <a:avLst/>
          </a:prstGeom>
          <a:noFill/>
        </p:spPr>
        <p:txBody>
          <a:bodyPr wrap="square" rtlCol="0">
            <a:spAutoFit/>
          </a:bodyPr>
          <a:lstStyle/>
          <a:p>
            <a:pPr marL="228600" lvl="0" indent="-228600" defTabSz="914400">
              <a:spcBef>
                <a:spcPts val="1000"/>
              </a:spcBef>
              <a:buClr>
                <a:srgbClr val="787878"/>
              </a:buClr>
              <a:buSzPct val="75000"/>
              <a:buFont typeface="Arial" panose="020B0604020202020204" pitchFamily="34" charset="0"/>
              <a:buChar char="•"/>
            </a:pPr>
            <a:r>
              <a:rPr lang="en-US" sz="1200" spc="-30">
                <a:solidFill>
                  <a:srgbClr val="000000"/>
                </a:solidFill>
                <a:ea typeface="Open Sans" charset="0"/>
                <a:cs typeface="Calibri"/>
              </a:rPr>
              <a:t>Enables Version Control to maintain consistency and allow auditing</a:t>
            </a:r>
          </a:p>
          <a:p>
            <a:pPr marL="228600" lvl="0" indent="-228600" defTabSz="914400">
              <a:spcBef>
                <a:spcPts val="1000"/>
              </a:spcBef>
              <a:buClr>
                <a:srgbClr val="787878"/>
              </a:buClr>
              <a:buSzPct val="75000"/>
              <a:buFont typeface="Arial" panose="020B0604020202020204" pitchFamily="34" charset="0"/>
              <a:buChar char="•"/>
            </a:pPr>
            <a:r>
              <a:rPr lang="en-US" sz="1200" spc="-30">
                <a:solidFill>
                  <a:srgbClr val="000000"/>
                </a:solidFill>
                <a:ea typeface="Open Sans" charset="0"/>
                <a:cs typeface="Calibri"/>
              </a:rPr>
              <a:t>Easily create new environments. Everything needed for new database is in a single repository</a:t>
            </a:r>
          </a:p>
          <a:p>
            <a:pPr marL="228600" lvl="0" indent="-228600" defTabSz="914400">
              <a:spcBef>
                <a:spcPts val="1000"/>
              </a:spcBef>
              <a:buClr>
                <a:srgbClr val="787878"/>
              </a:buClr>
              <a:buSzPct val="75000"/>
              <a:buFont typeface="Arial" panose="020B0604020202020204" pitchFamily="34" charset="0"/>
              <a:buChar char="•"/>
            </a:pPr>
            <a:r>
              <a:rPr lang="en-US" sz="1200" spc="-30">
                <a:solidFill>
                  <a:srgbClr val="000000"/>
                </a:solidFill>
                <a:ea typeface="Open Sans" charset="0"/>
                <a:cs typeface="Calibri"/>
              </a:rPr>
              <a:t>Prevent deployments where database is out of sync with application</a:t>
            </a:r>
          </a:p>
          <a:p>
            <a:pPr marL="228600" lvl="0" indent="-228600" defTabSz="914400">
              <a:spcBef>
                <a:spcPts val="1000"/>
              </a:spcBef>
              <a:buClr>
                <a:srgbClr val="787878"/>
              </a:buClr>
              <a:buSzPct val="75000"/>
              <a:buFont typeface="Arial" panose="020B0604020202020204" pitchFamily="34" charset="0"/>
              <a:buChar char="•"/>
            </a:pPr>
            <a:r>
              <a:rPr lang="en-US" sz="1200" spc="-30">
                <a:solidFill>
                  <a:srgbClr val="000000"/>
                </a:solidFill>
                <a:ea typeface="Open Sans" charset="0"/>
                <a:cs typeface="Calibri"/>
              </a:rPr>
              <a:t>Central place to look, making it easier for developers to find</a:t>
            </a:r>
          </a:p>
          <a:p>
            <a:pPr marL="228600" lvl="0" indent="-228600" defTabSz="914400">
              <a:spcBef>
                <a:spcPts val="1000"/>
              </a:spcBef>
              <a:buClr>
                <a:srgbClr val="787878"/>
              </a:buClr>
              <a:buSzPct val="75000"/>
              <a:buFont typeface="+mj-lt"/>
              <a:buAutoNum type="arabicPeriod"/>
            </a:pPr>
            <a:endParaRPr lang="en-US" sz="1200" spc="-30">
              <a:solidFill>
                <a:srgbClr val="000000"/>
              </a:solidFill>
              <a:ea typeface="Open Sans" charset="0"/>
              <a:cs typeface="Calibri"/>
            </a:endParaRPr>
          </a:p>
        </p:txBody>
      </p:sp>
      <p:pic>
        <p:nvPicPr>
          <p:cNvPr id="17410" name="Picture 2">
            <a:extLst>
              <a:ext uri="{FF2B5EF4-FFF2-40B4-BE49-F238E27FC236}">
                <a16:creationId xmlns:a16="http://schemas.microsoft.com/office/drawing/2014/main" id="{3E0DB866-FFF0-7946-A3AB-178EF29894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584" y="387380"/>
            <a:ext cx="5747805" cy="276837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BBCD5B-6E39-4747-98E2-8326FBF124A4}"/>
              </a:ext>
            </a:extLst>
          </p:cNvPr>
          <p:cNvSpPr txBox="1"/>
          <p:nvPr/>
        </p:nvSpPr>
        <p:spPr>
          <a:xfrm>
            <a:off x="1298137" y="3191101"/>
            <a:ext cx="3634698" cy="276999"/>
          </a:xfrm>
          <a:prstGeom prst="rect">
            <a:avLst/>
          </a:prstGeom>
          <a:noFill/>
        </p:spPr>
        <p:txBody>
          <a:bodyPr wrap="square" rtlCol="0">
            <a:spAutoFit/>
          </a:bodyPr>
          <a:lstStyle/>
          <a:p>
            <a:r>
              <a:rPr lang="en-US" sz="1200"/>
              <a:t>Development Setup</a:t>
            </a:r>
          </a:p>
        </p:txBody>
      </p:sp>
      <p:sp>
        <p:nvSpPr>
          <p:cNvPr id="31" name="TextBox 30">
            <a:extLst>
              <a:ext uri="{FF2B5EF4-FFF2-40B4-BE49-F238E27FC236}">
                <a16:creationId xmlns:a16="http://schemas.microsoft.com/office/drawing/2014/main" id="{B85C8042-9198-D44D-8A0F-B347EEDE6DBE}"/>
              </a:ext>
            </a:extLst>
          </p:cNvPr>
          <p:cNvSpPr txBox="1"/>
          <p:nvPr/>
        </p:nvSpPr>
        <p:spPr>
          <a:xfrm>
            <a:off x="912128" y="63000"/>
            <a:ext cx="4726671" cy="276999"/>
          </a:xfrm>
          <a:prstGeom prst="rect">
            <a:avLst/>
          </a:prstGeom>
          <a:noFill/>
        </p:spPr>
        <p:txBody>
          <a:bodyPr wrap="square" rtlCol="0">
            <a:spAutoFit/>
          </a:bodyPr>
          <a:lstStyle/>
          <a:p>
            <a:r>
              <a:rPr lang="en-US" sz="1200"/>
              <a:t>Development Process (source. </a:t>
            </a:r>
            <a:r>
              <a:rPr lang="en-US" sz="1200" err="1"/>
              <a:t>martinfowler.com</a:t>
            </a:r>
            <a:r>
              <a:rPr lang="en-US" sz="1200"/>
              <a:t>)</a:t>
            </a:r>
          </a:p>
        </p:txBody>
      </p:sp>
    </p:spTree>
    <p:extLst>
      <p:ext uri="{BB962C8B-B14F-4D97-AF65-F5344CB8AC3E}">
        <p14:creationId xmlns:p14="http://schemas.microsoft.com/office/powerpoint/2010/main" val="1701660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t>Goals &amp; Objectives</a:t>
            </a:r>
            <a:endParaRPr lang="en-US">
              <a:solidFill>
                <a:srgbClr val="FF0000"/>
              </a:solidFill>
            </a:endParaRPr>
          </a:p>
        </p:txBody>
      </p:sp>
      <p:sp>
        <p:nvSpPr>
          <p:cNvPr id="6" name="Text Placeholder 5">
            <a:extLst>
              <a:ext uri="{FF2B5EF4-FFF2-40B4-BE49-F238E27FC236}">
                <a16:creationId xmlns:a16="http://schemas.microsoft.com/office/drawing/2014/main" id="{E4298ED4-E8F9-0B45-AFBB-2BC5D0746B70}"/>
              </a:ext>
            </a:extLst>
          </p:cNvPr>
          <p:cNvSpPr>
            <a:spLocks noGrp="1"/>
          </p:cNvSpPr>
          <p:nvPr>
            <p:ph type="body" sz="quarter" idx="14"/>
          </p:nvPr>
        </p:nvSpPr>
        <p:spPr/>
        <p:txBody>
          <a:bodyPr/>
          <a:lstStyle/>
          <a:p>
            <a:endParaRPr lang="en-US"/>
          </a:p>
        </p:txBody>
      </p:sp>
      <p:cxnSp>
        <p:nvCxnSpPr>
          <p:cNvPr id="44" name="Straight Connector 43">
            <a:extLst>
              <a:ext uri="{FF2B5EF4-FFF2-40B4-BE49-F238E27FC236}">
                <a16:creationId xmlns:a16="http://schemas.microsoft.com/office/drawing/2014/main" id="{FF0F0E97-47E4-4A87-94B6-7D5C21B5E014}"/>
              </a:ext>
            </a:extLst>
          </p:cNvPr>
          <p:cNvCxnSpPr>
            <a:cxnSpLocks/>
          </p:cNvCxnSpPr>
          <p:nvPr/>
        </p:nvCxnSpPr>
        <p:spPr>
          <a:xfrm>
            <a:off x="914400" y="2242655"/>
            <a:ext cx="45556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5" name="Content Placeholder 8">
            <a:extLst>
              <a:ext uri="{FF2B5EF4-FFF2-40B4-BE49-F238E27FC236}">
                <a16:creationId xmlns:a16="http://schemas.microsoft.com/office/drawing/2014/main" id="{3EACC2D0-1768-484D-88B1-11ABF4B90FE4}"/>
              </a:ext>
            </a:extLst>
          </p:cNvPr>
          <p:cNvSpPr txBox="1">
            <a:spLocks/>
          </p:cNvSpPr>
          <p:nvPr/>
        </p:nvSpPr>
        <p:spPr>
          <a:xfrm>
            <a:off x="1366494" y="2528428"/>
            <a:ext cx="3859000" cy="6909083"/>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1219170">
              <a:spcBef>
                <a:spcPts val="0"/>
              </a:spcBef>
              <a:buClrTx/>
              <a:buSzTx/>
              <a:buNone/>
            </a:pPr>
            <a:r>
              <a:rPr lang="en-GB" sz="1400" b="1">
                <a:solidFill>
                  <a:srgbClr val="000000"/>
                </a:solidFill>
                <a:latin typeface="Open Sans" charset="0"/>
                <a:ea typeface="Open Sans" charset="0"/>
                <a:cs typeface="Open Sans" charset="0"/>
              </a:rPr>
              <a:t>Set the standards for web development and data science</a:t>
            </a:r>
          </a:p>
          <a:p>
            <a:pPr marL="0" lvl="0" indent="0" defTabSz="1219170">
              <a:spcBef>
                <a:spcPts val="0"/>
              </a:spcBef>
              <a:buClrTx/>
              <a:buSzTx/>
              <a:buNone/>
            </a:pPr>
            <a:r>
              <a:rPr lang="en-GB" sz="1200">
                <a:latin typeface="Open Sans" charset="0"/>
                <a:ea typeface="Open Sans" charset="0"/>
                <a:cs typeface="Open Sans" charset="0"/>
              </a:rPr>
              <a:t>Deliver excellent technology products that meet our clients needs through the application of effective technology implementation standards</a:t>
            </a:r>
          </a:p>
          <a:p>
            <a:pPr marL="0" indent="0">
              <a:spcBef>
                <a:spcPts val="0"/>
              </a:spcBef>
              <a:buNone/>
            </a:pPr>
            <a:endParaRPr lang="en-GB" b="1">
              <a:latin typeface="Open Sans" charset="0"/>
              <a:ea typeface="Open Sans" charset="0"/>
              <a:cs typeface="Open Sans" charset="0"/>
            </a:endParaRPr>
          </a:p>
          <a:p>
            <a:pPr marL="0" indent="0">
              <a:spcBef>
                <a:spcPts val="0"/>
              </a:spcBef>
              <a:buNone/>
            </a:pPr>
            <a:r>
              <a:rPr lang="en-GB" sz="1400" b="1">
                <a:latin typeface="Open Sans" charset="0"/>
                <a:ea typeface="Open Sans" charset="0"/>
                <a:cs typeface="Open Sans" charset="0"/>
              </a:rPr>
              <a:t>Provide a better technology experience</a:t>
            </a:r>
          </a:p>
          <a:p>
            <a:pPr marL="0" indent="0">
              <a:spcBef>
                <a:spcPts val="0"/>
              </a:spcBef>
              <a:buNone/>
            </a:pPr>
            <a:r>
              <a:rPr lang="en-US" sz="1200">
                <a:latin typeface="Open Sans" charset="0"/>
                <a:ea typeface="Open Sans" charset="0"/>
                <a:cs typeface="Open Sans" charset="0"/>
              </a:rPr>
              <a:t>Provide applications that are visually appealing, intuitive to use, and development processes that invite client interaction and involvement.</a:t>
            </a:r>
            <a:endParaRPr lang="en-GB" sz="1200">
              <a:latin typeface="Open Sans" charset="0"/>
              <a:ea typeface="Open Sans" charset="0"/>
              <a:cs typeface="Open Sans" charset="0"/>
            </a:endParaRPr>
          </a:p>
          <a:p>
            <a:pPr marL="0" indent="0">
              <a:spcBef>
                <a:spcPts val="0"/>
              </a:spcBef>
              <a:buNone/>
            </a:pPr>
            <a:endParaRPr lang="en-GB" sz="1400" b="1">
              <a:latin typeface="Open Sans" charset="0"/>
              <a:ea typeface="Open Sans" charset="0"/>
              <a:cs typeface="Open Sans" charset="0"/>
            </a:endParaRPr>
          </a:p>
          <a:p>
            <a:pPr marL="0" indent="0">
              <a:spcBef>
                <a:spcPts val="0"/>
              </a:spcBef>
              <a:buNone/>
            </a:pPr>
            <a:r>
              <a:rPr lang="en-GB" sz="1400" b="1">
                <a:latin typeface="Open Sans" charset="0"/>
                <a:ea typeface="Open Sans" charset="0"/>
                <a:cs typeface="Open Sans" charset="0"/>
              </a:rPr>
              <a:t>Modernize Critical and Core Public Health Components and Processes</a:t>
            </a:r>
          </a:p>
          <a:p>
            <a:pPr marL="0" indent="0">
              <a:spcBef>
                <a:spcPts val="0"/>
              </a:spcBef>
              <a:buNone/>
            </a:pPr>
            <a:r>
              <a:rPr lang="en-GB" sz="1200">
                <a:latin typeface="Open Sans" charset="0"/>
                <a:ea typeface="Open Sans" charset="0"/>
                <a:cs typeface="Open Sans" charset="0"/>
              </a:rPr>
              <a:t>Create modern data services that enhance the ability of leaders to execute public health policy and surveillance activities</a:t>
            </a:r>
          </a:p>
          <a:p>
            <a:pPr marL="0" indent="0">
              <a:spcBef>
                <a:spcPts val="0"/>
              </a:spcBef>
              <a:buNone/>
            </a:pPr>
            <a:endParaRPr lang="en-GB" sz="1400" b="1">
              <a:latin typeface="Open Sans" charset="0"/>
              <a:ea typeface="Open Sans" charset="0"/>
              <a:cs typeface="Open Sans" charset="0"/>
            </a:endParaRPr>
          </a:p>
        </p:txBody>
      </p:sp>
      <p:sp>
        <p:nvSpPr>
          <p:cNvPr id="46" name="Rectangle 45">
            <a:extLst>
              <a:ext uri="{FF2B5EF4-FFF2-40B4-BE49-F238E27FC236}">
                <a16:creationId xmlns:a16="http://schemas.microsoft.com/office/drawing/2014/main" id="{2EABECC0-9E07-4636-9153-17E8E7226332}"/>
              </a:ext>
            </a:extLst>
          </p:cNvPr>
          <p:cNvSpPr/>
          <p:nvPr/>
        </p:nvSpPr>
        <p:spPr>
          <a:xfrm>
            <a:off x="857248" y="1902502"/>
            <a:ext cx="969753" cy="307777"/>
          </a:xfrm>
          <a:prstGeom prst="rect">
            <a:avLst/>
          </a:prstGeom>
        </p:spPr>
        <p:txBody>
          <a:bodyPr wrap="none">
            <a:spAutoFit/>
          </a:bodyPr>
          <a:lstStyle/>
          <a:p>
            <a:r>
              <a:rPr lang="en-GB" sz="1400" b="1" spc="300">
                <a:latin typeface="Open Sans" charset="0"/>
                <a:ea typeface="Open Sans" charset="0"/>
                <a:cs typeface="Open Sans" charset="0"/>
              </a:rPr>
              <a:t>GOALS</a:t>
            </a:r>
          </a:p>
        </p:txBody>
      </p:sp>
      <p:sp>
        <p:nvSpPr>
          <p:cNvPr id="47" name="Rectangle 46">
            <a:extLst>
              <a:ext uri="{FF2B5EF4-FFF2-40B4-BE49-F238E27FC236}">
                <a16:creationId xmlns:a16="http://schemas.microsoft.com/office/drawing/2014/main" id="{B45666CA-38A2-4313-848C-2F096A60856E}"/>
              </a:ext>
            </a:extLst>
          </p:cNvPr>
          <p:cNvSpPr/>
          <p:nvPr/>
        </p:nvSpPr>
        <p:spPr>
          <a:xfrm>
            <a:off x="6879745" y="1979964"/>
            <a:ext cx="2594813" cy="307777"/>
          </a:xfrm>
          <a:prstGeom prst="rect">
            <a:avLst/>
          </a:prstGeom>
        </p:spPr>
        <p:txBody>
          <a:bodyPr wrap="none">
            <a:spAutoFit/>
          </a:bodyPr>
          <a:lstStyle/>
          <a:p>
            <a:r>
              <a:rPr lang="en-GB" sz="1400" b="1" spc="300">
                <a:latin typeface="Open Sans" charset="0"/>
                <a:ea typeface="Open Sans" charset="0"/>
                <a:cs typeface="Open Sans" charset="0"/>
              </a:rPr>
              <a:t>DESIRED OUTCOMES</a:t>
            </a:r>
            <a:endParaRPr lang="en-GB" sz="1400" spc="300">
              <a:latin typeface="Open Sans" charset="0"/>
              <a:ea typeface="Open Sans" charset="0"/>
              <a:cs typeface="Open Sans" charset="0"/>
            </a:endParaRPr>
          </a:p>
        </p:txBody>
      </p:sp>
      <p:cxnSp>
        <p:nvCxnSpPr>
          <p:cNvPr id="48" name="Straight Connector 47">
            <a:extLst>
              <a:ext uri="{FF2B5EF4-FFF2-40B4-BE49-F238E27FC236}">
                <a16:creationId xmlns:a16="http://schemas.microsoft.com/office/drawing/2014/main" id="{0196794C-AC7C-46D1-ABDA-96ACAC080434}"/>
              </a:ext>
            </a:extLst>
          </p:cNvPr>
          <p:cNvCxnSpPr>
            <a:cxnSpLocks/>
          </p:cNvCxnSpPr>
          <p:nvPr/>
        </p:nvCxnSpPr>
        <p:spPr>
          <a:xfrm>
            <a:off x="6180153" y="2302506"/>
            <a:ext cx="550022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588F946-1D2A-43C9-ACB7-8E208A663127}"/>
              </a:ext>
            </a:extLst>
          </p:cNvPr>
          <p:cNvGrpSpPr>
            <a:grpSpLocks noChangeAspect="1"/>
          </p:cNvGrpSpPr>
          <p:nvPr/>
        </p:nvGrpSpPr>
        <p:grpSpPr>
          <a:xfrm>
            <a:off x="922367" y="2502836"/>
            <a:ext cx="392403" cy="392403"/>
            <a:chOff x="558801" y="822325"/>
            <a:chExt cx="522288" cy="522288"/>
          </a:xfrm>
        </p:grpSpPr>
        <p:sp>
          <p:nvSpPr>
            <p:cNvPr id="77" name="Freeform 24">
              <a:extLst>
                <a:ext uri="{FF2B5EF4-FFF2-40B4-BE49-F238E27FC236}">
                  <a16:creationId xmlns:a16="http://schemas.microsoft.com/office/drawing/2014/main" id="{7D667186-65FC-460F-8106-10544AFE1800}"/>
                </a:ext>
              </a:extLst>
            </p:cNvPr>
            <p:cNvSpPr>
              <a:spLocks noEditPoints="1"/>
            </p:cNvSpPr>
            <p:nvPr/>
          </p:nvSpPr>
          <p:spPr bwMode="auto">
            <a:xfrm>
              <a:off x="558801" y="822325"/>
              <a:ext cx="522288" cy="522288"/>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77">
              <a:extLst>
                <a:ext uri="{FF2B5EF4-FFF2-40B4-BE49-F238E27FC236}">
                  <a16:creationId xmlns:a16="http://schemas.microsoft.com/office/drawing/2014/main" id="{E11D48F3-1BD3-4B64-8697-7874447F6AF1}"/>
                </a:ext>
              </a:extLst>
            </p:cNvPr>
            <p:cNvGrpSpPr/>
            <p:nvPr/>
          </p:nvGrpSpPr>
          <p:grpSpPr>
            <a:xfrm>
              <a:off x="698501" y="935038"/>
              <a:ext cx="244475" cy="298450"/>
              <a:chOff x="698501" y="935038"/>
              <a:chExt cx="244475" cy="298450"/>
            </a:xfrm>
          </p:grpSpPr>
          <p:sp>
            <p:nvSpPr>
              <p:cNvPr id="79" name="Freeform 157">
                <a:extLst>
                  <a:ext uri="{FF2B5EF4-FFF2-40B4-BE49-F238E27FC236}">
                    <a16:creationId xmlns:a16="http://schemas.microsoft.com/office/drawing/2014/main" id="{E0B67462-5E97-4F40-8587-ACCFAEF32ADF}"/>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58">
                <a:extLst>
                  <a:ext uri="{FF2B5EF4-FFF2-40B4-BE49-F238E27FC236}">
                    <a16:creationId xmlns:a16="http://schemas.microsoft.com/office/drawing/2014/main" id="{5A818710-0400-4054-89C0-6843843D7595}"/>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59">
                <a:extLst>
                  <a:ext uri="{FF2B5EF4-FFF2-40B4-BE49-F238E27FC236}">
                    <a16:creationId xmlns:a16="http://schemas.microsoft.com/office/drawing/2014/main" id="{51276086-1FF3-4839-9D0D-A3A14AA350E3}"/>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60">
                <a:extLst>
                  <a:ext uri="{FF2B5EF4-FFF2-40B4-BE49-F238E27FC236}">
                    <a16:creationId xmlns:a16="http://schemas.microsoft.com/office/drawing/2014/main" id="{4443DEA2-0FA4-4814-A2DE-00E5C2EB5B8A}"/>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1">
                <a:extLst>
                  <a:ext uri="{FF2B5EF4-FFF2-40B4-BE49-F238E27FC236}">
                    <a16:creationId xmlns:a16="http://schemas.microsoft.com/office/drawing/2014/main" id="{6879F404-77D3-4153-9F6E-9183BB252917}"/>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62">
                <a:extLst>
                  <a:ext uri="{FF2B5EF4-FFF2-40B4-BE49-F238E27FC236}">
                    <a16:creationId xmlns:a16="http://schemas.microsoft.com/office/drawing/2014/main" id="{FBF269DD-3B10-4515-9102-D90861589971}"/>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63">
                <a:extLst>
                  <a:ext uri="{FF2B5EF4-FFF2-40B4-BE49-F238E27FC236}">
                    <a16:creationId xmlns:a16="http://schemas.microsoft.com/office/drawing/2014/main" id="{E4BA8E25-6125-4BD0-BD26-7F0004D1BE29}"/>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6" name="Group 85">
            <a:extLst>
              <a:ext uri="{FF2B5EF4-FFF2-40B4-BE49-F238E27FC236}">
                <a16:creationId xmlns:a16="http://schemas.microsoft.com/office/drawing/2014/main" id="{7C01CED2-CE2E-47F5-956B-B86400595DD0}"/>
              </a:ext>
            </a:extLst>
          </p:cNvPr>
          <p:cNvGrpSpPr/>
          <p:nvPr/>
        </p:nvGrpSpPr>
        <p:grpSpPr>
          <a:xfrm>
            <a:off x="5470000" y="1973020"/>
            <a:ext cx="710153" cy="713232"/>
            <a:chOff x="5038122" y="2814343"/>
            <a:chExt cx="710153" cy="713232"/>
          </a:xfrm>
        </p:grpSpPr>
        <p:grpSp>
          <p:nvGrpSpPr>
            <p:cNvPr id="87" name="Group 86">
              <a:extLst>
                <a:ext uri="{FF2B5EF4-FFF2-40B4-BE49-F238E27FC236}">
                  <a16:creationId xmlns:a16="http://schemas.microsoft.com/office/drawing/2014/main" id="{B9FADD78-D3C9-42F5-9647-5DC0D641EC00}"/>
                </a:ext>
              </a:extLst>
            </p:cNvPr>
            <p:cNvGrpSpPr>
              <a:grpSpLocks noChangeAspect="1"/>
            </p:cNvGrpSpPr>
            <p:nvPr/>
          </p:nvGrpSpPr>
          <p:grpSpPr>
            <a:xfrm>
              <a:off x="5274263" y="3040599"/>
              <a:ext cx="255587" cy="260350"/>
              <a:chOff x="692151" y="5145723"/>
              <a:chExt cx="255587" cy="260350"/>
            </a:xfrm>
          </p:grpSpPr>
          <p:sp>
            <p:nvSpPr>
              <p:cNvPr id="91" name="Freeform 199">
                <a:extLst>
                  <a:ext uri="{FF2B5EF4-FFF2-40B4-BE49-F238E27FC236}">
                    <a16:creationId xmlns:a16="http://schemas.microsoft.com/office/drawing/2014/main" id="{B28EB2CE-1629-4754-B030-E08A481773F8}"/>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00">
                <a:extLst>
                  <a:ext uri="{FF2B5EF4-FFF2-40B4-BE49-F238E27FC236}">
                    <a16:creationId xmlns:a16="http://schemas.microsoft.com/office/drawing/2014/main" id="{97B2CAD2-5617-46AF-9FAF-0170ADBF978A}"/>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01">
                <a:extLst>
                  <a:ext uri="{FF2B5EF4-FFF2-40B4-BE49-F238E27FC236}">
                    <a16:creationId xmlns:a16="http://schemas.microsoft.com/office/drawing/2014/main" id="{50954957-1A91-4D8D-AE34-129232BEF93E}"/>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02">
                <a:extLst>
                  <a:ext uri="{FF2B5EF4-FFF2-40B4-BE49-F238E27FC236}">
                    <a16:creationId xmlns:a16="http://schemas.microsoft.com/office/drawing/2014/main" id="{26F561F7-A0A7-49F8-B8B5-DC2567F1CDF2}"/>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03">
                <a:extLst>
                  <a:ext uri="{FF2B5EF4-FFF2-40B4-BE49-F238E27FC236}">
                    <a16:creationId xmlns:a16="http://schemas.microsoft.com/office/drawing/2014/main" id="{C44A00FA-4E04-4300-8EB4-EDBBE7A96886}"/>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04">
                <a:extLst>
                  <a:ext uri="{FF2B5EF4-FFF2-40B4-BE49-F238E27FC236}">
                    <a16:creationId xmlns:a16="http://schemas.microsoft.com/office/drawing/2014/main" id="{6BC4F745-5C78-421B-8677-0D688925C4A3}"/>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 name="Group 87">
              <a:extLst>
                <a:ext uri="{FF2B5EF4-FFF2-40B4-BE49-F238E27FC236}">
                  <a16:creationId xmlns:a16="http://schemas.microsoft.com/office/drawing/2014/main" id="{7C1647CB-3B8C-4BE0-826F-1F1140AE338A}"/>
                </a:ext>
              </a:extLst>
            </p:cNvPr>
            <p:cNvGrpSpPr>
              <a:grpSpLocks noChangeAspect="1"/>
            </p:cNvGrpSpPr>
            <p:nvPr/>
          </p:nvGrpSpPr>
          <p:grpSpPr>
            <a:xfrm>
              <a:off x="5038122" y="2814343"/>
              <a:ext cx="710153" cy="713232"/>
              <a:chOff x="12216425" y="429331"/>
              <a:chExt cx="1510323" cy="1600239"/>
            </a:xfrm>
          </p:grpSpPr>
          <p:sp>
            <p:nvSpPr>
              <p:cNvPr id="89" name="Arc 88">
                <a:extLst>
                  <a:ext uri="{FF2B5EF4-FFF2-40B4-BE49-F238E27FC236}">
                    <a16:creationId xmlns:a16="http://schemas.microsoft.com/office/drawing/2014/main" id="{85B6F15C-51DA-4956-B264-C58EE2112D94}"/>
                  </a:ext>
                </a:extLst>
              </p:cNvPr>
              <p:cNvSpPr/>
              <p:nvPr/>
            </p:nvSpPr>
            <p:spPr>
              <a:xfrm>
                <a:off x="12216425" y="429331"/>
                <a:ext cx="1510323" cy="1600239"/>
              </a:xfrm>
              <a:prstGeom prst="arc">
                <a:avLst>
                  <a:gd name="adj1" fmla="val 17163472"/>
                  <a:gd name="adj2" fmla="val 6137139"/>
                </a:avLst>
              </a:prstGeom>
              <a:ln w="25400">
                <a:solidFill>
                  <a:schemeClr val="accent2">
                    <a:lumMod val="75000"/>
                  </a:schemeClr>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C5C5C"/>
                  </a:solidFill>
                </a:endParaRPr>
              </a:p>
            </p:txBody>
          </p:sp>
          <p:sp>
            <p:nvSpPr>
              <p:cNvPr id="90" name="Arc 89">
                <a:extLst>
                  <a:ext uri="{FF2B5EF4-FFF2-40B4-BE49-F238E27FC236}">
                    <a16:creationId xmlns:a16="http://schemas.microsoft.com/office/drawing/2014/main" id="{E5B058BB-B83C-4D25-A12E-CADEC73AFFB4}"/>
                  </a:ext>
                </a:extLst>
              </p:cNvPr>
              <p:cNvSpPr/>
              <p:nvPr/>
            </p:nvSpPr>
            <p:spPr>
              <a:xfrm>
                <a:off x="12216425" y="429331"/>
                <a:ext cx="1510323" cy="1600239"/>
              </a:xfrm>
              <a:prstGeom prst="arc">
                <a:avLst>
                  <a:gd name="adj1" fmla="val 6540982"/>
                  <a:gd name="adj2" fmla="val 16779209"/>
                </a:avLst>
              </a:prstGeom>
              <a:ln w="25400">
                <a:solidFill>
                  <a:schemeClr val="accent1"/>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C5C5C"/>
                  </a:solidFill>
                </a:endParaRPr>
              </a:p>
            </p:txBody>
          </p:sp>
        </p:grpSp>
      </p:grpSp>
      <p:sp>
        <p:nvSpPr>
          <p:cNvPr id="97" name="Content Placeholder 8">
            <a:extLst>
              <a:ext uri="{FF2B5EF4-FFF2-40B4-BE49-F238E27FC236}">
                <a16:creationId xmlns:a16="http://schemas.microsoft.com/office/drawing/2014/main" id="{90DCB576-41DB-47A6-B0F2-EC9FA10BC958}"/>
              </a:ext>
            </a:extLst>
          </p:cNvPr>
          <p:cNvSpPr txBox="1">
            <a:spLocks/>
          </p:cNvSpPr>
          <p:nvPr/>
        </p:nvSpPr>
        <p:spPr>
          <a:xfrm>
            <a:off x="6721785" y="2619433"/>
            <a:ext cx="4958591" cy="328260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spcAft>
                <a:spcPts val="600"/>
              </a:spcAft>
              <a:buFont typeface="Wingdings" panose="05000000000000000000" pitchFamily="2" charset="2"/>
              <a:buChar char="§"/>
            </a:pPr>
            <a:r>
              <a:rPr lang="en-US" sz="1200"/>
              <a:t>Applications that </a:t>
            </a:r>
            <a:r>
              <a:rPr lang="en-US" sz="1200" b="1"/>
              <a:t>exceed client expectations </a:t>
            </a:r>
            <a:r>
              <a:rPr lang="en-US" sz="1200"/>
              <a:t>in terms of usability and intuitiveness</a:t>
            </a:r>
          </a:p>
          <a:p>
            <a:pPr marL="285750" indent="-285750">
              <a:spcBef>
                <a:spcPts val="600"/>
              </a:spcBef>
              <a:spcAft>
                <a:spcPts val="600"/>
              </a:spcAft>
              <a:buFont typeface="Wingdings" panose="05000000000000000000" pitchFamily="2" charset="2"/>
              <a:buChar char="§"/>
            </a:pPr>
            <a:r>
              <a:rPr lang="en-US" sz="1200"/>
              <a:t>Applications and analytics </a:t>
            </a:r>
            <a:r>
              <a:rPr lang="en-US" sz="1200" b="1"/>
              <a:t>products integrated with client decision making processes</a:t>
            </a:r>
          </a:p>
          <a:p>
            <a:pPr marL="285750" indent="-285750">
              <a:spcBef>
                <a:spcPts val="600"/>
              </a:spcBef>
              <a:spcAft>
                <a:spcPts val="600"/>
              </a:spcAft>
              <a:buFont typeface="Wingdings" panose="05000000000000000000" pitchFamily="2" charset="2"/>
              <a:buChar char="§"/>
            </a:pPr>
            <a:r>
              <a:rPr lang="en-US" sz="1200">
                <a:latin typeface="Open Sans" charset="0"/>
                <a:ea typeface="Open Sans" charset="0"/>
                <a:cs typeface="Open Sans" charset="0"/>
              </a:rPr>
              <a:t>Consistent </a:t>
            </a:r>
            <a:r>
              <a:rPr lang="en-US" sz="1200" b="1">
                <a:latin typeface="Open Sans" charset="0"/>
                <a:ea typeface="Open Sans" charset="0"/>
                <a:cs typeface="Open Sans" charset="0"/>
              </a:rPr>
              <a:t>high-touch client interactions </a:t>
            </a:r>
            <a:r>
              <a:rPr lang="en-US" sz="1200">
                <a:latin typeface="Open Sans" charset="0"/>
                <a:ea typeface="Open Sans" charset="0"/>
                <a:cs typeface="Open Sans" charset="0"/>
              </a:rPr>
              <a:t>throughout the development process</a:t>
            </a:r>
            <a:endParaRPr lang="en-GB" sz="1200">
              <a:latin typeface="Open Sans" charset="0"/>
              <a:ea typeface="Open Sans" charset="0"/>
              <a:cs typeface="Open Sans" charset="0"/>
            </a:endParaRPr>
          </a:p>
          <a:p>
            <a:pPr marL="285750" indent="-285750">
              <a:spcBef>
                <a:spcPts val="600"/>
              </a:spcBef>
              <a:spcAft>
                <a:spcPts val="600"/>
              </a:spcAft>
              <a:buFont typeface="Wingdings" panose="05000000000000000000" pitchFamily="2" charset="2"/>
              <a:buChar char="§"/>
            </a:pPr>
            <a:r>
              <a:rPr lang="en-US" sz="1200"/>
              <a:t>Develop </a:t>
            </a:r>
            <a:r>
              <a:rPr lang="en-US" sz="1200" b="1"/>
              <a:t>data management service program </a:t>
            </a:r>
            <a:r>
              <a:rPr lang="en-US" sz="1200"/>
              <a:t>to accelerate data collaboration and discovery </a:t>
            </a:r>
          </a:p>
          <a:p>
            <a:pPr marL="285750" indent="-285750">
              <a:spcBef>
                <a:spcPts val="600"/>
              </a:spcBef>
              <a:spcAft>
                <a:spcPts val="600"/>
              </a:spcAft>
              <a:buFont typeface="Wingdings" panose="05000000000000000000" pitchFamily="2" charset="2"/>
              <a:buChar char="§"/>
            </a:pPr>
            <a:r>
              <a:rPr lang="en-US" sz="1200"/>
              <a:t>Develop data analytic and ML services program </a:t>
            </a:r>
            <a:r>
              <a:rPr lang="en-US" sz="1200" b="1"/>
              <a:t>enabling predictive insights </a:t>
            </a:r>
            <a:r>
              <a:rPr lang="en-US" sz="1200"/>
              <a:t>for business leaders within NCCDPHP</a:t>
            </a:r>
          </a:p>
          <a:p>
            <a:pPr marL="285750" indent="-285750">
              <a:spcBef>
                <a:spcPts val="600"/>
              </a:spcBef>
              <a:spcAft>
                <a:spcPts val="600"/>
              </a:spcAft>
              <a:buFont typeface="Wingdings" panose="05000000000000000000" pitchFamily="2" charset="2"/>
              <a:buChar char="§"/>
            </a:pPr>
            <a:endParaRPr lang="en-US" sz="1200"/>
          </a:p>
          <a:p>
            <a:pPr marL="285750" indent="-285750">
              <a:spcBef>
                <a:spcPts val="600"/>
              </a:spcBef>
              <a:spcAft>
                <a:spcPts val="600"/>
              </a:spcAft>
              <a:buFont typeface="Wingdings" panose="05000000000000000000" pitchFamily="2" charset="2"/>
              <a:buChar char="§"/>
            </a:pPr>
            <a:endParaRPr lang="en-US" sz="1200"/>
          </a:p>
          <a:p>
            <a:pPr marL="0" indent="0">
              <a:spcBef>
                <a:spcPts val="600"/>
              </a:spcBef>
              <a:spcAft>
                <a:spcPts val="600"/>
              </a:spcAft>
              <a:buNone/>
            </a:pPr>
            <a:endParaRPr lang="en-GB" sz="1200">
              <a:latin typeface="Open Sans" charset="0"/>
              <a:ea typeface="Open Sans" charset="0"/>
              <a:cs typeface="Open Sans" charset="0"/>
            </a:endParaRPr>
          </a:p>
        </p:txBody>
      </p:sp>
      <p:grpSp>
        <p:nvGrpSpPr>
          <p:cNvPr id="98" name="Group 97">
            <a:extLst>
              <a:ext uri="{FF2B5EF4-FFF2-40B4-BE49-F238E27FC236}">
                <a16:creationId xmlns:a16="http://schemas.microsoft.com/office/drawing/2014/main" id="{E938EF36-A48F-4A90-9159-75FB53D99D59}"/>
              </a:ext>
            </a:extLst>
          </p:cNvPr>
          <p:cNvGrpSpPr>
            <a:grpSpLocks noChangeAspect="1"/>
          </p:cNvGrpSpPr>
          <p:nvPr/>
        </p:nvGrpSpPr>
        <p:grpSpPr>
          <a:xfrm>
            <a:off x="923164" y="3633298"/>
            <a:ext cx="390809" cy="393192"/>
            <a:chOff x="8469313" y="1664335"/>
            <a:chExt cx="520700" cy="523875"/>
          </a:xfrm>
        </p:grpSpPr>
        <p:sp>
          <p:nvSpPr>
            <p:cNvPr id="99" name="Freeform 25">
              <a:extLst>
                <a:ext uri="{FF2B5EF4-FFF2-40B4-BE49-F238E27FC236}">
                  <a16:creationId xmlns:a16="http://schemas.microsoft.com/office/drawing/2014/main" id="{EA3D5CEE-110D-42D0-A3E9-61635468A257}"/>
                </a:ext>
              </a:extLst>
            </p:cNvPr>
            <p:cNvSpPr>
              <a:spLocks noEditPoints="1"/>
            </p:cNvSpPr>
            <p:nvPr/>
          </p:nvSpPr>
          <p:spPr bwMode="auto">
            <a:xfrm>
              <a:off x="8469313" y="166433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29">
              <a:extLst>
                <a:ext uri="{FF2B5EF4-FFF2-40B4-BE49-F238E27FC236}">
                  <a16:creationId xmlns:a16="http://schemas.microsoft.com/office/drawing/2014/main" id="{36D8B07D-B9AC-48B9-A860-02DAC971616C}"/>
                </a:ext>
              </a:extLst>
            </p:cNvPr>
            <p:cNvSpPr>
              <a:spLocks/>
            </p:cNvSpPr>
            <p:nvPr/>
          </p:nvSpPr>
          <p:spPr bwMode="auto">
            <a:xfrm>
              <a:off x="8677276" y="188499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30">
              <a:extLst>
                <a:ext uri="{FF2B5EF4-FFF2-40B4-BE49-F238E27FC236}">
                  <a16:creationId xmlns:a16="http://schemas.microsoft.com/office/drawing/2014/main" id="{842D7BE9-6D2C-4086-BDA2-BF4F5729BA2C}"/>
                </a:ext>
              </a:extLst>
            </p:cNvPr>
            <p:cNvSpPr>
              <a:spLocks/>
            </p:cNvSpPr>
            <p:nvPr/>
          </p:nvSpPr>
          <p:spPr bwMode="auto">
            <a:xfrm>
              <a:off x="8694738" y="178816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31">
              <a:extLst>
                <a:ext uri="{FF2B5EF4-FFF2-40B4-BE49-F238E27FC236}">
                  <a16:creationId xmlns:a16="http://schemas.microsoft.com/office/drawing/2014/main" id="{D950324A-5B9C-4C73-86DA-4A4605D57093}"/>
                </a:ext>
              </a:extLst>
            </p:cNvPr>
            <p:cNvSpPr>
              <a:spLocks/>
            </p:cNvSpPr>
            <p:nvPr/>
          </p:nvSpPr>
          <p:spPr bwMode="auto">
            <a:xfrm>
              <a:off x="8602663" y="199294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102">
            <a:extLst>
              <a:ext uri="{FF2B5EF4-FFF2-40B4-BE49-F238E27FC236}">
                <a16:creationId xmlns:a16="http://schemas.microsoft.com/office/drawing/2014/main" id="{891B4AAB-6E5E-4A9D-AA2A-8A7CF76AE256}"/>
              </a:ext>
            </a:extLst>
          </p:cNvPr>
          <p:cNvGrpSpPr>
            <a:grpSpLocks noChangeAspect="1"/>
          </p:cNvGrpSpPr>
          <p:nvPr/>
        </p:nvGrpSpPr>
        <p:grpSpPr>
          <a:xfrm>
            <a:off x="921972" y="4762944"/>
            <a:ext cx="393192" cy="393192"/>
            <a:chOff x="4071938" y="1660525"/>
            <a:chExt cx="522288" cy="522288"/>
          </a:xfrm>
        </p:grpSpPr>
        <p:sp>
          <p:nvSpPr>
            <p:cNvPr id="104" name="Freeform 20">
              <a:extLst>
                <a:ext uri="{FF2B5EF4-FFF2-40B4-BE49-F238E27FC236}">
                  <a16:creationId xmlns:a16="http://schemas.microsoft.com/office/drawing/2014/main" id="{E570F892-0FFA-4D09-8CE2-C31ED65A994D}"/>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2">
              <a:extLst>
                <a:ext uri="{FF2B5EF4-FFF2-40B4-BE49-F238E27FC236}">
                  <a16:creationId xmlns:a16="http://schemas.microsoft.com/office/drawing/2014/main" id="{82D2F237-145C-4F65-970A-E479BE16BFF8}"/>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3">
              <a:extLst>
                <a:ext uri="{FF2B5EF4-FFF2-40B4-BE49-F238E27FC236}">
                  <a16:creationId xmlns:a16="http://schemas.microsoft.com/office/drawing/2014/main" id="{BC3640E1-A189-41C5-B4F6-E08FABFD9082}"/>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84">
              <a:extLst>
                <a:ext uri="{FF2B5EF4-FFF2-40B4-BE49-F238E27FC236}">
                  <a16:creationId xmlns:a16="http://schemas.microsoft.com/office/drawing/2014/main" id="{8F855FFF-9AB9-48DE-911B-254E5013461D}"/>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85">
              <a:extLst>
                <a:ext uri="{FF2B5EF4-FFF2-40B4-BE49-F238E27FC236}">
                  <a16:creationId xmlns:a16="http://schemas.microsoft.com/office/drawing/2014/main" id="{E81C667D-3D5A-47FE-B163-BAF7B1E0808E}"/>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 Placeholder 6">
            <a:extLst>
              <a:ext uri="{FF2B5EF4-FFF2-40B4-BE49-F238E27FC236}">
                <a16:creationId xmlns:a16="http://schemas.microsoft.com/office/drawing/2014/main" id="{4A48F0BB-459A-564A-AC3F-E89E04C1623F}"/>
              </a:ext>
            </a:extLst>
          </p:cNvPr>
          <p:cNvSpPr>
            <a:spLocks noGrp="1"/>
          </p:cNvSpPr>
          <p:nvPr>
            <p:ph type="body" sz="quarter" idx="15"/>
          </p:nvPr>
        </p:nvSpPr>
        <p:spPr/>
        <p:txBody>
          <a:bodyPr/>
          <a:lstStyle/>
          <a:p>
            <a:r>
              <a:rPr lang="en-US"/>
              <a:t>Key Goals</a:t>
            </a:r>
          </a:p>
        </p:txBody>
      </p:sp>
      <p:sp>
        <p:nvSpPr>
          <p:cNvPr id="8" name="TextBox 7">
            <a:extLst>
              <a:ext uri="{FF2B5EF4-FFF2-40B4-BE49-F238E27FC236}">
                <a16:creationId xmlns:a16="http://schemas.microsoft.com/office/drawing/2014/main" id="{439BF600-C7A3-F04A-9292-8300804FA5B3}"/>
              </a:ext>
            </a:extLst>
          </p:cNvPr>
          <p:cNvSpPr txBox="1"/>
          <p:nvPr/>
        </p:nvSpPr>
        <p:spPr>
          <a:xfrm>
            <a:off x="6800811" y="5336638"/>
            <a:ext cx="4800538" cy="1292662"/>
          </a:xfrm>
          <a:prstGeom prst="rect">
            <a:avLst/>
          </a:prstGeom>
          <a:solidFill>
            <a:schemeClr val="bg1">
              <a:lumMod val="95000"/>
            </a:schemeClr>
          </a:solidFill>
        </p:spPr>
        <p:txBody>
          <a:bodyPr wrap="square" rtlCol="0">
            <a:spAutoFit/>
          </a:bodyPr>
          <a:lstStyle/>
          <a:p>
            <a:pPr>
              <a:spcBef>
                <a:spcPts val="600"/>
              </a:spcBef>
              <a:spcAft>
                <a:spcPts val="600"/>
              </a:spcAft>
            </a:pPr>
            <a:r>
              <a:rPr lang="en-US" sz="1200" b="1"/>
              <a:t>Key Taskforce:</a:t>
            </a:r>
            <a:endParaRPr lang="en-US" sz="1200"/>
          </a:p>
          <a:p>
            <a:pPr marL="742950" lvl="1" indent="-285750">
              <a:spcBef>
                <a:spcPts val="600"/>
              </a:spcBef>
              <a:spcAft>
                <a:spcPts val="600"/>
              </a:spcAft>
              <a:buFont typeface="Wingdings" panose="05000000000000000000" pitchFamily="2" charset="2"/>
              <a:buChar char="§"/>
            </a:pPr>
            <a:r>
              <a:rPr lang="en-US" sz="1200"/>
              <a:t>Delivering web applications and analytics</a:t>
            </a:r>
          </a:p>
          <a:p>
            <a:pPr marL="742950" lvl="1" indent="-285750">
              <a:spcBef>
                <a:spcPts val="600"/>
              </a:spcBef>
              <a:spcAft>
                <a:spcPts val="600"/>
              </a:spcAft>
              <a:buFont typeface="Wingdings" panose="05000000000000000000" pitchFamily="2" charset="2"/>
              <a:buChar char="§"/>
            </a:pPr>
            <a:r>
              <a:rPr lang="en-US" sz="1200"/>
              <a:t>Implement data lake data processing capabilities</a:t>
            </a:r>
          </a:p>
          <a:p>
            <a:pPr marL="742950" lvl="1" indent="-285750">
              <a:spcBef>
                <a:spcPts val="600"/>
              </a:spcBef>
              <a:spcAft>
                <a:spcPts val="600"/>
              </a:spcAft>
              <a:buFont typeface="Wingdings" panose="05000000000000000000" pitchFamily="2" charset="2"/>
              <a:buChar char="§"/>
            </a:pPr>
            <a:r>
              <a:rPr lang="en-US" sz="1200"/>
              <a:t>Building analytics workbench services</a:t>
            </a:r>
          </a:p>
        </p:txBody>
      </p:sp>
    </p:spTree>
    <p:extLst>
      <p:ext uri="{BB962C8B-B14F-4D97-AF65-F5344CB8AC3E}">
        <p14:creationId xmlns:p14="http://schemas.microsoft.com/office/powerpoint/2010/main" val="6402024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DCC71-F4A2-7A49-9F30-200C5AF1AD74}"/>
              </a:ext>
            </a:extLst>
          </p:cNvPr>
          <p:cNvSpPr>
            <a:spLocks noGrp="1"/>
          </p:cNvSpPr>
          <p:nvPr>
            <p:ph type="title"/>
          </p:nvPr>
        </p:nvSpPr>
        <p:spPr/>
        <p:txBody>
          <a:bodyPr/>
          <a:lstStyle/>
          <a:p>
            <a:r>
              <a:rPr lang="en-US" sz="3600"/>
              <a:t>Containers</a:t>
            </a:r>
          </a:p>
        </p:txBody>
      </p:sp>
      <p:sp>
        <p:nvSpPr>
          <p:cNvPr id="3" name="Picture Placeholder 2">
            <a:extLst>
              <a:ext uri="{FF2B5EF4-FFF2-40B4-BE49-F238E27FC236}">
                <a16:creationId xmlns:a16="http://schemas.microsoft.com/office/drawing/2014/main" id="{22D63A33-C9B5-2F46-9072-53046985136D}"/>
              </a:ext>
            </a:extLst>
          </p:cNvPr>
          <p:cNvSpPr>
            <a:spLocks noGrp="1"/>
          </p:cNvSpPr>
          <p:nvPr>
            <p:ph type="pic" sz="quarter" idx="10"/>
          </p:nvPr>
        </p:nvSpPr>
        <p:spPr/>
      </p:sp>
      <p:sp>
        <p:nvSpPr>
          <p:cNvPr id="4" name="Text Placeholder 3">
            <a:extLst>
              <a:ext uri="{FF2B5EF4-FFF2-40B4-BE49-F238E27FC236}">
                <a16:creationId xmlns:a16="http://schemas.microsoft.com/office/drawing/2014/main" id="{ED8B39AF-3B71-9A4C-9DD4-62E7633E2FF9}"/>
              </a:ext>
            </a:extLst>
          </p:cNvPr>
          <p:cNvSpPr>
            <a:spLocks noGrp="1"/>
          </p:cNvSpPr>
          <p:nvPr>
            <p:ph type="body" sz="quarter" idx="11"/>
          </p:nvPr>
        </p:nvSpPr>
        <p:spPr>
          <a:xfrm>
            <a:off x="5397500" y="1254136"/>
            <a:ext cx="6137512" cy="381392"/>
          </a:xfrm>
        </p:spPr>
        <p:txBody>
          <a:bodyPr/>
          <a:lstStyle/>
          <a:p>
            <a:r>
              <a:rPr lang="en-US"/>
              <a:t>Containerizing each projects allow efficient replication of environments and start-up. It captures the concept of agnostic software that can run on several environments</a:t>
            </a:r>
          </a:p>
        </p:txBody>
      </p:sp>
      <p:sp>
        <p:nvSpPr>
          <p:cNvPr id="5" name="Text Placeholder 4">
            <a:extLst>
              <a:ext uri="{FF2B5EF4-FFF2-40B4-BE49-F238E27FC236}">
                <a16:creationId xmlns:a16="http://schemas.microsoft.com/office/drawing/2014/main" id="{60E909D5-DB05-7440-B837-525D89588DAE}"/>
              </a:ext>
            </a:extLst>
          </p:cNvPr>
          <p:cNvSpPr>
            <a:spLocks noGrp="1"/>
          </p:cNvSpPr>
          <p:nvPr>
            <p:ph type="body" sz="quarter" idx="15"/>
          </p:nvPr>
        </p:nvSpPr>
        <p:spPr/>
        <p:txBody>
          <a:bodyPr/>
          <a:lstStyle/>
          <a:p>
            <a:r>
              <a:rPr lang="en-US"/>
              <a:t>Application Development</a:t>
            </a:r>
          </a:p>
        </p:txBody>
      </p:sp>
    </p:spTree>
    <p:extLst>
      <p:ext uri="{BB962C8B-B14F-4D97-AF65-F5344CB8AC3E}">
        <p14:creationId xmlns:p14="http://schemas.microsoft.com/office/powerpoint/2010/main" val="31654171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74396F-ED80-CA4A-A3AD-F11881A00977}"/>
              </a:ext>
            </a:extLst>
          </p:cNvPr>
          <p:cNvSpPr>
            <a:spLocks noGrp="1"/>
          </p:cNvSpPr>
          <p:nvPr>
            <p:ph type="title"/>
          </p:nvPr>
        </p:nvSpPr>
        <p:spPr/>
        <p:txBody>
          <a:bodyPr/>
          <a:lstStyle/>
          <a:p>
            <a:r>
              <a:rPr lang="en-US" sz="3600"/>
              <a:t>Code Review (to be filled)</a:t>
            </a:r>
          </a:p>
        </p:txBody>
      </p:sp>
      <p:sp>
        <p:nvSpPr>
          <p:cNvPr id="6" name="Text Placeholder 5">
            <a:extLst>
              <a:ext uri="{FF2B5EF4-FFF2-40B4-BE49-F238E27FC236}">
                <a16:creationId xmlns:a16="http://schemas.microsoft.com/office/drawing/2014/main" id="{5CB35120-2752-FC4E-8B24-C2C783E19E71}"/>
              </a:ext>
            </a:extLst>
          </p:cNvPr>
          <p:cNvSpPr>
            <a:spLocks noGrp="1"/>
          </p:cNvSpPr>
          <p:nvPr>
            <p:ph type="body" sz="quarter" idx="14"/>
          </p:nvPr>
        </p:nvSpPr>
        <p:spPr/>
        <p:txBody>
          <a:bodyPr/>
          <a:lstStyle/>
          <a:p>
            <a:r>
              <a:rPr lang="en-US"/>
              <a:t>Standards for code reviewers</a:t>
            </a:r>
          </a:p>
        </p:txBody>
      </p:sp>
      <p:sp>
        <p:nvSpPr>
          <p:cNvPr id="7" name="Text Placeholder 6">
            <a:extLst>
              <a:ext uri="{FF2B5EF4-FFF2-40B4-BE49-F238E27FC236}">
                <a16:creationId xmlns:a16="http://schemas.microsoft.com/office/drawing/2014/main" id="{24193411-85F9-6442-AEF3-E993146DBA7F}"/>
              </a:ext>
            </a:extLst>
          </p:cNvPr>
          <p:cNvSpPr>
            <a:spLocks noGrp="1"/>
          </p:cNvSpPr>
          <p:nvPr>
            <p:ph type="body" sz="quarter" idx="15"/>
          </p:nvPr>
        </p:nvSpPr>
        <p:spPr/>
        <p:txBody>
          <a:bodyPr/>
          <a:lstStyle/>
          <a:p>
            <a:pPr marL="0" indent="0">
              <a:buNone/>
            </a:pPr>
            <a:r>
              <a:rPr lang="en-US"/>
              <a:t>Application Development</a:t>
            </a:r>
          </a:p>
        </p:txBody>
      </p:sp>
      <p:sp>
        <p:nvSpPr>
          <p:cNvPr id="8" name="Rectangle 7">
            <a:extLst>
              <a:ext uri="{FF2B5EF4-FFF2-40B4-BE49-F238E27FC236}">
                <a16:creationId xmlns:a16="http://schemas.microsoft.com/office/drawing/2014/main" id="{0D5D5A1E-6CC3-114B-B3CB-E9F721768331}"/>
              </a:ext>
            </a:extLst>
          </p:cNvPr>
          <p:cNvSpPr/>
          <p:nvPr/>
        </p:nvSpPr>
        <p:spPr>
          <a:xfrm>
            <a:off x="3157704" y="3812638"/>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a:t>Local Development</a:t>
            </a:r>
          </a:p>
        </p:txBody>
      </p:sp>
      <p:sp>
        <p:nvSpPr>
          <p:cNvPr id="9" name="Rectangle 8">
            <a:extLst>
              <a:ext uri="{FF2B5EF4-FFF2-40B4-BE49-F238E27FC236}">
                <a16:creationId xmlns:a16="http://schemas.microsoft.com/office/drawing/2014/main" id="{273CF5DE-1CCB-8A4D-BDBC-7AC98059409D}"/>
              </a:ext>
            </a:extLst>
          </p:cNvPr>
          <p:cNvSpPr/>
          <p:nvPr/>
        </p:nvSpPr>
        <p:spPr>
          <a:xfrm>
            <a:off x="4496554" y="3812638"/>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a:t>Automated Code Review</a:t>
            </a:r>
          </a:p>
        </p:txBody>
      </p:sp>
      <p:sp>
        <p:nvSpPr>
          <p:cNvPr id="10" name="Isosceles Triangle 39">
            <a:extLst>
              <a:ext uri="{FF2B5EF4-FFF2-40B4-BE49-F238E27FC236}">
                <a16:creationId xmlns:a16="http://schemas.microsoft.com/office/drawing/2014/main" id="{2C54269A-77A9-B245-8917-E5CF91731404}"/>
              </a:ext>
            </a:extLst>
          </p:cNvPr>
          <p:cNvSpPr/>
          <p:nvPr/>
        </p:nvSpPr>
        <p:spPr>
          <a:xfrm>
            <a:off x="5249197" y="4303237"/>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3A8EED4-6C37-DF4A-991E-F79BAC3DBAB4}"/>
              </a:ext>
            </a:extLst>
          </p:cNvPr>
          <p:cNvSpPr/>
          <p:nvPr/>
        </p:nvSpPr>
        <p:spPr>
          <a:xfrm>
            <a:off x="5740490" y="3812638"/>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a:t>Merge Request</a:t>
            </a:r>
          </a:p>
        </p:txBody>
      </p:sp>
      <p:cxnSp>
        <p:nvCxnSpPr>
          <p:cNvPr id="16" name="Straight Connector 74">
            <a:extLst>
              <a:ext uri="{FF2B5EF4-FFF2-40B4-BE49-F238E27FC236}">
                <a16:creationId xmlns:a16="http://schemas.microsoft.com/office/drawing/2014/main" id="{EDEB30AD-8BBE-FE49-8DFA-7D57C55B6D73}"/>
              </a:ext>
            </a:extLst>
          </p:cNvPr>
          <p:cNvCxnSpPr>
            <a:cxnSpLocks/>
            <a:stCxn id="8" idx="3"/>
            <a:endCxn id="9" idx="1"/>
          </p:cNvCxnSpPr>
          <p:nvPr/>
        </p:nvCxnSpPr>
        <p:spPr>
          <a:xfrm>
            <a:off x="4072104" y="4119398"/>
            <a:ext cx="424450" cy="0"/>
          </a:xfrm>
          <a:prstGeom prst="bentConnector3">
            <a:avLst>
              <a:gd name="adj1" fmla="val 50000"/>
            </a:avLst>
          </a:prstGeom>
          <a:noFill/>
          <a:ln w="22225" cmpd="sng">
            <a:solidFill>
              <a:srgbClr val="D6D6D6"/>
            </a:solidFill>
            <a:tailEnd type="triangle"/>
          </a:ln>
          <a:effectLst/>
        </p:spPr>
      </p:cxnSp>
      <p:cxnSp>
        <p:nvCxnSpPr>
          <p:cNvPr id="18" name="Straight Connector 74">
            <a:extLst>
              <a:ext uri="{FF2B5EF4-FFF2-40B4-BE49-F238E27FC236}">
                <a16:creationId xmlns:a16="http://schemas.microsoft.com/office/drawing/2014/main" id="{8FA0C005-E683-2140-B3F9-F7D823B84DFE}"/>
              </a:ext>
            </a:extLst>
          </p:cNvPr>
          <p:cNvCxnSpPr>
            <a:cxnSpLocks/>
            <a:stCxn id="11" idx="3"/>
            <a:endCxn id="20" idx="1"/>
          </p:cNvCxnSpPr>
          <p:nvPr/>
        </p:nvCxnSpPr>
        <p:spPr>
          <a:xfrm flipV="1">
            <a:off x="6654890" y="4115551"/>
            <a:ext cx="314165" cy="3847"/>
          </a:xfrm>
          <a:prstGeom prst="bentConnector3">
            <a:avLst>
              <a:gd name="adj1" fmla="val 50000"/>
            </a:avLst>
          </a:prstGeom>
          <a:noFill/>
          <a:ln w="22225" cmpd="sng">
            <a:solidFill>
              <a:srgbClr val="D6D6D6"/>
            </a:solidFill>
            <a:tailEnd type="triangle"/>
          </a:ln>
          <a:effectLst/>
        </p:spPr>
      </p:cxnSp>
      <p:cxnSp>
        <p:nvCxnSpPr>
          <p:cNvPr id="19" name="Straight Connector 74">
            <a:extLst>
              <a:ext uri="{FF2B5EF4-FFF2-40B4-BE49-F238E27FC236}">
                <a16:creationId xmlns:a16="http://schemas.microsoft.com/office/drawing/2014/main" id="{062EDD9E-08AB-DE4E-B8DC-C626EB094E7F}"/>
              </a:ext>
            </a:extLst>
          </p:cNvPr>
          <p:cNvCxnSpPr>
            <a:cxnSpLocks/>
            <a:stCxn id="9" idx="3"/>
            <a:endCxn id="11" idx="1"/>
          </p:cNvCxnSpPr>
          <p:nvPr/>
        </p:nvCxnSpPr>
        <p:spPr>
          <a:xfrm>
            <a:off x="5410954" y="4119398"/>
            <a:ext cx="329536" cy="12700"/>
          </a:xfrm>
          <a:prstGeom prst="bentConnector3">
            <a:avLst>
              <a:gd name="adj1" fmla="val 50000"/>
            </a:avLst>
          </a:prstGeom>
          <a:noFill/>
          <a:ln w="22225" cmpd="sng">
            <a:solidFill>
              <a:srgbClr val="D6D6D6"/>
            </a:solidFill>
            <a:tailEnd type="triangle"/>
          </a:ln>
          <a:effectLst/>
        </p:spPr>
      </p:cxnSp>
      <p:sp>
        <p:nvSpPr>
          <p:cNvPr id="20" name="Rectangle 19">
            <a:extLst>
              <a:ext uri="{FF2B5EF4-FFF2-40B4-BE49-F238E27FC236}">
                <a16:creationId xmlns:a16="http://schemas.microsoft.com/office/drawing/2014/main" id="{8FBF8BA1-A907-8240-B7C8-315C529B45F8}"/>
              </a:ext>
            </a:extLst>
          </p:cNvPr>
          <p:cNvSpPr/>
          <p:nvPr/>
        </p:nvSpPr>
        <p:spPr>
          <a:xfrm>
            <a:off x="6969055" y="3808791"/>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a:t>Code Review</a:t>
            </a:r>
          </a:p>
        </p:txBody>
      </p:sp>
      <p:sp>
        <p:nvSpPr>
          <p:cNvPr id="21" name="Rectangle 20">
            <a:extLst>
              <a:ext uri="{FF2B5EF4-FFF2-40B4-BE49-F238E27FC236}">
                <a16:creationId xmlns:a16="http://schemas.microsoft.com/office/drawing/2014/main" id="{5B4383FE-B84F-C440-99B5-DE7F952FE11B}"/>
              </a:ext>
            </a:extLst>
          </p:cNvPr>
          <p:cNvSpPr/>
          <p:nvPr/>
        </p:nvSpPr>
        <p:spPr>
          <a:xfrm>
            <a:off x="8426441" y="3808791"/>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a:t>Integrate</a:t>
            </a:r>
          </a:p>
        </p:txBody>
      </p:sp>
      <p:cxnSp>
        <p:nvCxnSpPr>
          <p:cNvPr id="22" name="Straight Connector 74">
            <a:extLst>
              <a:ext uri="{FF2B5EF4-FFF2-40B4-BE49-F238E27FC236}">
                <a16:creationId xmlns:a16="http://schemas.microsoft.com/office/drawing/2014/main" id="{5772597B-2CEF-3443-8F70-6592723D3383}"/>
              </a:ext>
            </a:extLst>
          </p:cNvPr>
          <p:cNvCxnSpPr>
            <a:cxnSpLocks/>
            <a:stCxn id="20" idx="3"/>
            <a:endCxn id="21" idx="1"/>
          </p:cNvCxnSpPr>
          <p:nvPr/>
        </p:nvCxnSpPr>
        <p:spPr>
          <a:xfrm>
            <a:off x="7883455" y="4115551"/>
            <a:ext cx="542986" cy="12700"/>
          </a:xfrm>
          <a:prstGeom prst="bentConnector3">
            <a:avLst>
              <a:gd name="adj1" fmla="val 50000"/>
            </a:avLst>
          </a:prstGeom>
          <a:noFill/>
          <a:ln w="22225" cmpd="sng">
            <a:solidFill>
              <a:srgbClr val="D6D6D6"/>
            </a:solidFill>
            <a:tailEnd type="triangle"/>
          </a:ln>
          <a:effectLst/>
        </p:spPr>
      </p:cxnSp>
      <p:sp>
        <p:nvSpPr>
          <p:cNvPr id="2" name="TextBox 1">
            <a:extLst>
              <a:ext uri="{FF2B5EF4-FFF2-40B4-BE49-F238E27FC236}">
                <a16:creationId xmlns:a16="http://schemas.microsoft.com/office/drawing/2014/main" id="{22EAF2BE-94FD-9E43-A11A-D594A26ADB9C}"/>
              </a:ext>
            </a:extLst>
          </p:cNvPr>
          <p:cNvSpPr txBox="1"/>
          <p:nvPr/>
        </p:nvSpPr>
        <p:spPr>
          <a:xfrm>
            <a:off x="914400" y="1999939"/>
            <a:ext cx="5057422" cy="738664"/>
          </a:xfrm>
          <a:prstGeom prst="rect">
            <a:avLst/>
          </a:prstGeom>
          <a:noFill/>
        </p:spPr>
        <p:txBody>
          <a:bodyPr wrap="square" rtlCol="0">
            <a:spAutoFit/>
          </a:bodyPr>
          <a:lstStyle/>
          <a:p>
            <a:r>
              <a:rPr lang="en-US" sz="1400" b="1"/>
              <a:t>Standards</a:t>
            </a:r>
          </a:p>
          <a:p>
            <a:pPr marL="342900" indent="-342900">
              <a:buFont typeface="Arial" panose="020B0604020202020204" pitchFamily="34" charset="0"/>
              <a:buChar char="•"/>
            </a:pPr>
            <a:r>
              <a:rPr lang="en-US" sz="1400"/>
              <a:t>Example</a:t>
            </a:r>
          </a:p>
          <a:p>
            <a:pPr marL="342900" indent="-342900">
              <a:buFont typeface="Arial" panose="020B0604020202020204" pitchFamily="34" charset="0"/>
              <a:buChar char="•"/>
            </a:pPr>
            <a:r>
              <a:rPr lang="en-US" sz="1400"/>
              <a:t>Example</a:t>
            </a:r>
          </a:p>
        </p:txBody>
      </p:sp>
    </p:spTree>
    <p:extLst>
      <p:ext uri="{BB962C8B-B14F-4D97-AF65-F5344CB8AC3E}">
        <p14:creationId xmlns:p14="http://schemas.microsoft.com/office/powerpoint/2010/main" val="20119408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3C178AD-02A1-4942-8024-FBC4657A120C}"/>
              </a:ext>
            </a:extLst>
          </p:cNvPr>
          <p:cNvSpPr>
            <a:spLocks noGrp="1"/>
          </p:cNvSpPr>
          <p:nvPr>
            <p:ph type="body" sz="quarter" idx="10"/>
          </p:nvPr>
        </p:nvSpPr>
        <p:spPr/>
        <p:txBody>
          <a:bodyPr/>
          <a:lstStyle/>
          <a:p>
            <a:r>
              <a:rPr lang="en-US"/>
              <a:t>Archive</a:t>
            </a:r>
          </a:p>
        </p:txBody>
      </p:sp>
    </p:spTree>
    <p:extLst>
      <p:ext uri="{BB962C8B-B14F-4D97-AF65-F5344CB8AC3E}">
        <p14:creationId xmlns:p14="http://schemas.microsoft.com/office/powerpoint/2010/main" val="5814040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6E7A1-3135-074E-8D42-E3516799BA83}"/>
              </a:ext>
            </a:extLst>
          </p:cNvPr>
          <p:cNvSpPr>
            <a:spLocks noGrp="1"/>
          </p:cNvSpPr>
          <p:nvPr>
            <p:ph type="title"/>
          </p:nvPr>
        </p:nvSpPr>
        <p:spPr/>
        <p:txBody>
          <a:bodyPr/>
          <a:lstStyle/>
          <a:p>
            <a:r>
              <a:rPr lang="en-US"/>
              <a:t>Next Steps</a:t>
            </a:r>
          </a:p>
        </p:txBody>
      </p:sp>
      <p:sp>
        <p:nvSpPr>
          <p:cNvPr id="3" name="Content Placeholder 2">
            <a:extLst>
              <a:ext uri="{FF2B5EF4-FFF2-40B4-BE49-F238E27FC236}">
                <a16:creationId xmlns:a16="http://schemas.microsoft.com/office/drawing/2014/main" id="{3F1BAA32-0BA2-5E4B-ACA1-4B56F6F61121}"/>
              </a:ext>
            </a:extLst>
          </p:cNvPr>
          <p:cNvSpPr>
            <a:spLocks noGrp="1"/>
          </p:cNvSpPr>
          <p:nvPr>
            <p:ph sz="half" idx="1"/>
          </p:nvPr>
        </p:nvSpPr>
        <p:spPr>
          <a:xfrm>
            <a:off x="838200" y="1445342"/>
            <a:ext cx="5257800" cy="4895823"/>
          </a:xfrm>
        </p:spPr>
        <p:txBody>
          <a:bodyPr/>
          <a:lstStyle/>
          <a:p>
            <a:r>
              <a:rPr lang="en-US" sz="1400"/>
              <a:t>Application</a:t>
            </a:r>
          </a:p>
          <a:p>
            <a:pPr lvl="1"/>
            <a:r>
              <a:rPr lang="en-US" sz="1200" b="1"/>
              <a:t>Containerize and Restore</a:t>
            </a:r>
          </a:p>
          <a:p>
            <a:pPr lvl="1"/>
            <a:r>
              <a:rPr lang="en-US" sz="1200" b="1"/>
              <a:t>Establish Dummy Database Containers</a:t>
            </a:r>
          </a:p>
          <a:p>
            <a:pPr lvl="1"/>
            <a:r>
              <a:rPr lang="en-US" sz="1200"/>
              <a:t>Expand Testing</a:t>
            </a:r>
          </a:p>
          <a:p>
            <a:pPr lvl="1"/>
            <a:r>
              <a:rPr lang="en-US" sz="1200"/>
              <a:t>Test CI Services / DB Version Control services</a:t>
            </a:r>
          </a:p>
          <a:p>
            <a:r>
              <a:rPr lang="en-US" sz="1400"/>
              <a:t>Operations</a:t>
            </a:r>
          </a:p>
          <a:p>
            <a:pPr lvl="1"/>
            <a:r>
              <a:rPr lang="en-US" sz="1200" b="1"/>
              <a:t>Organize workforce, objectives , and tasks</a:t>
            </a:r>
          </a:p>
          <a:p>
            <a:r>
              <a:rPr lang="en-US" sz="1400"/>
              <a:t>Contract start</a:t>
            </a:r>
          </a:p>
          <a:p>
            <a:pPr lvl="1"/>
            <a:r>
              <a:rPr lang="en-US" sz="1200"/>
              <a:t>Establish key client objectives</a:t>
            </a:r>
          </a:p>
          <a:p>
            <a:pPr lvl="1"/>
            <a:r>
              <a:rPr lang="en-US" sz="1200"/>
              <a:t>Establish project on CDC Enterprise GitHub</a:t>
            </a:r>
          </a:p>
          <a:p>
            <a:pPr lvl="1"/>
            <a:r>
              <a:rPr lang="en-US" sz="1200"/>
              <a:t>Deploy services on OpenShift 4</a:t>
            </a:r>
          </a:p>
          <a:p>
            <a:pPr lvl="1"/>
            <a:r>
              <a:rPr lang="en-US" sz="1200"/>
              <a:t>Develop CI/CD on CDC side</a:t>
            </a:r>
          </a:p>
          <a:p>
            <a:pPr lvl="1"/>
            <a:r>
              <a:rPr lang="en-US" sz="1200"/>
              <a:t>Discuss Cloud platform decision</a:t>
            </a:r>
          </a:p>
          <a:p>
            <a:pPr lvl="1"/>
            <a:r>
              <a:rPr lang="en-US" sz="1200"/>
              <a:t>Develop Cloud Platform specific Architecture</a:t>
            </a:r>
          </a:p>
          <a:p>
            <a:pPr lvl="1"/>
            <a:r>
              <a:rPr lang="en-US" sz="1200"/>
              <a:t>Cloud Data Lake implementation</a:t>
            </a:r>
          </a:p>
          <a:p>
            <a:pPr lvl="1"/>
            <a:r>
              <a:rPr lang="en-US" sz="1200"/>
              <a:t>SSO Implementation</a:t>
            </a:r>
          </a:p>
          <a:p>
            <a:pPr lvl="2"/>
            <a:r>
              <a:rPr lang="en-US" sz="1100"/>
              <a:t>Investigate Azure AD instead of </a:t>
            </a:r>
            <a:r>
              <a:rPr lang="en-US" sz="1100" err="1"/>
              <a:t>Keycloak</a:t>
            </a:r>
            <a:endParaRPr lang="en-US" sz="1100"/>
          </a:p>
          <a:p>
            <a:pPr lvl="1"/>
            <a:r>
              <a:rPr lang="en-US" sz="1200"/>
              <a:t>Analytics Workbench</a:t>
            </a:r>
          </a:p>
          <a:p>
            <a:pPr lvl="1"/>
            <a:endParaRPr lang="en-US" sz="1200"/>
          </a:p>
        </p:txBody>
      </p:sp>
      <p:sp>
        <p:nvSpPr>
          <p:cNvPr id="4" name="Content Placeholder 3">
            <a:extLst>
              <a:ext uri="{FF2B5EF4-FFF2-40B4-BE49-F238E27FC236}">
                <a16:creationId xmlns:a16="http://schemas.microsoft.com/office/drawing/2014/main" id="{21FC6163-D32E-644E-A463-43AE70B444E4}"/>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37099413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a:t>Platform Architecture: Future State (</a:t>
            </a:r>
            <a:r>
              <a:rPr lang="en-US">
                <a:solidFill>
                  <a:srgbClr val="FF0000"/>
                </a:solidFill>
              </a:rPr>
              <a:t>WIP</a:t>
            </a:r>
            <a:r>
              <a:rPr lang="en-US"/>
              <a:t>)</a:t>
            </a:r>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a:t>Key goals</a:t>
            </a:r>
          </a:p>
        </p:txBody>
      </p:sp>
      <p:pic>
        <p:nvPicPr>
          <p:cNvPr id="7" name="Picture 6">
            <a:extLst>
              <a:ext uri="{FF2B5EF4-FFF2-40B4-BE49-F238E27FC236}">
                <a16:creationId xmlns:a16="http://schemas.microsoft.com/office/drawing/2014/main" id="{628F1372-C484-AC4E-B693-946405795047}"/>
              </a:ext>
            </a:extLst>
          </p:cNvPr>
          <p:cNvPicPr>
            <a:picLocks noChangeAspect="1"/>
          </p:cNvPicPr>
          <p:nvPr/>
        </p:nvPicPr>
        <p:blipFill>
          <a:blip r:embed="rId8"/>
          <a:stretch>
            <a:fillRect/>
          </a:stretch>
        </p:blipFill>
        <p:spPr>
          <a:xfrm>
            <a:off x="1167219" y="1518022"/>
            <a:ext cx="8818995" cy="4336338"/>
          </a:xfrm>
          <a:prstGeom prst="rect">
            <a:avLst/>
          </a:prstGeom>
        </p:spPr>
      </p:pic>
      <p:grpSp>
        <p:nvGrpSpPr>
          <p:cNvPr id="14" name="Group 13">
            <a:extLst>
              <a:ext uri="{FF2B5EF4-FFF2-40B4-BE49-F238E27FC236}">
                <a16:creationId xmlns:a16="http://schemas.microsoft.com/office/drawing/2014/main" id="{51F997C5-6AFD-C941-BF20-B74BBD775F0D}"/>
              </a:ext>
            </a:extLst>
          </p:cNvPr>
          <p:cNvGrpSpPr/>
          <p:nvPr/>
        </p:nvGrpSpPr>
        <p:grpSpPr>
          <a:xfrm>
            <a:off x="2550648" y="2277401"/>
            <a:ext cx="1508920" cy="713958"/>
            <a:chOff x="3340968" y="2002841"/>
            <a:chExt cx="1508920" cy="713958"/>
          </a:xfrm>
        </p:grpSpPr>
        <p:sp>
          <p:nvSpPr>
            <p:cNvPr id="15" name="TextBox 14">
              <a:extLst>
                <a:ext uri="{FF2B5EF4-FFF2-40B4-BE49-F238E27FC236}">
                  <a16:creationId xmlns:a16="http://schemas.microsoft.com/office/drawing/2014/main" id="{66173847-2B5C-6B4A-8CD5-366531AD9C62}"/>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16" name="TextBox 15">
              <a:extLst>
                <a:ext uri="{FF2B5EF4-FFF2-40B4-BE49-F238E27FC236}">
                  <a16:creationId xmlns:a16="http://schemas.microsoft.com/office/drawing/2014/main" id="{A1C57F56-02FD-D944-A061-03B52DBC13BE}"/>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and manage data pipelines and ETL</a:t>
              </a:r>
            </a:p>
          </p:txBody>
        </p:sp>
      </p:grpSp>
      <p:grpSp>
        <p:nvGrpSpPr>
          <p:cNvPr id="17" name="Group 16">
            <a:extLst>
              <a:ext uri="{FF2B5EF4-FFF2-40B4-BE49-F238E27FC236}">
                <a16:creationId xmlns:a16="http://schemas.microsoft.com/office/drawing/2014/main" id="{0ED5E893-D1DA-384E-A53D-29B6E59E2CB4}"/>
              </a:ext>
            </a:extLst>
          </p:cNvPr>
          <p:cNvGrpSpPr/>
          <p:nvPr/>
        </p:nvGrpSpPr>
        <p:grpSpPr>
          <a:xfrm>
            <a:off x="9842021" y="1528513"/>
            <a:ext cx="1756474" cy="751513"/>
            <a:chOff x="5302152" y="1990215"/>
            <a:chExt cx="1756474" cy="751513"/>
          </a:xfrm>
        </p:grpSpPr>
        <p:sp>
          <p:nvSpPr>
            <p:cNvPr id="18" name="TextBox 17">
              <a:extLst>
                <a:ext uri="{FF2B5EF4-FFF2-40B4-BE49-F238E27FC236}">
                  <a16:creationId xmlns:a16="http://schemas.microsoft.com/office/drawing/2014/main" id="{1EA8C22B-7933-514B-AF6D-5872540E63EA}"/>
                </a:ext>
              </a:extLst>
            </p:cNvPr>
            <p:cNvSpPr txBox="1"/>
            <p:nvPr/>
          </p:nvSpPr>
          <p:spPr>
            <a:xfrm>
              <a:off x="5396764" y="1990215"/>
              <a:ext cx="1661862" cy="253832"/>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Analytics Platform</a:t>
              </a:r>
            </a:p>
          </p:txBody>
        </p:sp>
        <p:sp>
          <p:nvSpPr>
            <p:cNvPr id="19" name="TextBox 18">
              <a:extLst>
                <a:ext uri="{FF2B5EF4-FFF2-40B4-BE49-F238E27FC236}">
                  <a16:creationId xmlns:a16="http://schemas.microsoft.com/office/drawing/2014/main" id="{BE3FCE27-3F4E-DF4C-91AF-3CC4F22BC61B}"/>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Leverage unified service for data integration, enterprise data warehousing, and big data analytics.</a:t>
              </a:r>
            </a:p>
          </p:txBody>
        </p:sp>
      </p:grpSp>
      <p:grpSp>
        <p:nvGrpSpPr>
          <p:cNvPr id="20" name="Group 19">
            <a:extLst>
              <a:ext uri="{FF2B5EF4-FFF2-40B4-BE49-F238E27FC236}">
                <a16:creationId xmlns:a16="http://schemas.microsoft.com/office/drawing/2014/main" id="{30FDA194-81A5-074C-8CA2-5E858B824269}"/>
              </a:ext>
            </a:extLst>
          </p:cNvPr>
          <p:cNvGrpSpPr/>
          <p:nvPr/>
        </p:nvGrpSpPr>
        <p:grpSpPr>
          <a:xfrm>
            <a:off x="4725286" y="2184878"/>
            <a:ext cx="1756474" cy="791158"/>
            <a:chOff x="7386994" y="1990138"/>
            <a:chExt cx="1756474" cy="791158"/>
          </a:xfrm>
        </p:grpSpPr>
        <p:sp>
          <p:nvSpPr>
            <p:cNvPr id="21" name="TextBox 20">
              <a:extLst>
                <a:ext uri="{FF2B5EF4-FFF2-40B4-BE49-F238E27FC236}">
                  <a16:creationId xmlns:a16="http://schemas.microsoft.com/office/drawing/2014/main" id="{C37C23A1-88D0-4C4E-9413-2DFEB1EF4B68}"/>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ervices</a:t>
              </a:r>
            </a:p>
          </p:txBody>
        </p:sp>
        <p:sp>
          <p:nvSpPr>
            <p:cNvPr id="22" name="TextBox 21">
              <a:extLst>
                <a:ext uri="{FF2B5EF4-FFF2-40B4-BE49-F238E27FC236}">
                  <a16:creationId xmlns:a16="http://schemas.microsoft.com/office/drawing/2014/main" id="{65BC089F-8E97-F84E-9DD4-21265FAEADCB}"/>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earch and automatic catalog services to enable discoverability and insights</a:t>
              </a:r>
            </a:p>
          </p:txBody>
        </p:sp>
      </p:grpSp>
      <p:grpSp>
        <p:nvGrpSpPr>
          <p:cNvPr id="23" name="Group 22">
            <a:extLst>
              <a:ext uri="{FF2B5EF4-FFF2-40B4-BE49-F238E27FC236}">
                <a16:creationId xmlns:a16="http://schemas.microsoft.com/office/drawing/2014/main" id="{3BD1D5FD-B93A-194D-90FD-97BD2A218889}"/>
              </a:ext>
            </a:extLst>
          </p:cNvPr>
          <p:cNvGrpSpPr/>
          <p:nvPr/>
        </p:nvGrpSpPr>
        <p:grpSpPr>
          <a:xfrm>
            <a:off x="9986214" y="3861481"/>
            <a:ext cx="1761826" cy="728454"/>
            <a:chOff x="9478690" y="2325056"/>
            <a:chExt cx="1761826" cy="728454"/>
          </a:xfrm>
        </p:grpSpPr>
        <p:sp>
          <p:nvSpPr>
            <p:cNvPr id="24" name="TextBox 23">
              <a:extLst>
                <a:ext uri="{FF2B5EF4-FFF2-40B4-BE49-F238E27FC236}">
                  <a16:creationId xmlns:a16="http://schemas.microsoft.com/office/drawing/2014/main" id="{DA37C4B8-A43F-EA4F-906D-7891882D60B7}"/>
                </a:ext>
              </a:extLst>
            </p:cNvPr>
            <p:cNvSpPr txBox="1"/>
            <p:nvPr/>
          </p:nvSpPr>
          <p:spPr>
            <a:xfrm>
              <a:off x="9478690" y="2325056"/>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ystems, Subscribers, Users</a:t>
              </a:r>
            </a:p>
          </p:txBody>
        </p:sp>
        <p:sp>
          <p:nvSpPr>
            <p:cNvPr id="25" name="TextBox 24">
              <a:extLst>
                <a:ext uri="{FF2B5EF4-FFF2-40B4-BE49-F238E27FC236}">
                  <a16:creationId xmlns:a16="http://schemas.microsoft.com/office/drawing/2014/main" id="{2B79D6C7-67C8-AF48-840F-4E06A78A620E}"/>
                </a:ext>
              </a:extLst>
            </p:cNvPr>
            <p:cNvSpPr txBox="1"/>
            <p:nvPr/>
          </p:nvSpPr>
          <p:spPr>
            <a:xfrm>
              <a:off x="9484042" y="2521925"/>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ystems or reporting/visualization tools can  access data services or storage. </a:t>
              </a:r>
            </a:p>
          </p:txBody>
        </p:sp>
      </p:grpSp>
      <p:sp>
        <p:nvSpPr>
          <p:cNvPr id="40" name="TextBox 39">
            <a:extLst>
              <a:ext uri="{FF2B5EF4-FFF2-40B4-BE49-F238E27FC236}">
                <a16:creationId xmlns:a16="http://schemas.microsoft.com/office/drawing/2014/main" id="{757D1FD2-0BF3-8C49-AE1D-F1DE3D659A25}"/>
              </a:ext>
            </a:extLst>
          </p:cNvPr>
          <p:cNvSpPr txBox="1"/>
          <p:nvPr/>
        </p:nvSpPr>
        <p:spPr>
          <a:xfrm>
            <a:off x="893927" y="5919631"/>
            <a:ext cx="4399192"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a:solidFill>
                  <a:schemeClr val="tx1"/>
                </a:solidFill>
                <a:latin typeface="+mn-lt"/>
              </a:rPr>
              <a:t>Assumption</a:t>
            </a:r>
            <a:r>
              <a:rPr lang="en-US" sz="900" b="0">
                <a:solidFill>
                  <a:schemeClr val="tx1"/>
                </a:solidFill>
                <a:latin typeface="+mn-lt"/>
              </a:rPr>
              <a:t>: Data lifecycle is often non-linear and can occur in different stages</a:t>
            </a:r>
          </a:p>
        </p:txBody>
      </p:sp>
      <p:grpSp>
        <p:nvGrpSpPr>
          <p:cNvPr id="41" name="Group 40">
            <a:extLst>
              <a:ext uri="{FF2B5EF4-FFF2-40B4-BE49-F238E27FC236}">
                <a16:creationId xmlns:a16="http://schemas.microsoft.com/office/drawing/2014/main" id="{270BBF14-35BC-2049-B75E-0D75A0A0AFA2}"/>
              </a:ext>
            </a:extLst>
          </p:cNvPr>
          <p:cNvGrpSpPr/>
          <p:nvPr/>
        </p:nvGrpSpPr>
        <p:grpSpPr>
          <a:xfrm>
            <a:off x="621657" y="1666962"/>
            <a:ext cx="1921323" cy="665787"/>
            <a:chOff x="1030518" y="2007240"/>
            <a:chExt cx="1921323" cy="665787"/>
          </a:xfrm>
        </p:grpSpPr>
        <p:sp>
          <p:nvSpPr>
            <p:cNvPr id="42" name="TextBox 41">
              <a:extLst>
                <a:ext uri="{FF2B5EF4-FFF2-40B4-BE49-F238E27FC236}">
                  <a16:creationId xmlns:a16="http://schemas.microsoft.com/office/drawing/2014/main" id="{B9573751-27E9-3448-9ABB-960C560E168F}"/>
                </a:ext>
              </a:extLst>
            </p:cNvPr>
            <p:cNvSpPr txBox="1"/>
            <p:nvPr/>
          </p:nvSpPr>
          <p:spPr>
            <a:xfrm>
              <a:off x="1310410" y="200724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ources</a:t>
              </a:r>
            </a:p>
          </p:txBody>
        </p:sp>
        <p:sp>
          <p:nvSpPr>
            <p:cNvPr id="43" name="TextBox 42">
              <a:extLst>
                <a:ext uri="{FF2B5EF4-FFF2-40B4-BE49-F238E27FC236}">
                  <a16:creationId xmlns:a16="http://schemas.microsoft.com/office/drawing/2014/main" id="{FF9974CF-1FF9-3A44-B39B-57CC3AA890AD}"/>
                </a:ext>
              </a:extLst>
            </p:cNvPr>
            <p:cNvSpPr txBox="1"/>
            <p:nvPr/>
          </p:nvSpPr>
          <p:spPr>
            <a:xfrm>
              <a:off x="1030518" y="2186177"/>
              <a:ext cx="1921323"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nstructured, Semi-structured, and Structured data ingested from internal/external sources</a:t>
              </a:r>
            </a:p>
          </p:txBody>
        </p:sp>
      </p:grpSp>
      <p:grpSp>
        <p:nvGrpSpPr>
          <p:cNvPr id="44" name="Group 43">
            <a:extLst>
              <a:ext uri="{FF2B5EF4-FFF2-40B4-BE49-F238E27FC236}">
                <a16:creationId xmlns:a16="http://schemas.microsoft.com/office/drawing/2014/main" id="{5A318269-81B8-8941-BCC8-CCE20C68108F}"/>
              </a:ext>
            </a:extLst>
          </p:cNvPr>
          <p:cNvGrpSpPr/>
          <p:nvPr/>
        </p:nvGrpSpPr>
        <p:grpSpPr>
          <a:xfrm>
            <a:off x="9818395" y="2378461"/>
            <a:ext cx="1756474" cy="751513"/>
            <a:chOff x="5302152" y="1990215"/>
            <a:chExt cx="1756474" cy="751513"/>
          </a:xfrm>
        </p:grpSpPr>
        <p:sp>
          <p:nvSpPr>
            <p:cNvPr id="45" name="TextBox 44">
              <a:extLst>
                <a:ext uri="{FF2B5EF4-FFF2-40B4-BE49-F238E27FC236}">
                  <a16:creationId xmlns:a16="http://schemas.microsoft.com/office/drawing/2014/main" id="{708AC13A-3586-4C48-B56E-482811E30E23}"/>
                </a:ext>
              </a:extLst>
            </p:cNvPr>
            <p:cNvSpPr txBox="1"/>
            <p:nvPr/>
          </p:nvSpPr>
          <p:spPr>
            <a:xfrm>
              <a:off x="5396764" y="1990215"/>
              <a:ext cx="1661862" cy="253832"/>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Machine Learning</a:t>
              </a:r>
            </a:p>
          </p:txBody>
        </p:sp>
        <p:sp>
          <p:nvSpPr>
            <p:cNvPr id="46" name="TextBox 45">
              <a:extLst>
                <a:ext uri="{FF2B5EF4-FFF2-40B4-BE49-F238E27FC236}">
                  <a16:creationId xmlns:a16="http://schemas.microsoft.com/office/drawing/2014/main" id="{6892E0EE-290D-D74F-99EA-B33104D8B84C}"/>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se scalable machine learning/deep learning techniques, to derive deeper insights</a:t>
              </a:r>
            </a:p>
          </p:txBody>
        </p:sp>
      </p:grpSp>
      <p:cxnSp>
        <p:nvCxnSpPr>
          <p:cNvPr id="9" name="Straight Connector 8">
            <a:extLst>
              <a:ext uri="{FF2B5EF4-FFF2-40B4-BE49-F238E27FC236}">
                <a16:creationId xmlns:a16="http://schemas.microsoft.com/office/drawing/2014/main" id="{AC8DBCF2-287E-954B-B0D6-91CA4C7DD841}"/>
              </a:ext>
            </a:extLst>
          </p:cNvPr>
          <p:cNvCxnSpPr>
            <a:cxnSpLocks/>
          </p:cNvCxnSpPr>
          <p:nvPr/>
        </p:nvCxnSpPr>
        <p:spPr>
          <a:xfrm flipH="1">
            <a:off x="8333509" y="2991359"/>
            <a:ext cx="1579498" cy="21943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6267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a:t>Technology &amp; Architecture: Future State (</a:t>
            </a:r>
            <a:r>
              <a:rPr lang="en-US">
                <a:solidFill>
                  <a:srgbClr val="FF0000"/>
                </a:solidFill>
              </a:rPr>
              <a:t>WIP</a:t>
            </a:r>
            <a:r>
              <a:rPr lang="en-US"/>
              <a:t>)</a:t>
            </a:r>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a:t>Key goals</a:t>
            </a:r>
          </a:p>
        </p:txBody>
      </p:sp>
      <p:graphicFrame>
        <p:nvGraphicFramePr>
          <p:cNvPr id="80" name="Table 79">
            <a:extLst>
              <a:ext uri="{FF2B5EF4-FFF2-40B4-BE49-F238E27FC236}">
                <a16:creationId xmlns:a16="http://schemas.microsoft.com/office/drawing/2014/main" id="{0DAD8358-9FEF-4C27-A658-8C85C20ED264}"/>
              </a:ext>
            </a:extLst>
          </p:cNvPr>
          <p:cNvGraphicFramePr>
            <a:graphicFrameLocks noGrp="1"/>
          </p:cNvGraphicFramePr>
          <p:nvPr/>
        </p:nvGraphicFramePr>
        <p:xfrm>
          <a:off x="914400" y="1369424"/>
          <a:ext cx="3356419" cy="4881420"/>
        </p:xfrm>
        <a:graphic>
          <a:graphicData uri="http://schemas.openxmlformats.org/drawingml/2006/table">
            <a:tbl>
              <a:tblPr/>
              <a:tblGrid>
                <a:gridCol w="925459">
                  <a:extLst>
                    <a:ext uri="{9D8B030D-6E8A-4147-A177-3AD203B41FA5}">
                      <a16:colId xmlns:a16="http://schemas.microsoft.com/office/drawing/2014/main" val="3669925112"/>
                    </a:ext>
                  </a:extLst>
                </a:gridCol>
                <a:gridCol w="2430960">
                  <a:extLst>
                    <a:ext uri="{9D8B030D-6E8A-4147-A177-3AD203B41FA5}">
                      <a16:colId xmlns:a16="http://schemas.microsoft.com/office/drawing/2014/main" val="2509406619"/>
                    </a:ext>
                  </a:extLst>
                </a:gridCol>
              </a:tblGrid>
              <a:tr h="185091">
                <a:tc>
                  <a:txBody>
                    <a:bodyPr/>
                    <a:lstStyle/>
                    <a:p>
                      <a:pPr algn="ctr" fontAlgn="auto"/>
                      <a:r>
                        <a:rPr lang="en-US" sz="700" b="0" i="0">
                          <a:solidFill>
                            <a:srgbClr val="000000"/>
                          </a:solidFill>
                          <a:effectLst/>
                          <a:latin typeface="Open Sans" panose="020B0606030504020204" pitchFamily="34" charset="0"/>
                        </a:rPr>
                        <a:t>​</a:t>
                      </a: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5A5A5A"/>
                      </a:solidFill>
                      <a:prstDash val="solid"/>
                      <a:round/>
                      <a:headEnd type="none" w="med" len="med"/>
                      <a:tailEnd type="none" w="med" len="med"/>
                    </a:lnB>
                    <a:solidFill>
                      <a:srgbClr val="FED300"/>
                    </a:solidFill>
                  </a:tcPr>
                </a:tc>
                <a:tc>
                  <a:txBody>
                    <a:bodyPr/>
                    <a:lstStyle/>
                    <a:p>
                      <a:pPr algn="ctr" fontAlgn="base"/>
                      <a:r>
                        <a:rPr lang="en-US" sz="700" b="1" i="0" u="none" strike="noStrike">
                          <a:solidFill>
                            <a:srgbClr val="000000"/>
                          </a:solidFill>
                          <a:effectLst/>
                          <a:latin typeface="Open Sans" panose="020B0606030504020204" pitchFamily="34" charset="0"/>
                        </a:rPr>
                        <a:t>Technology Service</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5A5A5A"/>
                      </a:solidFill>
                      <a:prstDash val="solid"/>
                      <a:round/>
                      <a:headEnd type="none" w="med" len="med"/>
                      <a:tailEnd type="none" w="med" len="med"/>
                    </a:lnB>
                    <a:solidFill>
                      <a:srgbClr val="FED300"/>
                    </a:solidFill>
                  </a:tcPr>
                </a:tc>
                <a:extLst>
                  <a:ext uri="{0D108BD9-81ED-4DB2-BD59-A6C34878D82A}">
                    <a16:rowId xmlns:a16="http://schemas.microsoft.com/office/drawing/2014/main" val="3679030806"/>
                  </a:ext>
                </a:extLst>
              </a:tr>
              <a:tr h="287305">
                <a:tc>
                  <a:txBody>
                    <a:bodyPr/>
                    <a:lstStyle/>
                    <a:p>
                      <a:pPr algn="l" fontAlgn="base"/>
                      <a:r>
                        <a:rPr lang="en-US" sz="700" b="0" i="0" u="none" strike="noStrike">
                          <a:solidFill>
                            <a:srgbClr val="000000"/>
                          </a:solidFill>
                          <a:effectLst/>
                          <a:latin typeface="Open Sans" panose="020B0606030504020204" pitchFamily="34" charset="0"/>
                        </a:rPr>
                        <a:t>Infrastructure</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6350" cap="flat" cmpd="sng" algn="ctr">
                      <a:solidFill>
                        <a:srgbClr val="5A5A5A"/>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1" i="0">
                          <a:solidFill>
                            <a:srgbClr val="000000"/>
                          </a:solidFill>
                          <a:effectLst/>
                          <a:latin typeface="Open Sans" panose="020B0606030504020204" pitchFamily="34" charset="0"/>
                        </a:rPr>
                        <a:t>Azure</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6350" cap="flat" cmpd="sng" algn="ctr">
                      <a:solidFill>
                        <a:srgbClr val="5A5A5A"/>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1183645003"/>
                  </a:ext>
                </a:extLst>
              </a:tr>
              <a:tr h="839814">
                <a:tc>
                  <a:txBody>
                    <a:bodyPr/>
                    <a:lstStyle/>
                    <a:p>
                      <a:pPr algn="l" fontAlgn="base"/>
                      <a:r>
                        <a:rPr lang="en-US" sz="700" b="0" i="0" u="none" strike="noStrike">
                          <a:solidFill>
                            <a:srgbClr val="000000"/>
                          </a:solidFill>
                          <a:effectLst/>
                          <a:latin typeface="Open Sans" panose="020B0606030504020204" pitchFamily="34" charset="0"/>
                        </a:rPr>
                        <a:t>Date Pipeline Orchestration</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0" i="0">
                          <a:solidFill>
                            <a:srgbClr val="000000"/>
                          </a:solidFill>
                          <a:effectLst/>
                          <a:latin typeface="Open Sans" panose="020B0606030504020204" pitchFamily="34" charset="0"/>
                        </a:rPr>
                        <a:t>Data Orchestration Services: </a:t>
                      </a:r>
                      <a:r>
                        <a:rPr lang="en-US" sz="700" b="1" i="0">
                          <a:solidFill>
                            <a:srgbClr val="000000"/>
                          </a:solidFill>
                          <a:effectLst/>
                          <a:latin typeface="Open Sans" panose="020B0606030504020204" pitchFamily="34" charset="0"/>
                        </a:rPr>
                        <a:t>Azure Data Factory</a:t>
                      </a:r>
                      <a:endParaRPr lang="en-US" sz="1200" b="0" i="0">
                        <a:solidFill>
                          <a:srgbClr val="000000"/>
                        </a:solidFill>
                        <a:effectLst/>
                      </a:endParaRPr>
                    </a:p>
                    <a:p>
                      <a:pPr algn="l" fontAlgn="base"/>
                      <a:r>
                        <a:rPr lang="en-US" sz="700" b="0" i="0">
                          <a:solidFill>
                            <a:srgbClr val="000000"/>
                          </a:solidFill>
                          <a:effectLst/>
                          <a:latin typeface="Open Sans" panose="020B0606030504020204" pitchFamily="34" charset="0"/>
                        </a:rPr>
                        <a:t>Data Push:</a:t>
                      </a:r>
                    </a:p>
                    <a:p>
                      <a:pPr algn="l" fontAlgn="base"/>
                      <a:r>
                        <a:rPr lang="en-US" sz="700" b="0" i="0">
                          <a:solidFill>
                            <a:srgbClr val="000000"/>
                          </a:solidFill>
                          <a:effectLst/>
                          <a:latin typeface="Open Sans" panose="020B0606030504020204" pitchFamily="34" charset="0"/>
                        </a:rPr>
                        <a:t>SFTP: </a:t>
                      </a:r>
                    </a:p>
                    <a:p>
                      <a:pPr algn="l" fontAlgn="base"/>
                      <a:r>
                        <a:rPr lang="en-US" sz="700" b="0" i="0">
                          <a:solidFill>
                            <a:srgbClr val="000000"/>
                          </a:solidFill>
                          <a:effectLst/>
                          <a:latin typeface="Open Sans" panose="020B0606030504020204" pitchFamily="34" charset="0"/>
                        </a:rPr>
                        <a:t>Direct: </a:t>
                      </a:r>
                    </a:p>
                    <a:p>
                      <a:pPr algn="l" fontAlgn="base"/>
                      <a:r>
                        <a:rPr lang="en-US" sz="700" b="0" i="0">
                          <a:solidFill>
                            <a:srgbClr val="000000"/>
                          </a:solidFill>
                          <a:effectLst/>
                          <a:latin typeface="Open Sans" panose="020B0606030504020204" pitchFamily="34" charset="0"/>
                        </a:rPr>
                        <a:t>Data Stream Capture: </a:t>
                      </a:r>
                      <a:r>
                        <a:rPr lang="en-US" sz="700" b="1" i="0">
                          <a:solidFill>
                            <a:srgbClr val="000000"/>
                          </a:solidFill>
                          <a:effectLst/>
                          <a:latin typeface="Open Sans" panose="020B0606030504020204" pitchFamily="34" charset="0"/>
                        </a:rPr>
                        <a:t>Azure Event Hub</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400478129"/>
                  </a:ext>
                </a:extLst>
              </a:tr>
              <a:tr h="1060817">
                <a:tc>
                  <a:txBody>
                    <a:bodyPr/>
                    <a:lstStyle/>
                    <a:p>
                      <a:pPr algn="l" fontAlgn="base"/>
                      <a:r>
                        <a:rPr lang="en-US" sz="700" b="0" i="0" u="none" strike="noStrike">
                          <a:solidFill>
                            <a:srgbClr val="000000"/>
                          </a:solidFill>
                          <a:effectLst/>
                          <a:latin typeface="Open Sans" panose="020B0606030504020204" pitchFamily="34" charset="0"/>
                        </a:rPr>
                        <a:t>Storage &amp; Processing</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0" i="0">
                          <a:solidFill>
                            <a:srgbClr val="000000"/>
                          </a:solidFill>
                          <a:effectLst/>
                          <a:latin typeface="Open Sans" panose="020B0606030504020204" pitchFamily="34" charset="0"/>
                        </a:rPr>
                        <a:t>Object Store: </a:t>
                      </a:r>
                      <a:r>
                        <a:rPr lang="en-US" sz="700" b="1" i="0">
                          <a:solidFill>
                            <a:srgbClr val="000000"/>
                          </a:solidFill>
                          <a:effectLst/>
                          <a:latin typeface="Open Sans" panose="020B0606030504020204" pitchFamily="34" charset="0"/>
                        </a:rPr>
                        <a:t>Azure Blob Storage</a:t>
                      </a:r>
                      <a:endParaRPr lang="en-US" sz="700" b="0" i="0">
                        <a:solidFill>
                          <a:srgbClr val="000000"/>
                        </a:solidFill>
                        <a:effectLst/>
                        <a:latin typeface="Open Sans" panose="020B0606030504020204" pitchFamily="34" charset="0"/>
                      </a:endParaRPr>
                    </a:p>
                    <a:p>
                      <a:pPr algn="l" fontAlgn="base"/>
                      <a:r>
                        <a:rPr lang="en-US" sz="700" b="0" i="0">
                          <a:solidFill>
                            <a:srgbClr val="000000"/>
                          </a:solidFill>
                          <a:effectLst/>
                          <a:latin typeface="Open Sans" panose="020B0606030504020204" pitchFamily="34" charset="0"/>
                        </a:rPr>
                        <a:t>Relational Data Warehouse: </a:t>
                      </a:r>
                      <a:r>
                        <a:rPr lang="en-US" sz="700" b="1" i="0">
                          <a:solidFill>
                            <a:srgbClr val="000000"/>
                          </a:solidFill>
                          <a:effectLst/>
                          <a:latin typeface="Open Sans" panose="020B0606030504020204" pitchFamily="34" charset="0"/>
                        </a:rPr>
                        <a:t>Azure SQL Pools</a:t>
                      </a:r>
                      <a:endParaRPr lang="en-US" sz="700" b="0" i="0">
                        <a:solidFill>
                          <a:srgbClr val="000000"/>
                        </a:solidFill>
                        <a:effectLst/>
                        <a:latin typeface="Open Sans" panose="020B0606030504020204" pitchFamily="34" charset="0"/>
                      </a:endParaRPr>
                    </a:p>
                    <a:p>
                      <a:pPr algn="l" fontAlgn="base"/>
                      <a:r>
                        <a:rPr lang="en-US" sz="700" b="0" i="0">
                          <a:solidFill>
                            <a:srgbClr val="000000"/>
                          </a:solidFill>
                          <a:effectLst/>
                          <a:latin typeface="Open Sans" panose="020B0606030504020204" pitchFamily="34" charset="0"/>
                        </a:rPr>
                        <a:t>NoSQL/Document DB: ​</a:t>
                      </a:r>
                      <a:r>
                        <a:rPr lang="en-US" sz="700" b="1" i="0">
                          <a:solidFill>
                            <a:srgbClr val="000000"/>
                          </a:solidFill>
                          <a:effectLst/>
                          <a:latin typeface="Open Sans" panose="020B0606030504020204" pitchFamily="34" charset="0"/>
                        </a:rPr>
                        <a:t>Azure Cosmos DB</a:t>
                      </a:r>
                      <a:endParaRPr lang="en-US" sz="1200" b="0" i="0">
                        <a:solidFill>
                          <a:srgbClr val="000000"/>
                        </a:solidFill>
                        <a:effectLst/>
                      </a:endParaRPr>
                    </a:p>
                    <a:p>
                      <a:pPr algn="l" fontAlgn="base"/>
                      <a:r>
                        <a:rPr lang="en-US" sz="700" b="0" i="0">
                          <a:solidFill>
                            <a:srgbClr val="000000"/>
                          </a:solidFill>
                          <a:effectLst/>
                          <a:latin typeface="Open Sans" panose="020B0606030504020204" pitchFamily="34" charset="0"/>
                        </a:rPr>
                        <a:t>Analytic Data Lakehouse: </a:t>
                      </a:r>
                      <a:r>
                        <a:rPr lang="en-US" sz="700" b="1" i="0">
                          <a:solidFill>
                            <a:srgbClr val="000000"/>
                          </a:solidFill>
                          <a:effectLst/>
                          <a:latin typeface="Open Sans" panose="020B0606030504020204" pitchFamily="34" charset="0"/>
                        </a:rPr>
                        <a:t>Azure Synapse Analytics</a:t>
                      </a:r>
                      <a:endParaRPr lang="en-US" sz="700" b="0" i="0">
                        <a:solidFill>
                          <a:srgbClr val="000000"/>
                        </a:solidFill>
                        <a:effectLst/>
                        <a:latin typeface="Open Sans" panose="020B0606030504020204" pitchFamily="34" charset="0"/>
                      </a:endParaRPr>
                    </a:p>
                    <a:p>
                      <a:pPr algn="l" fontAlgn="base"/>
                      <a:r>
                        <a:rPr lang="en-US" sz="700" b="0" i="0">
                          <a:solidFill>
                            <a:srgbClr val="000000"/>
                          </a:solidFill>
                          <a:effectLst/>
                          <a:latin typeface="Open Sans" panose="020B0606030504020204" pitchFamily="34" charset="0"/>
                        </a:rPr>
                        <a:t>Serverless Data Processing: </a:t>
                      </a:r>
                      <a:r>
                        <a:rPr lang="en-US" sz="700" b="1" i="0">
                          <a:solidFill>
                            <a:srgbClr val="000000"/>
                          </a:solidFill>
                          <a:effectLst/>
                          <a:latin typeface="Open Sans" panose="020B0606030504020204" pitchFamily="34" charset="0"/>
                        </a:rPr>
                        <a:t>Azure Functions</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3012475027"/>
                  </a:ext>
                </a:extLst>
              </a:tr>
              <a:tr h="618810">
                <a:tc>
                  <a:txBody>
                    <a:bodyPr/>
                    <a:lstStyle/>
                    <a:p>
                      <a:pPr algn="l" fontAlgn="base"/>
                      <a:r>
                        <a:rPr lang="en-US" sz="700" b="0" i="0" u="none" strike="noStrike">
                          <a:solidFill>
                            <a:srgbClr val="000000"/>
                          </a:solidFill>
                          <a:effectLst/>
                          <a:latin typeface="Open Sans" panose="020B0606030504020204" pitchFamily="34" charset="0"/>
                        </a:rPr>
                        <a:t>Data Analytics</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0" i="0">
                          <a:solidFill>
                            <a:srgbClr val="000000"/>
                          </a:solidFill>
                          <a:effectLst/>
                          <a:latin typeface="Open Sans" panose="020B0606030504020204" pitchFamily="34" charset="0"/>
                        </a:rPr>
                        <a:t>Platform: </a:t>
                      </a:r>
                      <a:r>
                        <a:rPr lang="en-US" sz="700" b="1" i="0">
                          <a:solidFill>
                            <a:srgbClr val="000000"/>
                          </a:solidFill>
                          <a:effectLst/>
                          <a:latin typeface="Open Sans" panose="020B0606030504020204" pitchFamily="34" charset="0"/>
                        </a:rPr>
                        <a:t>Azure Synapse </a:t>
                      </a:r>
                      <a:endParaRPr lang="en-US" sz="1200" b="0" i="0">
                        <a:solidFill>
                          <a:srgbClr val="000000"/>
                        </a:solidFill>
                        <a:effectLst/>
                      </a:endParaRPr>
                    </a:p>
                    <a:p>
                      <a:pPr algn="l" fontAlgn="base"/>
                      <a:r>
                        <a:rPr lang="en-US" sz="700" b="0" i="0">
                          <a:solidFill>
                            <a:srgbClr val="000000"/>
                          </a:solidFill>
                          <a:effectLst/>
                          <a:latin typeface="Open Sans" panose="020B0606030504020204" pitchFamily="34" charset="0"/>
                        </a:rPr>
                        <a:t>ML Frameworks: </a:t>
                      </a:r>
                      <a:endParaRPr lang="en-US" sz="1200" b="0" i="0">
                        <a:solidFill>
                          <a:srgbClr val="000000"/>
                        </a:solidFill>
                        <a:effectLst/>
                      </a:endParaRPr>
                    </a:p>
                    <a:p>
                      <a:pPr algn="l" fontAlgn="base"/>
                      <a:r>
                        <a:rPr lang="en-US" sz="700" b="0" i="0" err="1">
                          <a:solidFill>
                            <a:srgbClr val="000000"/>
                          </a:solidFill>
                          <a:effectLst/>
                          <a:latin typeface="Open Sans" panose="020B0606030504020204" pitchFamily="34" charset="0"/>
                        </a:rPr>
                        <a:t>Jupyter</a:t>
                      </a:r>
                      <a:r>
                        <a:rPr lang="en-US" sz="700" b="0" i="0">
                          <a:solidFill>
                            <a:srgbClr val="000000"/>
                          </a:solidFill>
                          <a:effectLst/>
                          <a:latin typeface="Open Sans" panose="020B0606030504020204" pitchFamily="34" charset="0"/>
                        </a:rPr>
                        <a:t> Support: </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1831769315"/>
                  </a:ext>
                </a:extLst>
              </a:tr>
              <a:tr h="397807">
                <a:tc>
                  <a:txBody>
                    <a:bodyPr/>
                    <a:lstStyle/>
                    <a:p>
                      <a:pPr algn="l" fontAlgn="base"/>
                      <a:r>
                        <a:rPr lang="en-US" sz="700" b="0" i="0" u="none" strike="noStrike">
                          <a:solidFill>
                            <a:srgbClr val="000000"/>
                          </a:solidFill>
                          <a:effectLst/>
                          <a:latin typeface="Open Sans" panose="020B0606030504020204" pitchFamily="34" charset="0"/>
                        </a:rPr>
                        <a:t>Reporting / Visualization</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1" i="0">
                          <a:solidFill>
                            <a:srgbClr val="000000"/>
                          </a:solidFill>
                          <a:effectLst/>
                          <a:latin typeface="+mn-lt"/>
                        </a:rPr>
                        <a:t>Power BI</a:t>
                      </a: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3725330022"/>
                  </a:ext>
                </a:extLst>
              </a:tr>
              <a:tr h="950316">
                <a:tc>
                  <a:txBody>
                    <a:bodyPr/>
                    <a:lstStyle/>
                    <a:p>
                      <a:pPr algn="l" fontAlgn="base"/>
                      <a:r>
                        <a:rPr lang="en-US" sz="700" b="0" i="0" u="none" strike="noStrike">
                          <a:solidFill>
                            <a:srgbClr val="000000"/>
                          </a:solidFill>
                          <a:effectLst/>
                          <a:latin typeface="Open Sans" panose="020B0606030504020204" pitchFamily="34" charset="0"/>
                        </a:rPr>
                        <a:t>Security &amp; Governance</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0" i="0">
                          <a:solidFill>
                            <a:srgbClr val="000000"/>
                          </a:solidFill>
                          <a:effectLst/>
                          <a:latin typeface="Open Sans" panose="020B0606030504020204" pitchFamily="34" charset="0"/>
                        </a:rPr>
                        <a:t>IAM: </a:t>
                      </a:r>
                      <a:r>
                        <a:rPr lang="en-US" sz="700" b="1" i="0">
                          <a:solidFill>
                            <a:srgbClr val="000000"/>
                          </a:solidFill>
                          <a:effectLst/>
                          <a:latin typeface="Open Sans" panose="020B0606030504020204" pitchFamily="34" charset="0"/>
                        </a:rPr>
                        <a:t>Azure Active Directory</a:t>
                      </a:r>
                      <a:endParaRPr lang="en-US" sz="700" b="0" i="0">
                        <a:solidFill>
                          <a:srgbClr val="000000"/>
                        </a:solidFill>
                        <a:effectLst/>
                        <a:latin typeface="Open Sans" panose="020B0606030504020204" pitchFamily="34" charset="0"/>
                      </a:endParaRPr>
                    </a:p>
                    <a:p>
                      <a:pPr algn="l" fontAlgn="base"/>
                      <a:r>
                        <a:rPr lang="en-US" sz="700" b="0" i="0">
                          <a:solidFill>
                            <a:srgbClr val="000000"/>
                          </a:solidFill>
                          <a:effectLst/>
                          <a:latin typeface="Open Sans" panose="020B0606030504020204" pitchFamily="34" charset="0"/>
                        </a:rPr>
                        <a:t>Security Tools:</a:t>
                      </a:r>
                      <a:r>
                        <a:rPr lang="en-US" sz="700" b="1" i="0">
                          <a:solidFill>
                            <a:srgbClr val="000000"/>
                          </a:solidFill>
                          <a:effectLst/>
                          <a:latin typeface="Open Sans" panose="020B0606030504020204" pitchFamily="34" charset="0"/>
                        </a:rPr>
                        <a:t> Azure Key Vault</a:t>
                      </a:r>
                    </a:p>
                    <a:p>
                      <a:pPr algn="l" fontAlgn="base"/>
                      <a:r>
                        <a:rPr lang="en-US" sz="700" b="0" i="0">
                          <a:solidFill>
                            <a:srgbClr val="000000"/>
                          </a:solidFill>
                          <a:effectLst/>
                          <a:latin typeface="Open Sans" panose="020B0606030504020204" pitchFamily="34" charset="0"/>
                        </a:rPr>
                        <a:t>Governance: </a:t>
                      </a:r>
                    </a:p>
                    <a:p>
                      <a:pPr algn="l" fontAlgn="base"/>
                      <a:r>
                        <a:rPr lang="en-US" sz="700" b="0" i="0">
                          <a:solidFill>
                            <a:srgbClr val="000000"/>
                          </a:solidFill>
                          <a:effectLst/>
                          <a:latin typeface="Open Sans" panose="020B0606030504020204" pitchFamily="34" charset="0"/>
                        </a:rPr>
                        <a:t>Network: </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2269919583"/>
                  </a:ext>
                </a:extLst>
              </a:tr>
              <a:tr h="541460">
                <a:tc>
                  <a:txBody>
                    <a:bodyPr/>
                    <a:lstStyle/>
                    <a:p>
                      <a:pPr algn="l" fontAlgn="base"/>
                      <a:r>
                        <a:rPr lang="en-US" sz="700" b="0" i="0" u="none" strike="noStrike">
                          <a:solidFill>
                            <a:srgbClr val="000000"/>
                          </a:solidFill>
                          <a:effectLst/>
                          <a:latin typeface="Open Sans" panose="020B0606030504020204" pitchFamily="34" charset="0"/>
                        </a:rPr>
                        <a:t>Integration</a:t>
                      </a:r>
                      <a:r>
                        <a:rPr lang="en-US" sz="700" b="0" i="0">
                          <a:solidFill>
                            <a:srgbClr val="000000"/>
                          </a:solidFill>
                          <a:effectLst/>
                          <a:latin typeface="Open Sans" panose="020B0606030504020204" pitchFamily="34" charset="0"/>
                        </a:rPr>
                        <a:t>​</a:t>
                      </a:r>
                      <a:endParaRPr lang="en-US" sz="1200" b="0" i="0">
                        <a:solidFill>
                          <a:srgbClr val="000000"/>
                        </a:solidFill>
                        <a:effectLst/>
                      </a:endParaRPr>
                    </a:p>
                  </a:txBody>
                  <a:tcPr marL="59542" marR="59542" marT="29771" marB="29771" anchor="ctr">
                    <a:lnL w="12700" cap="flat" cmpd="sng" algn="ctr">
                      <a:solidFill>
                        <a:srgbClr val="FFFFFF"/>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2F2F2"/>
                    </a:solidFill>
                  </a:tcPr>
                </a:tc>
                <a:tc>
                  <a:txBody>
                    <a:bodyPr/>
                    <a:lstStyle/>
                    <a:p>
                      <a:pPr algn="l" fontAlgn="base"/>
                      <a:r>
                        <a:rPr lang="en-US" sz="700" b="0" i="0">
                          <a:solidFill>
                            <a:srgbClr val="000000"/>
                          </a:solidFill>
                          <a:effectLst/>
                          <a:latin typeface="Open Sans" panose="020B0606030504020204" pitchFamily="34" charset="0"/>
                        </a:rPr>
                        <a:t>Data Catalog: </a:t>
                      </a:r>
                      <a:endParaRPr lang="en-US" sz="1200" b="0" i="0">
                        <a:solidFill>
                          <a:srgbClr val="000000"/>
                        </a:solidFill>
                        <a:effectLst/>
                      </a:endParaRPr>
                    </a:p>
                    <a:p>
                      <a:pPr algn="l" fontAlgn="base"/>
                      <a:r>
                        <a:rPr lang="en-US" sz="700" b="0" i="0">
                          <a:solidFill>
                            <a:srgbClr val="000000"/>
                          </a:solidFill>
                          <a:effectLst/>
                          <a:latin typeface="Open Sans" panose="020B0606030504020204" pitchFamily="34" charset="0"/>
                        </a:rPr>
                        <a:t>Search: </a:t>
                      </a:r>
                    </a:p>
                    <a:p>
                      <a:pPr algn="l" fontAlgn="base"/>
                      <a:r>
                        <a:rPr lang="en-US" sz="700" b="0" i="0">
                          <a:solidFill>
                            <a:srgbClr val="000000"/>
                          </a:solidFill>
                          <a:effectLst/>
                          <a:latin typeface="Open Sans" panose="020B0606030504020204" pitchFamily="34" charset="0"/>
                        </a:rPr>
                        <a:t>Messaging: </a:t>
                      </a:r>
                      <a:endParaRPr lang="en-US" sz="1200" b="0" i="0">
                        <a:solidFill>
                          <a:srgbClr val="000000"/>
                        </a:solidFill>
                        <a:effectLst/>
                      </a:endParaRPr>
                    </a:p>
                  </a:txBody>
                  <a:tcPr marL="59542" marR="59542" marT="29771" marB="29771" anchor="ctr">
                    <a:lnL w="8674" cap="flat" cmpd="sng" algn="ctr">
                      <a:solidFill>
                        <a:srgbClr val="D9D9D9"/>
                      </a:solidFill>
                      <a:prstDash val="solid"/>
                      <a:round/>
                      <a:headEnd type="none" w="med" len="med"/>
                      <a:tailEnd type="none" w="med" len="med"/>
                    </a:lnL>
                    <a:lnR w="8674" cap="flat" cmpd="sng" algn="ctr">
                      <a:solidFill>
                        <a:srgbClr val="D9D9D9"/>
                      </a:solidFill>
                      <a:prstDash val="solid"/>
                      <a:round/>
                      <a:headEnd type="none" w="med" len="med"/>
                      <a:tailEnd type="none" w="med" len="med"/>
                    </a:lnR>
                    <a:lnT w="8674" cap="flat" cmpd="sng" algn="ctr">
                      <a:solidFill>
                        <a:srgbClr val="D9D9D9"/>
                      </a:solidFill>
                      <a:prstDash val="solid"/>
                      <a:round/>
                      <a:headEnd type="none" w="med" len="med"/>
                      <a:tailEnd type="none" w="med" len="med"/>
                    </a:lnT>
                    <a:lnB w="8674"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3523973094"/>
                  </a:ext>
                </a:extLst>
              </a:tr>
            </a:tbl>
          </a:graphicData>
        </a:graphic>
      </p:graphicFrame>
      <p:pic>
        <p:nvPicPr>
          <p:cNvPr id="10" name="Picture 9" descr="Graphical user interface, diagram, application&#10;&#10;Description automatically generated">
            <a:extLst>
              <a:ext uri="{FF2B5EF4-FFF2-40B4-BE49-F238E27FC236}">
                <a16:creationId xmlns:a16="http://schemas.microsoft.com/office/drawing/2014/main" id="{F41CEA09-30ED-431E-BCD5-BB1767734D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70819" y="1531104"/>
            <a:ext cx="7354334" cy="4558061"/>
          </a:xfrm>
          <a:prstGeom prst="rect">
            <a:avLst/>
          </a:prstGeom>
        </p:spPr>
      </p:pic>
    </p:spTree>
    <p:extLst>
      <p:ext uri="{BB962C8B-B14F-4D97-AF65-F5344CB8AC3E}">
        <p14:creationId xmlns:p14="http://schemas.microsoft.com/office/powerpoint/2010/main" val="25669788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60897-CEF9-224B-A21E-B924D239D1DE}"/>
              </a:ext>
            </a:extLst>
          </p:cNvPr>
          <p:cNvSpPr>
            <a:spLocks noGrp="1"/>
          </p:cNvSpPr>
          <p:nvPr>
            <p:ph type="title"/>
          </p:nvPr>
        </p:nvSpPr>
        <p:spPr/>
        <p:txBody>
          <a:bodyPr/>
          <a:lstStyle/>
          <a:p>
            <a:r>
              <a:rPr lang="en-US"/>
              <a:t>Collaboration</a:t>
            </a:r>
          </a:p>
        </p:txBody>
      </p:sp>
      <p:sp>
        <p:nvSpPr>
          <p:cNvPr id="3" name="Content Placeholder 2">
            <a:extLst>
              <a:ext uri="{FF2B5EF4-FFF2-40B4-BE49-F238E27FC236}">
                <a16:creationId xmlns:a16="http://schemas.microsoft.com/office/drawing/2014/main" id="{C9B6EAC8-8DD8-364E-8E21-045D5775C13F}"/>
              </a:ext>
            </a:extLst>
          </p:cNvPr>
          <p:cNvSpPr>
            <a:spLocks noGrp="1"/>
          </p:cNvSpPr>
          <p:nvPr>
            <p:ph sz="half" idx="1"/>
          </p:nvPr>
        </p:nvSpPr>
        <p:spPr/>
        <p:txBody>
          <a:bodyPr/>
          <a:lstStyle/>
          <a:p>
            <a:r>
              <a:rPr lang="en-US" b="1"/>
              <a:t>Key Questions</a:t>
            </a:r>
          </a:p>
          <a:p>
            <a:r>
              <a:rPr lang="en-US"/>
              <a:t>How can we consolidate our communication and collaboration methods?</a:t>
            </a:r>
          </a:p>
          <a:p>
            <a:pPr lvl="1"/>
            <a:r>
              <a:rPr lang="en-US"/>
              <a:t>Potentially move current SharePoint items to Teams channels? </a:t>
            </a:r>
          </a:p>
          <a:p>
            <a:endParaRPr lang="en-US"/>
          </a:p>
          <a:p>
            <a:endParaRPr lang="en-US"/>
          </a:p>
        </p:txBody>
      </p:sp>
      <p:sp>
        <p:nvSpPr>
          <p:cNvPr id="4" name="Content Placeholder 3">
            <a:extLst>
              <a:ext uri="{FF2B5EF4-FFF2-40B4-BE49-F238E27FC236}">
                <a16:creationId xmlns:a16="http://schemas.microsoft.com/office/drawing/2014/main" id="{A470B130-DEEF-5444-9D25-02D130FD4728}"/>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31976464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0DC6721C-3B7E-4A49-B884-706E695E23B5}"/>
              </a:ext>
            </a:extLst>
          </p:cNvPr>
          <p:cNvSpPr txBox="1">
            <a:spLocks/>
          </p:cNvSpPr>
          <p:nvPr/>
        </p:nvSpPr>
        <p:spPr>
          <a:xfrm>
            <a:off x="3015904" y="2306175"/>
            <a:ext cx="5747657" cy="151622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a:t>“We define, develop, and deliver advanced analytics via web applications to enhance our client’s </a:t>
            </a:r>
          </a:p>
          <a:p>
            <a:pPr marL="0" indent="0" algn="ctr">
              <a:spcBef>
                <a:spcPts val="0"/>
              </a:spcBef>
              <a:buNone/>
            </a:pPr>
            <a:r>
              <a:rPr lang="en-US" sz="2400"/>
              <a:t>decision making capabilities.”  </a:t>
            </a:r>
            <a:endParaRPr lang="en-US"/>
          </a:p>
        </p:txBody>
      </p:sp>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think-cell Slide" r:id="rId6" imgW="395" imgH="396" progId="TCLayout.ActiveDocument.1">
                  <p:embed/>
                </p:oleObj>
              </mc:Choice>
              <mc:Fallback>
                <p:oleObj name="think-cell Slide" r:id="rId6"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cxnSp>
        <p:nvCxnSpPr>
          <p:cNvPr id="2" name="Straight Connector 1">
            <a:extLst>
              <a:ext uri="{FF2B5EF4-FFF2-40B4-BE49-F238E27FC236}">
                <a16:creationId xmlns:a16="http://schemas.microsoft.com/office/drawing/2014/main" id="{D7E54ECD-B1A4-4DA7-899B-24ABADCF765E}"/>
              </a:ext>
            </a:extLst>
          </p:cNvPr>
          <p:cNvCxnSpPr>
            <a:cxnSpLocks/>
          </p:cNvCxnSpPr>
          <p:nvPr/>
        </p:nvCxnSpPr>
        <p:spPr>
          <a:xfrm flipH="1">
            <a:off x="6281117" y="3070787"/>
            <a:ext cx="234218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FC6EBB2-2F0D-4E1F-8FFF-E3A26611CF9E}"/>
              </a:ext>
            </a:extLst>
          </p:cNvPr>
          <p:cNvCxnSpPr>
            <a:cxnSpLocks/>
          </p:cNvCxnSpPr>
          <p:nvPr/>
        </p:nvCxnSpPr>
        <p:spPr>
          <a:xfrm flipH="1">
            <a:off x="4270820" y="2707662"/>
            <a:ext cx="38521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FFA6006-528A-4907-9B6E-0E26BD91B195}"/>
              </a:ext>
            </a:extLst>
          </p:cNvPr>
          <p:cNvCxnSpPr>
            <a:cxnSpLocks/>
          </p:cNvCxnSpPr>
          <p:nvPr/>
        </p:nvCxnSpPr>
        <p:spPr>
          <a:xfrm flipH="1">
            <a:off x="3158507" y="3081927"/>
            <a:ext cx="261665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2F38552-4CA0-45C9-887D-F3ABFA5913C9}"/>
              </a:ext>
            </a:extLst>
          </p:cNvPr>
          <p:cNvCxnSpPr>
            <a:cxnSpLocks/>
          </p:cNvCxnSpPr>
          <p:nvPr/>
        </p:nvCxnSpPr>
        <p:spPr>
          <a:xfrm flipH="1">
            <a:off x="3932069" y="3821230"/>
            <a:ext cx="383286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6F5FBB8-6335-43BF-B698-28C9AE339D91}"/>
              </a:ext>
            </a:extLst>
          </p:cNvPr>
          <p:cNvCxnSpPr>
            <a:cxnSpLocks/>
          </p:cNvCxnSpPr>
          <p:nvPr/>
        </p:nvCxnSpPr>
        <p:spPr>
          <a:xfrm flipH="1">
            <a:off x="2555875" y="3070787"/>
            <a:ext cx="460029" cy="0"/>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AE3899-8250-4424-B739-4974302C6104}"/>
              </a:ext>
            </a:extLst>
          </p:cNvPr>
          <p:cNvCxnSpPr>
            <a:cxnSpLocks/>
          </p:cNvCxnSpPr>
          <p:nvPr/>
        </p:nvCxnSpPr>
        <p:spPr>
          <a:xfrm flipV="1">
            <a:off x="6508683" y="1047085"/>
            <a:ext cx="0" cy="1593187"/>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268CE6-8852-400D-80CC-B43CE49EBF13}"/>
              </a:ext>
            </a:extLst>
          </p:cNvPr>
          <p:cNvCxnSpPr>
            <a:cxnSpLocks/>
          </p:cNvCxnSpPr>
          <p:nvPr/>
        </p:nvCxnSpPr>
        <p:spPr>
          <a:xfrm>
            <a:off x="8763561" y="3070787"/>
            <a:ext cx="370914" cy="0"/>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E0707BA-B885-45C3-8B57-71C316936773}"/>
              </a:ext>
            </a:extLst>
          </p:cNvPr>
          <p:cNvCxnSpPr>
            <a:cxnSpLocks/>
          </p:cNvCxnSpPr>
          <p:nvPr/>
        </p:nvCxnSpPr>
        <p:spPr>
          <a:xfrm>
            <a:off x="5705475" y="3900488"/>
            <a:ext cx="0" cy="1957387"/>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E6B7BA1-4A10-4A95-928B-2C832527DDBF}"/>
              </a:ext>
            </a:extLst>
          </p:cNvPr>
          <p:cNvSpPr txBox="1"/>
          <p:nvPr/>
        </p:nvSpPr>
        <p:spPr>
          <a:xfrm>
            <a:off x="6721642" y="1034733"/>
            <a:ext cx="3529263"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Use Case Identification &amp; Developmen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lang="en-US" sz="1100">
                <a:solidFill>
                  <a:srgbClr val="000000"/>
                </a:solidFill>
              </a:rPr>
              <a:t>Detailed Agile Requirements Analysis</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lang="en-US" sz="1100">
                <a:solidFill>
                  <a:srgbClr val="000000"/>
                </a:solidFill>
              </a:rPr>
              <a:t>Leading Edge Software Developmen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Optimized Continuous Integration/Delivery</a:t>
            </a:r>
          </a:p>
        </p:txBody>
      </p:sp>
      <p:sp>
        <p:nvSpPr>
          <p:cNvPr id="13" name="TextBox 12">
            <a:extLst>
              <a:ext uri="{FF2B5EF4-FFF2-40B4-BE49-F238E27FC236}">
                <a16:creationId xmlns:a16="http://schemas.microsoft.com/office/drawing/2014/main" id="{C5AB0F84-EC86-4C31-9C5B-5ED4E653EDD8}"/>
              </a:ext>
            </a:extLst>
          </p:cNvPr>
          <p:cNvSpPr txBox="1"/>
          <p:nvPr/>
        </p:nvSpPr>
        <p:spPr>
          <a:xfrm>
            <a:off x="5775157" y="5174258"/>
            <a:ext cx="3529263"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Technical Assista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lang="en-US" sz="1100">
                <a:solidFill>
                  <a:srgbClr val="000000"/>
                </a:solidFill>
              </a:rPr>
              <a:t>Grant Investments and Program Evaluation</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External Communications</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lang="en-US" sz="1100">
                <a:solidFill>
                  <a:srgbClr val="000000"/>
                </a:solidFill>
              </a:rPr>
              <a:t>Policy Evaluation and Implementation</a:t>
            </a:r>
            <a:endParaRPr kumimoji="0" lang="en-US" sz="1100" b="0" i="0" u="none" strike="noStrike" kern="1200" cap="none" spc="0" normalizeH="0" baseline="0" noProof="0">
              <a:ln>
                <a:noFill/>
              </a:ln>
              <a:solidFill>
                <a:srgbClr val="000000"/>
              </a:solidFill>
              <a:effectLst/>
              <a:uLnTx/>
              <a:uFillTx/>
              <a:ea typeface="+mn-ea"/>
              <a:cs typeface="+mn-cs"/>
            </a:endParaRPr>
          </a:p>
        </p:txBody>
      </p:sp>
      <p:sp>
        <p:nvSpPr>
          <p:cNvPr id="14" name="TextBox 13">
            <a:extLst>
              <a:ext uri="{FF2B5EF4-FFF2-40B4-BE49-F238E27FC236}">
                <a16:creationId xmlns:a16="http://schemas.microsoft.com/office/drawing/2014/main" id="{F709AAEC-F540-4C21-A1BF-3E0B48EABABE}"/>
              </a:ext>
            </a:extLst>
          </p:cNvPr>
          <p:cNvSpPr txBox="1"/>
          <p:nvPr/>
        </p:nvSpPr>
        <p:spPr>
          <a:xfrm>
            <a:off x="9214208" y="2678372"/>
            <a:ext cx="2961371" cy="61555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Superior User Experie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Accessible to All Peopl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lang="en-US" sz="1100">
                <a:solidFill>
                  <a:srgbClr val="000000"/>
                </a:solidFill>
              </a:rPr>
              <a:t>Easy to maintain/update</a:t>
            </a:r>
            <a:endParaRPr kumimoji="0" lang="en-US" sz="1100" b="0" i="0" u="none" strike="noStrike" kern="1200" cap="none" spc="0" normalizeH="0" baseline="0" noProof="0">
              <a:ln>
                <a:noFill/>
              </a:ln>
              <a:solidFill>
                <a:srgbClr val="000000"/>
              </a:solidFill>
              <a:effectLst/>
              <a:uLnTx/>
              <a:uFillTx/>
              <a:ea typeface="+mn-ea"/>
              <a:cs typeface="+mn-cs"/>
            </a:endParaRPr>
          </a:p>
        </p:txBody>
      </p:sp>
      <p:sp>
        <p:nvSpPr>
          <p:cNvPr id="15" name="TextBox 14">
            <a:extLst>
              <a:ext uri="{FF2B5EF4-FFF2-40B4-BE49-F238E27FC236}">
                <a16:creationId xmlns:a16="http://schemas.microsoft.com/office/drawing/2014/main" id="{295C2152-7316-4669-BD1C-933312F5E804}"/>
              </a:ext>
            </a:extLst>
          </p:cNvPr>
          <p:cNvSpPr txBox="1"/>
          <p:nvPr/>
        </p:nvSpPr>
        <p:spPr>
          <a:xfrm>
            <a:off x="27500" y="2781845"/>
            <a:ext cx="2722814" cy="6001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On-Demand Analytics</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lang="en-US" sz="1100">
                <a:solidFill>
                  <a:srgbClr val="000000"/>
                </a:solidFill>
              </a:rPr>
              <a:t>One-Stop Data Shop</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mn-cs"/>
              </a:rPr>
              <a:t>Client Analytics Enablement</a:t>
            </a:r>
          </a:p>
        </p:txBody>
      </p:sp>
      <p:sp>
        <p:nvSpPr>
          <p:cNvPr id="20" name="Title 19">
            <a:extLst>
              <a:ext uri="{FF2B5EF4-FFF2-40B4-BE49-F238E27FC236}">
                <a16:creationId xmlns:a16="http://schemas.microsoft.com/office/drawing/2014/main" id="{FD5F8340-FE75-4B84-9CBD-A9A4B266CA4F}"/>
              </a:ext>
            </a:extLst>
          </p:cNvPr>
          <p:cNvSpPr>
            <a:spLocks noGrp="1"/>
          </p:cNvSpPr>
          <p:nvPr>
            <p:ph type="title"/>
          </p:nvPr>
        </p:nvSpPr>
        <p:spPr/>
        <p:txBody>
          <a:bodyPr/>
          <a:lstStyle/>
          <a:p>
            <a:r>
              <a:rPr lang="en-US"/>
              <a:t>Our Mandate</a:t>
            </a:r>
          </a:p>
        </p:txBody>
      </p:sp>
      <p:sp>
        <p:nvSpPr>
          <p:cNvPr id="34" name="Text Placeholder 5">
            <a:extLst>
              <a:ext uri="{FF2B5EF4-FFF2-40B4-BE49-F238E27FC236}">
                <a16:creationId xmlns:a16="http://schemas.microsoft.com/office/drawing/2014/main" id="{DCC6EEA9-C5C9-4AB8-B395-7179619A90EF}"/>
              </a:ext>
            </a:extLst>
          </p:cNvPr>
          <p:cNvSpPr>
            <a:spLocks noGrp="1"/>
          </p:cNvSpPr>
          <p:nvPr>
            <p:ph type="body" sz="quarter" idx="15"/>
          </p:nvPr>
        </p:nvSpPr>
        <p:spPr>
          <a:xfrm>
            <a:off x="914971" y="466344"/>
            <a:ext cx="3355848" cy="203200"/>
          </a:xfrm>
        </p:spPr>
        <p:txBody>
          <a:bodyPr/>
          <a:lstStyle/>
          <a:p>
            <a:r>
              <a:rPr lang="en-US"/>
              <a:t>Key Goals</a:t>
            </a:r>
          </a:p>
        </p:txBody>
      </p:sp>
    </p:spTree>
    <p:extLst>
      <p:ext uri="{BB962C8B-B14F-4D97-AF65-F5344CB8AC3E}">
        <p14:creationId xmlns:p14="http://schemas.microsoft.com/office/powerpoint/2010/main" val="12298795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5E65C-F4EF-44EB-82D7-0352E8A99F82}"/>
              </a:ext>
            </a:extLst>
          </p:cNvPr>
          <p:cNvSpPr>
            <a:spLocks noGrp="1"/>
          </p:cNvSpPr>
          <p:nvPr>
            <p:ph type="title"/>
          </p:nvPr>
        </p:nvSpPr>
        <p:spPr/>
        <p:txBody>
          <a:bodyPr>
            <a:normAutofit/>
          </a:bodyPr>
          <a:lstStyle/>
          <a:p>
            <a:r>
              <a:rPr lang="en-US" sz="3600">
                <a:ea typeface="+mj-lt"/>
                <a:cs typeface="+mj-lt"/>
              </a:rPr>
              <a:t>Conceptual Application Architecture</a:t>
            </a:r>
          </a:p>
        </p:txBody>
      </p:sp>
      <p:sp>
        <p:nvSpPr>
          <p:cNvPr id="3" name="Content Placeholder 2">
            <a:extLst>
              <a:ext uri="{FF2B5EF4-FFF2-40B4-BE49-F238E27FC236}">
                <a16:creationId xmlns:a16="http://schemas.microsoft.com/office/drawing/2014/main" id="{56305F7F-B15F-4260-A5C2-A47F64F85F05}"/>
              </a:ext>
            </a:extLst>
          </p:cNvPr>
          <p:cNvSpPr>
            <a:spLocks noGrp="1"/>
          </p:cNvSpPr>
          <p:nvPr>
            <p:ph type="body" sz="quarter" idx="15"/>
          </p:nvPr>
        </p:nvSpPr>
        <p:spPr/>
        <p:txBody>
          <a:bodyPr vert="horz" lIns="91440" tIns="45720" rIns="91440" bIns="45720" rtlCol="0" anchor="t">
            <a:normAutofit fontScale="92500" lnSpcReduction="10000"/>
          </a:bodyPr>
          <a:lstStyle/>
          <a:p>
            <a:pPr marL="0" indent="0">
              <a:buNone/>
            </a:pPr>
            <a:r>
              <a:rPr lang="en-US">
                <a:cs typeface="Calibri"/>
              </a:rPr>
              <a:t>Application Development</a:t>
            </a:r>
          </a:p>
        </p:txBody>
      </p:sp>
      <p:sp>
        <p:nvSpPr>
          <p:cNvPr id="6" name="Text Placeholder 5">
            <a:extLst>
              <a:ext uri="{FF2B5EF4-FFF2-40B4-BE49-F238E27FC236}">
                <a16:creationId xmlns:a16="http://schemas.microsoft.com/office/drawing/2014/main" id="{B87EC67C-60AE-9245-8433-2FF1558D892B}"/>
              </a:ext>
            </a:extLst>
          </p:cNvPr>
          <p:cNvSpPr>
            <a:spLocks noGrp="1"/>
          </p:cNvSpPr>
          <p:nvPr>
            <p:ph type="body" sz="quarter" idx="16"/>
          </p:nvPr>
        </p:nvSpPr>
        <p:spPr>
          <a:xfrm>
            <a:off x="914400" y="2743200"/>
            <a:ext cx="3355975" cy="272164"/>
          </a:xfrm>
        </p:spPr>
        <p:txBody>
          <a:bodyPr/>
          <a:lstStyle/>
          <a:p>
            <a:r>
              <a:rPr lang="en-US" b="1">
                <a:cs typeface="Calibri"/>
              </a:rPr>
              <a:t>Three-Tier Application Architecture</a:t>
            </a:r>
          </a:p>
          <a:p>
            <a:endParaRPr lang="en-US"/>
          </a:p>
        </p:txBody>
      </p:sp>
      <p:sp>
        <p:nvSpPr>
          <p:cNvPr id="46" name="Rectangle 45">
            <a:extLst>
              <a:ext uri="{FF2B5EF4-FFF2-40B4-BE49-F238E27FC236}">
                <a16:creationId xmlns:a16="http://schemas.microsoft.com/office/drawing/2014/main" id="{095EED64-CE9B-FA42-A49B-EB8593FF65D8}"/>
              </a:ext>
            </a:extLst>
          </p:cNvPr>
          <p:cNvSpPr/>
          <p:nvPr/>
        </p:nvSpPr>
        <p:spPr>
          <a:xfrm>
            <a:off x="3300574" y="4197906"/>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ata</a:t>
            </a:r>
          </a:p>
          <a:p>
            <a:pPr algn="ctr"/>
            <a:r>
              <a:rPr lang="en-US" sz="1000"/>
              <a:t>Server</a:t>
            </a:r>
          </a:p>
        </p:txBody>
      </p:sp>
      <p:sp>
        <p:nvSpPr>
          <p:cNvPr id="56" name="Rectangle 55">
            <a:extLst>
              <a:ext uri="{FF2B5EF4-FFF2-40B4-BE49-F238E27FC236}">
                <a16:creationId xmlns:a16="http://schemas.microsoft.com/office/drawing/2014/main" id="{C348EA47-95C3-3947-AC1C-A346EEF3916C}"/>
              </a:ext>
            </a:extLst>
          </p:cNvPr>
          <p:cNvSpPr/>
          <p:nvPr/>
        </p:nvSpPr>
        <p:spPr>
          <a:xfrm>
            <a:off x="2442170" y="5277786"/>
            <a:ext cx="1572756" cy="323084"/>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atabase</a:t>
            </a:r>
          </a:p>
        </p:txBody>
      </p:sp>
      <p:sp>
        <p:nvSpPr>
          <p:cNvPr id="51" name="Rectangle 50">
            <a:extLst>
              <a:ext uri="{FF2B5EF4-FFF2-40B4-BE49-F238E27FC236}">
                <a16:creationId xmlns:a16="http://schemas.microsoft.com/office/drawing/2014/main" id="{F878D8CC-FFEE-E947-8499-67821A7E714F}"/>
              </a:ext>
            </a:extLst>
          </p:cNvPr>
          <p:cNvSpPr/>
          <p:nvPr/>
        </p:nvSpPr>
        <p:spPr>
          <a:xfrm>
            <a:off x="2808160" y="325597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Web Components</a:t>
            </a:r>
          </a:p>
        </p:txBody>
      </p:sp>
      <p:sp>
        <p:nvSpPr>
          <p:cNvPr id="55" name="Text Placeholder 5">
            <a:extLst>
              <a:ext uri="{FF2B5EF4-FFF2-40B4-BE49-F238E27FC236}">
                <a16:creationId xmlns:a16="http://schemas.microsoft.com/office/drawing/2014/main" id="{63BED952-3360-DE47-887C-5ECA70E3AC0E}"/>
              </a:ext>
            </a:extLst>
          </p:cNvPr>
          <p:cNvSpPr txBox="1">
            <a:spLocks/>
          </p:cNvSpPr>
          <p:nvPr/>
        </p:nvSpPr>
        <p:spPr>
          <a:xfrm>
            <a:off x="701814" y="3435041"/>
            <a:ext cx="1871568" cy="302985"/>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cs typeface="Calibri"/>
              </a:rPr>
              <a:t>Presentation Layer</a:t>
            </a:r>
          </a:p>
        </p:txBody>
      </p:sp>
      <p:sp>
        <p:nvSpPr>
          <p:cNvPr id="58" name="Text Placeholder 5">
            <a:extLst>
              <a:ext uri="{FF2B5EF4-FFF2-40B4-BE49-F238E27FC236}">
                <a16:creationId xmlns:a16="http://schemas.microsoft.com/office/drawing/2014/main" id="{8164EF65-E3D3-E742-A6B9-DC54BF29D0B5}"/>
              </a:ext>
            </a:extLst>
          </p:cNvPr>
          <p:cNvSpPr txBox="1">
            <a:spLocks/>
          </p:cNvSpPr>
          <p:nvPr/>
        </p:nvSpPr>
        <p:spPr>
          <a:xfrm>
            <a:off x="889731" y="5277786"/>
            <a:ext cx="1212504" cy="655968"/>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cs typeface="Calibri"/>
              </a:rPr>
              <a:t>Data Layer</a:t>
            </a:r>
          </a:p>
          <a:p>
            <a:endParaRPr lang="en-US"/>
          </a:p>
        </p:txBody>
      </p:sp>
      <p:sp>
        <p:nvSpPr>
          <p:cNvPr id="59" name="Text Placeholder 5">
            <a:extLst>
              <a:ext uri="{FF2B5EF4-FFF2-40B4-BE49-F238E27FC236}">
                <a16:creationId xmlns:a16="http://schemas.microsoft.com/office/drawing/2014/main" id="{21FEC157-61FA-3243-92BA-00DC800509CB}"/>
              </a:ext>
            </a:extLst>
          </p:cNvPr>
          <p:cNvSpPr txBox="1">
            <a:spLocks/>
          </p:cNvSpPr>
          <p:nvPr/>
        </p:nvSpPr>
        <p:spPr>
          <a:xfrm>
            <a:off x="711593" y="4335110"/>
            <a:ext cx="1643325" cy="655968"/>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cs typeface="Calibri"/>
              </a:rPr>
              <a:t>Application Layer</a:t>
            </a:r>
          </a:p>
          <a:p>
            <a:endParaRPr lang="en-US"/>
          </a:p>
        </p:txBody>
      </p:sp>
      <p:sp>
        <p:nvSpPr>
          <p:cNvPr id="61" name="Rectangle 60">
            <a:extLst>
              <a:ext uri="{FF2B5EF4-FFF2-40B4-BE49-F238E27FC236}">
                <a16:creationId xmlns:a16="http://schemas.microsoft.com/office/drawing/2014/main" id="{B4B41A83-5C2D-7047-96C1-F33AA6DEA320}"/>
              </a:ext>
            </a:extLst>
          </p:cNvPr>
          <p:cNvSpPr/>
          <p:nvPr/>
        </p:nvSpPr>
        <p:spPr>
          <a:xfrm>
            <a:off x="2298922" y="4197906"/>
            <a:ext cx="914400" cy="552681"/>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Application Server</a:t>
            </a:r>
          </a:p>
        </p:txBody>
      </p:sp>
    </p:spTree>
    <p:extLst>
      <p:ext uri="{BB962C8B-B14F-4D97-AF65-F5344CB8AC3E}">
        <p14:creationId xmlns:p14="http://schemas.microsoft.com/office/powerpoint/2010/main" val="1518848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6F96-D6BB-DD40-AD3C-8C50B0DFF80B}"/>
              </a:ext>
            </a:extLst>
          </p:cNvPr>
          <p:cNvSpPr>
            <a:spLocks noGrp="1"/>
          </p:cNvSpPr>
          <p:nvPr>
            <p:ph type="title"/>
          </p:nvPr>
        </p:nvSpPr>
        <p:spPr/>
        <p:txBody>
          <a:bodyPr/>
          <a:lstStyle/>
          <a:p>
            <a:r>
              <a:rPr lang="en-US" sz="3600"/>
              <a:t>Current State</a:t>
            </a:r>
          </a:p>
        </p:txBody>
      </p:sp>
      <p:sp>
        <p:nvSpPr>
          <p:cNvPr id="63" name="Text Placeholder 62">
            <a:extLst>
              <a:ext uri="{FF2B5EF4-FFF2-40B4-BE49-F238E27FC236}">
                <a16:creationId xmlns:a16="http://schemas.microsoft.com/office/drawing/2014/main" id="{1E6C20AB-4004-E04A-BEC0-BF377FC002F7}"/>
              </a:ext>
            </a:extLst>
          </p:cNvPr>
          <p:cNvSpPr>
            <a:spLocks noGrp="1"/>
          </p:cNvSpPr>
          <p:nvPr>
            <p:ph type="body" sz="quarter" idx="14"/>
          </p:nvPr>
        </p:nvSpPr>
        <p:spPr>
          <a:xfrm>
            <a:off x="914721" y="1353311"/>
            <a:ext cx="10362880" cy="873073"/>
          </a:xfrm>
        </p:spPr>
        <p:txBody>
          <a:bodyPr/>
          <a:lstStyle/>
          <a:p>
            <a:r>
              <a:rPr lang="en-US"/>
              <a:t>Container </a:t>
            </a:r>
            <a:r>
              <a:rPr lang="en-US" i="1"/>
              <a:t>hosting</a:t>
            </a:r>
            <a:r>
              <a:rPr lang="en-US"/>
              <a:t> and data warehouse bottleneck the data capabilities offered. Analytics must be done locally and manually imported into warehouse for processing. Efforts and technology are disjointed in interactivity, requiring higher levels of effort to administer and oversee.</a:t>
            </a:r>
          </a:p>
          <a:p>
            <a:r>
              <a:rPr lang="en-US"/>
              <a:t>Visualizations and reports are built using custom (often local) solutions, requiring additional knowledge and setup. </a:t>
            </a:r>
          </a:p>
          <a:p>
            <a:endParaRPr lang="en-US"/>
          </a:p>
        </p:txBody>
      </p:sp>
      <p:sp>
        <p:nvSpPr>
          <p:cNvPr id="64" name="Text Placeholder 63">
            <a:extLst>
              <a:ext uri="{FF2B5EF4-FFF2-40B4-BE49-F238E27FC236}">
                <a16:creationId xmlns:a16="http://schemas.microsoft.com/office/drawing/2014/main" id="{9F074E5A-BD11-E548-9389-411483F4D031}"/>
              </a:ext>
            </a:extLst>
          </p:cNvPr>
          <p:cNvSpPr>
            <a:spLocks noGrp="1"/>
          </p:cNvSpPr>
          <p:nvPr>
            <p:ph type="body" sz="quarter" idx="15"/>
          </p:nvPr>
        </p:nvSpPr>
        <p:spPr/>
        <p:txBody>
          <a:bodyPr/>
          <a:lstStyle/>
          <a:p>
            <a:r>
              <a:rPr lang="en-US"/>
              <a:t>Key Goals</a:t>
            </a:r>
          </a:p>
        </p:txBody>
      </p:sp>
      <p:sp>
        <p:nvSpPr>
          <p:cNvPr id="66" name="Rectangle 65">
            <a:extLst>
              <a:ext uri="{FF2B5EF4-FFF2-40B4-BE49-F238E27FC236}">
                <a16:creationId xmlns:a16="http://schemas.microsoft.com/office/drawing/2014/main" id="{459AC22F-F663-3A4D-B1C5-BD6D77477AF3}"/>
              </a:ext>
            </a:extLst>
          </p:cNvPr>
          <p:cNvSpPr/>
          <p:nvPr/>
        </p:nvSpPr>
        <p:spPr>
          <a:xfrm>
            <a:off x="5456806" y="3688548"/>
            <a:ext cx="1828164" cy="358595"/>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Data Warehouse</a:t>
            </a:r>
          </a:p>
        </p:txBody>
      </p:sp>
      <p:sp>
        <p:nvSpPr>
          <p:cNvPr id="78" name="Rectangle 77">
            <a:extLst>
              <a:ext uri="{FF2B5EF4-FFF2-40B4-BE49-F238E27FC236}">
                <a16:creationId xmlns:a16="http://schemas.microsoft.com/office/drawing/2014/main" id="{1D1E8930-8861-0540-9F3C-60C75B90ED9A}"/>
              </a:ext>
            </a:extLst>
          </p:cNvPr>
          <p:cNvSpPr/>
          <p:nvPr/>
        </p:nvSpPr>
        <p:spPr>
          <a:xfrm>
            <a:off x="4110492" y="3568383"/>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1000"/>
              <a:t>Ingestion Service</a:t>
            </a:r>
          </a:p>
        </p:txBody>
      </p:sp>
      <p:cxnSp>
        <p:nvCxnSpPr>
          <p:cNvPr id="82" name="Straight Connector 74">
            <a:extLst>
              <a:ext uri="{FF2B5EF4-FFF2-40B4-BE49-F238E27FC236}">
                <a16:creationId xmlns:a16="http://schemas.microsoft.com/office/drawing/2014/main" id="{8EC7B246-00F1-6047-A07A-394A3402245E}"/>
              </a:ext>
            </a:extLst>
          </p:cNvPr>
          <p:cNvCxnSpPr>
            <a:cxnSpLocks/>
            <a:stCxn id="78" idx="3"/>
            <a:endCxn id="66" idx="1"/>
          </p:cNvCxnSpPr>
          <p:nvPr/>
        </p:nvCxnSpPr>
        <p:spPr>
          <a:xfrm flipV="1">
            <a:off x="5024892" y="3867846"/>
            <a:ext cx="431914" cy="7297"/>
          </a:xfrm>
          <a:prstGeom prst="bentConnector3">
            <a:avLst>
              <a:gd name="adj1" fmla="val 50000"/>
            </a:avLst>
          </a:prstGeom>
          <a:noFill/>
          <a:ln w="22225" cmpd="sng">
            <a:solidFill>
              <a:srgbClr val="D6D6D6"/>
            </a:solidFill>
            <a:prstDash val="solid"/>
            <a:tailEnd type="triangle"/>
          </a:ln>
          <a:effectLst/>
        </p:spPr>
      </p:cxnSp>
      <p:cxnSp>
        <p:nvCxnSpPr>
          <p:cNvPr id="91" name="Straight Connector 74">
            <a:extLst>
              <a:ext uri="{FF2B5EF4-FFF2-40B4-BE49-F238E27FC236}">
                <a16:creationId xmlns:a16="http://schemas.microsoft.com/office/drawing/2014/main" id="{34D62801-7B30-E24E-BD04-A036279B68B9}"/>
              </a:ext>
            </a:extLst>
          </p:cNvPr>
          <p:cNvCxnSpPr>
            <a:cxnSpLocks/>
            <a:stCxn id="66" idx="2"/>
            <a:endCxn id="67" idx="2"/>
          </p:cNvCxnSpPr>
          <p:nvPr/>
        </p:nvCxnSpPr>
        <p:spPr>
          <a:xfrm rot="16200000" flipH="1">
            <a:off x="7595215" y="2822816"/>
            <a:ext cx="525537" cy="2974190"/>
          </a:xfrm>
          <a:prstGeom prst="bentConnector3">
            <a:avLst>
              <a:gd name="adj1" fmla="val 143498"/>
            </a:avLst>
          </a:prstGeom>
          <a:noFill/>
          <a:ln w="22225" cmpd="sng">
            <a:solidFill>
              <a:srgbClr val="D6D6D6"/>
            </a:solidFill>
            <a:tailEnd type="triangle"/>
          </a:ln>
          <a:effectLst/>
        </p:spPr>
      </p:cxnSp>
      <p:cxnSp>
        <p:nvCxnSpPr>
          <p:cNvPr id="111" name="Straight Connector 74">
            <a:extLst>
              <a:ext uri="{FF2B5EF4-FFF2-40B4-BE49-F238E27FC236}">
                <a16:creationId xmlns:a16="http://schemas.microsoft.com/office/drawing/2014/main" id="{46708EF9-3195-FB49-A789-8BAC4422E080}"/>
              </a:ext>
            </a:extLst>
          </p:cNvPr>
          <p:cNvCxnSpPr>
            <a:cxnSpLocks/>
            <a:stCxn id="66" idx="3"/>
          </p:cNvCxnSpPr>
          <p:nvPr/>
        </p:nvCxnSpPr>
        <p:spPr>
          <a:xfrm flipV="1">
            <a:off x="7284970" y="3849765"/>
            <a:ext cx="486361" cy="18081"/>
          </a:xfrm>
          <a:prstGeom prst="bentConnector3">
            <a:avLst>
              <a:gd name="adj1" fmla="val 50000"/>
            </a:avLst>
          </a:prstGeom>
          <a:noFill/>
          <a:ln w="22225" cmpd="sng">
            <a:solidFill>
              <a:srgbClr val="D6D6D6"/>
            </a:solidFill>
            <a:tailEnd type="triangle"/>
          </a:ln>
          <a:effectLst/>
        </p:spPr>
      </p:cxnSp>
      <p:cxnSp>
        <p:nvCxnSpPr>
          <p:cNvPr id="33" name="Straight Connector 74">
            <a:extLst>
              <a:ext uri="{FF2B5EF4-FFF2-40B4-BE49-F238E27FC236}">
                <a16:creationId xmlns:a16="http://schemas.microsoft.com/office/drawing/2014/main" id="{E84AB3D7-72EE-2944-AEAF-02D58A4FF0F9}"/>
              </a:ext>
            </a:extLst>
          </p:cNvPr>
          <p:cNvCxnSpPr>
            <a:cxnSpLocks/>
          </p:cNvCxnSpPr>
          <p:nvPr/>
        </p:nvCxnSpPr>
        <p:spPr>
          <a:xfrm flipV="1">
            <a:off x="8254660" y="3857303"/>
            <a:ext cx="837275" cy="4618"/>
          </a:xfrm>
          <a:prstGeom prst="bentConnector3">
            <a:avLst>
              <a:gd name="adj1" fmla="val 50000"/>
            </a:avLst>
          </a:prstGeom>
          <a:noFill/>
          <a:ln w="22225" cmpd="sng">
            <a:solidFill>
              <a:srgbClr val="D6D6D6"/>
            </a:solidFill>
            <a:tailEnd type="triangle"/>
          </a:ln>
          <a:effectLst/>
        </p:spPr>
      </p:cxnSp>
      <p:cxnSp>
        <p:nvCxnSpPr>
          <p:cNvPr id="37" name="Straight Connector 74">
            <a:extLst>
              <a:ext uri="{FF2B5EF4-FFF2-40B4-BE49-F238E27FC236}">
                <a16:creationId xmlns:a16="http://schemas.microsoft.com/office/drawing/2014/main" id="{0E606D33-C16A-7446-B6CD-B068FD6C9BA8}"/>
              </a:ext>
            </a:extLst>
          </p:cNvPr>
          <p:cNvCxnSpPr>
            <a:cxnSpLocks/>
          </p:cNvCxnSpPr>
          <p:nvPr/>
        </p:nvCxnSpPr>
        <p:spPr>
          <a:xfrm>
            <a:off x="2829719" y="3476484"/>
            <a:ext cx="1272456" cy="420113"/>
          </a:xfrm>
          <a:prstGeom prst="bentConnector3">
            <a:avLst>
              <a:gd name="adj1" fmla="val 50000"/>
            </a:avLst>
          </a:prstGeom>
          <a:noFill/>
          <a:ln w="22225" cmpd="sng">
            <a:solidFill>
              <a:srgbClr val="D6D6D6"/>
            </a:solidFill>
            <a:tailEnd type="triangle"/>
          </a:ln>
          <a:effectLst/>
        </p:spPr>
      </p:cxnSp>
      <p:cxnSp>
        <p:nvCxnSpPr>
          <p:cNvPr id="38" name="Straight Connector 74">
            <a:extLst>
              <a:ext uri="{FF2B5EF4-FFF2-40B4-BE49-F238E27FC236}">
                <a16:creationId xmlns:a16="http://schemas.microsoft.com/office/drawing/2014/main" id="{DFBE9BC8-FFCF-D84F-8190-AEE51E15E54F}"/>
              </a:ext>
            </a:extLst>
          </p:cNvPr>
          <p:cNvCxnSpPr>
            <a:cxnSpLocks/>
          </p:cNvCxnSpPr>
          <p:nvPr/>
        </p:nvCxnSpPr>
        <p:spPr>
          <a:xfrm flipV="1">
            <a:off x="2829719" y="3894216"/>
            <a:ext cx="1274072" cy="686511"/>
          </a:xfrm>
          <a:prstGeom prst="bentConnector3">
            <a:avLst>
              <a:gd name="adj1" fmla="val 50000"/>
            </a:avLst>
          </a:prstGeom>
          <a:noFill/>
          <a:ln w="22225" cmpd="sng">
            <a:solidFill>
              <a:srgbClr val="D6D6D6"/>
            </a:solidFill>
            <a:tailEnd type="triangle"/>
          </a:ln>
          <a:effectLst/>
        </p:spPr>
      </p:cxnSp>
      <p:sp>
        <p:nvSpPr>
          <p:cNvPr id="39" name="Rectangle 38">
            <a:extLst>
              <a:ext uri="{FF2B5EF4-FFF2-40B4-BE49-F238E27FC236}">
                <a16:creationId xmlns:a16="http://schemas.microsoft.com/office/drawing/2014/main" id="{8786307C-F0BC-F046-B1AC-E7D5F44EFF55}"/>
              </a:ext>
            </a:extLst>
          </p:cNvPr>
          <p:cNvSpPr/>
          <p:nvPr/>
        </p:nvSpPr>
        <p:spPr>
          <a:xfrm>
            <a:off x="1915319" y="3789842"/>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Provider APIs</a:t>
            </a:r>
          </a:p>
        </p:txBody>
      </p:sp>
      <p:sp>
        <p:nvSpPr>
          <p:cNvPr id="40" name="Rectangle 39">
            <a:extLst>
              <a:ext uri="{FF2B5EF4-FFF2-40B4-BE49-F238E27FC236}">
                <a16:creationId xmlns:a16="http://schemas.microsoft.com/office/drawing/2014/main" id="{B270C92A-C072-7F4C-BBFB-E93B5962F0C3}"/>
              </a:ext>
            </a:extLst>
          </p:cNvPr>
          <p:cNvSpPr/>
          <p:nvPr/>
        </p:nvSpPr>
        <p:spPr>
          <a:xfrm>
            <a:off x="1956003" y="4889357"/>
            <a:ext cx="914400" cy="155187"/>
          </a:xfrm>
          <a:prstGeom prst="rect">
            <a:avLst/>
          </a:prstGeom>
          <a:noFill/>
          <a:ln w="6350" algn="ctr">
            <a:noFill/>
            <a:miter lim="800000"/>
            <a:headEnd type="none" w="sm" len="sm"/>
            <a:tailEnd type="none" w="sm" len="sm"/>
          </a:ln>
        </p:spPr>
        <p:txBody>
          <a:bodyPr wrap="square" lIns="0" tIns="0" rIns="0" bIns="0" anchor="ctr"/>
          <a:lstStyle/>
          <a:p>
            <a:pPr algn="ctr"/>
            <a:r>
              <a:rPr lang="en-US" sz="850"/>
              <a:t>Batch</a:t>
            </a:r>
          </a:p>
        </p:txBody>
      </p:sp>
      <p:grpSp>
        <p:nvGrpSpPr>
          <p:cNvPr id="41" name="Group 40">
            <a:extLst>
              <a:ext uri="{FF2B5EF4-FFF2-40B4-BE49-F238E27FC236}">
                <a16:creationId xmlns:a16="http://schemas.microsoft.com/office/drawing/2014/main" id="{139A3011-F95E-7D44-A819-DE5D56CAF57A}"/>
              </a:ext>
            </a:extLst>
          </p:cNvPr>
          <p:cNvGrpSpPr/>
          <p:nvPr/>
        </p:nvGrpSpPr>
        <p:grpSpPr>
          <a:xfrm>
            <a:off x="2167707" y="4308826"/>
            <a:ext cx="497776" cy="517982"/>
            <a:chOff x="1763630" y="4431485"/>
            <a:chExt cx="497776" cy="517982"/>
          </a:xfrm>
        </p:grpSpPr>
        <p:grpSp>
          <p:nvGrpSpPr>
            <p:cNvPr id="42" name="Group 41">
              <a:extLst>
                <a:ext uri="{FF2B5EF4-FFF2-40B4-BE49-F238E27FC236}">
                  <a16:creationId xmlns:a16="http://schemas.microsoft.com/office/drawing/2014/main" id="{8DE4F792-6D58-1540-8FB1-F2D8239D27B4}"/>
                </a:ext>
              </a:extLst>
            </p:cNvPr>
            <p:cNvGrpSpPr/>
            <p:nvPr/>
          </p:nvGrpSpPr>
          <p:grpSpPr>
            <a:xfrm>
              <a:off x="1841767" y="4550138"/>
              <a:ext cx="348246" cy="257618"/>
              <a:chOff x="1772296" y="1368566"/>
              <a:chExt cx="449558" cy="332565"/>
            </a:xfrm>
          </p:grpSpPr>
          <p:sp>
            <p:nvSpPr>
              <p:cNvPr id="44" name="Freeform 96">
                <a:extLst>
                  <a:ext uri="{FF2B5EF4-FFF2-40B4-BE49-F238E27FC236}">
                    <a16:creationId xmlns:a16="http://schemas.microsoft.com/office/drawing/2014/main" id="{E23B3725-30ED-F342-90C0-AC89A45B8F69}"/>
                  </a:ext>
                </a:extLst>
              </p:cNvPr>
              <p:cNvSpPr>
                <a:spLocks noEditPoints="1"/>
              </p:cNvSpPr>
              <p:nvPr/>
            </p:nvSpPr>
            <p:spPr bwMode="auto">
              <a:xfrm>
                <a:off x="1772296" y="1368566"/>
                <a:ext cx="449558" cy="332565"/>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5" name="Freeform 97">
                <a:extLst>
                  <a:ext uri="{FF2B5EF4-FFF2-40B4-BE49-F238E27FC236}">
                    <a16:creationId xmlns:a16="http://schemas.microsoft.com/office/drawing/2014/main" id="{F977A25C-CE49-4B43-B14D-2BC5B88F23D1}"/>
                  </a:ext>
                </a:extLst>
              </p:cNvPr>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3" name="Freeform 244">
              <a:extLst>
                <a:ext uri="{FF2B5EF4-FFF2-40B4-BE49-F238E27FC236}">
                  <a16:creationId xmlns:a16="http://schemas.microsoft.com/office/drawing/2014/main" id="{18A9AF0B-4896-8D44-9B9C-C4D35498727A}"/>
                </a:ext>
              </a:extLst>
            </p:cNvPr>
            <p:cNvSpPr>
              <a:spLocks noEditPoints="1"/>
            </p:cNvSpPr>
            <p:nvPr/>
          </p:nvSpPr>
          <p:spPr bwMode="auto">
            <a:xfrm>
              <a:off x="1763630" y="443148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6" name="Group 45">
            <a:extLst>
              <a:ext uri="{FF2B5EF4-FFF2-40B4-BE49-F238E27FC236}">
                <a16:creationId xmlns:a16="http://schemas.microsoft.com/office/drawing/2014/main" id="{71917A82-9A33-B94D-8DF4-5C2679D81274}"/>
              </a:ext>
            </a:extLst>
          </p:cNvPr>
          <p:cNvGrpSpPr/>
          <p:nvPr/>
        </p:nvGrpSpPr>
        <p:grpSpPr>
          <a:xfrm>
            <a:off x="2127324" y="3247454"/>
            <a:ext cx="497776" cy="517982"/>
            <a:chOff x="1742992" y="3606769"/>
            <a:chExt cx="497776" cy="517982"/>
          </a:xfrm>
        </p:grpSpPr>
        <p:grpSp>
          <p:nvGrpSpPr>
            <p:cNvPr id="47" name="Group 46">
              <a:extLst>
                <a:ext uri="{FF2B5EF4-FFF2-40B4-BE49-F238E27FC236}">
                  <a16:creationId xmlns:a16="http://schemas.microsoft.com/office/drawing/2014/main" id="{6C024355-3E68-1245-B961-36F19321FEFE}"/>
                </a:ext>
              </a:extLst>
            </p:cNvPr>
            <p:cNvGrpSpPr/>
            <p:nvPr/>
          </p:nvGrpSpPr>
          <p:grpSpPr>
            <a:xfrm>
              <a:off x="1822814" y="3690402"/>
              <a:ext cx="350704" cy="350704"/>
              <a:chOff x="5562600" y="4875213"/>
              <a:chExt cx="790575" cy="790575"/>
            </a:xfrm>
          </p:grpSpPr>
          <p:sp>
            <p:nvSpPr>
              <p:cNvPr id="49" name="Freeform 55">
                <a:extLst>
                  <a:ext uri="{FF2B5EF4-FFF2-40B4-BE49-F238E27FC236}">
                    <a16:creationId xmlns:a16="http://schemas.microsoft.com/office/drawing/2014/main" id="{8A0E1105-7BF9-C94D-A943-50DA5ED65C44}"/>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1" name="Freeform 56">
                <a:extLst>
                  <a:ext uri="{FF2B5EF4-FFF2-40B4-BE49-F238E27FC236}">
                    <a16:creationId xmlns:a16="http://schemas.microsoft.com/office/drawing/2014/main" id="{7ED14F0A-150F-1143-A291-25B0573077BC}"/>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8" name="Freeform 244">
              <a:extLst>
                <a:ext uri="{FF2B5EF4-FFF2-40B4-BE49-F238E27FC236}">
                  <a16:creationId xmlns:a16="http://schemas.microsoft.com/office/drawing/2014/main" id="{9FCFAE00-52C9-B64D-9677-A676A16E65C1}"/>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7" name="Rectangle 66">
            <a:extLst>
              <a:ext uri="{FF2B5EF4-FFF2-40B4-BE49-F238E27FC236}">
                <a16:creationId xmlns:a16="http://schemas.microsoft.com/office/drawing/2014/main" id="{179BF1EB-4D07-5E42-B826-F4A5778C1DC9}"/>
              </a:ext>
            </a:extLst>
          </p:cNvPr>
          <p:cNvSpPr/>
          <p:nvPr/>
        </p:nvSpPr>
        <p:spPr>
          <a:xfrm>
            <a:off x="8887878" y="4183096"/>
            <a:ext cx="914400" cy="389584"/>
          </a:xfrm>
          <a:prstGeom prst="rect">
            <a:avLst/>
          </a:prstGeom>
          <a:noFill/>
          <a:ln w="6350" algn="ctr">
            <a:noFill/>
            <a:miter lim="800000"/>
            <a:headEnd type="none" w="sm" len="sm"/>
            <a:tailEnd type="none" w="sm" len="sm"/>
          </a:ln>
        </p:spPr>
        <p:txBody>
          <a:bodyPr wrap="square" lIns="0" tIns="0" rIns="0" bIns="0" anchor="ctr"/>
          <a:lstStyle/>
          <a:p>
            <a:pPr algn="ctr"/>
            <a:r>
              <a:rPr lang="en-US" sz="850"/>
              <a:t>Systems &amp; Custom Applications</a:t>
            </a:r>
          </a:p>
        </p:txBody>
      </p:sp>
      <p:grpSp>
        <p:nvGrpSpPr>
          <p:cNvPr id="69" name="Group 68">
            <a:extLst>
              <a:ext uri="{FF2B5EF4-FFF2-40B4-BE49-F238E27FC236}">
                <a16:creationId xmlns:a16="http://schemas.microsoft.com/office/drawing/2014/main" id="{525F3934-326D-E043-8B94-843090BF88E3}"/>
              </a:ext>
            </a:extLst>
          </p:cNvPr>
          <p:cNvGrpSpPr/>
          <p:nvPr/>
        </p:nvGrpSpPr>
        <p:grpSpPr>
          <a:xfrm>
            <a:off x="9084819" y="3616152"/>
            <a:ext cx="497776" cy="517982"/>
            <a:chOff x="5302152" y="5598347"/>
            <a:chExt cx="497776" cy="517982"/>
          </a:xfrm>
        </p:grpSpPr>
        <p:sp>
          <p:nvSpPr>
            <p:cNvPr id="70" name="Freeform 244">
              <a:extLst>
                <a:ext uri="{FF2B5EF4-FFF2-40B4-BE49-F238E27FC236}">
                  <a16:creationId xmlns:a16="http://schemas.microsoft.com/office/drawing/2014/main" id="{65AE8BD8-5DBC-974E-A268-679F1E0415A3}"/>
                </a:ext>
              </a:extLst>
            </p:cNvPr>
            <p:cNvSpPr>
              <a:spLocks noEditPoints="1"/>
            </p:cNvSpPr>
            <p:nvPr/>
          </p:nvSpPr>
          <p:spPr bwMode="auto">
            <a:xfrm>
              <a:off x="5302152" y="5598347"/>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71" name="Group 70">
              <a:extLst>
                <a:ext uri="{FF2B5EF4-FFF2-40B4-BE49-F238E27FC236}">
                  <a16:creationId xmlns:a16="http://schemas.microsoft.com/office/drawing/2014/main" id="{4C7D4272-B286-844C-8497-1D7093FB67DB}"/>
                </a:ext>
              </a:extLst>
            </p:cNvPr>
            <p:cNvGrpSpPr/>
            <p:nvPr/>
          </p:nvGrpSpPr>
          <p:grpSpPr>
            <a:xfrm>
              <a:off x="5393064" y="5718880"/>
              <a:ext cx="316110" cy="277561"/>
              <a:chOff x="1290638" y="5410200"/>
              <a:chExt cx="585787" cy="514350"/>
            </a:xfrm>
          </p:grpSpPr>
          <p:sp>
            <p:nvSpPr>
              <p:cNvPr id="72" name="Freeform 66">
                <a:extLst>
                  <a:ext uri="{FF2B5EF4-FFF2-40B4-BE49-F238E27FC236}">
                    <a16:creationId xmlns:a16="http://schemas.microsoft.com/office/drawing/2014/main" id="{4CEDAF9C-A719-574C-8A70-050B1C7C3D33}"/>
                  </a:ext>
                </a:extLst>
              </p:cNvPr>
              <p:cNvSpPr>
                <a:spLocks noEditPoints="1"/>
              </p:cNvSpPr>
              <p:nvPr/>
            </p:nvSpPr>
            <p:spPr bwMode="auto">
              <a:xfrm>
                <a:off x="1514475" y="5619750"/>
                <a:ext cx="161925" cy="231775"/>
              </a:xfrm>
              <a:custGeom>
                <a:avLst/>
                <a:gdLst>
                  <a:gd name="T0" fmla="*/ 7 w 66"/>
                  <a:gd name="T1" fmla="*/ 2 h 94"/>
                  <a:gd name="T2" fmla="*/ 2 w 66"/>
                  <a:gd name="T3" fmla="*/ 1 h 94"/>
                  <a:gd name="T4" fmla="*/ 0 w 66"/>
                  <a:gd name="T5" fmla="*/ 6 h 94"/>
                  <a:gd name="T6" fmla="*/ 10 w 66"/>
                  <a:gd name="T7" fmla="*/ 77 h 94"/>
                  <a:gd name="T8" fmla="*/ 13 w 66"/>
                  <a:gd name="T9" fmla="*/ 81 h 94"/>
                  <a:gd name="T10" fmla="*/ 17 w 66"/>
                  <a:gd name="T11" fmla="*/ 80 h 94"/>
                  <a:gd name="T12" fmla="*/ 30 w 66"/>
                  <a:gd name="T13" fmla="*/ 70 h 94"/>
                  <a:gd name="T14" fmla="*/ 41 w 66"/>
                  <a:gd name="T15" fmla="*/ 91 h 94"/>
                  <a:gd name="T16" fmla="*/ 44 w 66"/>
                  <a:gd name="T17" fmla="*/ 94 h 94"/>
                  <a:gd name="T18" fmla="*/ 46 w 66"/>
                  <a:gd name="T19" fmla="*/ 94 h 94"/>
                  <a:gd name="T20" fmla="*/ 48 w 66"/>
                  <a:gd name="T21" fmla="*/ 93 h 94"/>
                  <a:gd name="T22" fmla="*/ 62 w 66"/>
                  <a:gd name="T23" fmla="*/ 84 h 94"/>
                  <a:gd name="T24" fmla="*/ 64 w 66"/>
                  <a:gd name="T25" fmla="*/ 81 h 94"/>
                  <a:gd name="T26" fmla="*/ 63 w 66"/>
                  <a:gd name="T27" fmla="*/ 77 h 94"/>
                  <a:gd name="T28" fmla="*/ 49 w 66"/>
                  <a:gd name="T29" fmla="*/ 59 h 94"/>
                  <a:gd name="T30" fmla="*/ 63 w 66"/>
                  <a:gd name="T31" fmla="*/ 53 h 94"/>
                  <a:gd name="T32" fmla="*/ 66 w 66"/>
                  <a:gd name="T33" fmla="*/ 49 h 94"/>
                  <a:gd name="T34" fmla="*/ 64 w 66"/>
                  <a:gd name="T35" fmla="*/ 45 h 94"/>
                  <a:gd name="T36" fmla="*/ 7 w 66"/>
                  <a:gd name="T37" fmla="*/ 2 h 94"/>
                  <a:gd name="T38" fmla="*/ 39 w 66"/>
                  <a:gd name="T39" fmla="*/ 52 h 94"/>
                  <a:gd name="T40" fmla="*/ 36 w 66"/>
                  <a:gd name="T41" fmla="*/ 55 h 94"/>
                  <a:gd name="T42" fmla="*/ 37 w 66"/>
                  <a:gd name="T43" fmla="*/ 59 h 94"/>
                  <a:gd name="T44" fmla="*/ 52 w 66"/>
                  <a:gd name="T45" fmla="*/ 79 h 94"/>
                  <a:gd name="T46" fmla="*/ 47 w 66"/>
                  <a:gd name="T47" fmla="*/ 82 h 94"/>
                  <a:gd name="T48" fmla="*/ 35 w 66"/>
                  <a:gd name="T49" fmla="*/ 60 h 94"/>
                  <a:gd name="T50" fmla="*/ 32 w 66"/>
                  <a:gd name="T51" fmla="*/ 58 h 94"/>
                  <a:gd name="T52" fmla="*/ 31 w 66"/>
                  <a:gd name="T53" fmla="*/ 57 h 94"/>
                  <a:gd name="T54" fmla="*/ 28 w 66"/>
                  <a:gd name="T55" fmla="*/ 59 h 94"/>
                  <a:gd name="T56" fmla="*/ 18 w 66"/>
                  <a:gd name="T57" fmla="*/ 67 h 94"/>
                  <a:gd name="T58" fmla="*/ 11 w 66"/>
                  <a:gd name="T59" fmla="*/ 16 h 94"/>
                  <a:gd name="T60" fmla="*/ 51 w 66"/>
                  <a:gd name="T61" fmla="*/ 47 h 94"/>
                  <a:gd name="T62" fmla="*/ 39 w 66"/>
                  <a:gd name="T63"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94">
                    <a:moveTo>
                      <a:pt x="7" y="2"/>
                    </a:moveTo>
                    <a:cubicBezTo>
                      <a:pt x="6" y="0"/>
                      <a:pt x="4" y="0"/>
                      <a:pt x="2" y="1"/>
                    </a:cubicBezTo>
                    <a:cubicBezTo>
                      <a:pt x="0" y="2"/>
                      <a:pt x="0" y="4"/>
                      <a:pt x="0" y="6"/>
                    </a:cubicBezTo>
                    <a:cubicBezTo>
                      <a:pt x="10" y="77"/>
                      <a:pt x="10" y="77"/>
                      <a:pt x="10" y="77"/>
                    </a:cubicBezTo>
                    <a:cubicBezTo>
                      <a:pt x="10" y="79"/>
                      <a:pt x="11" y="81"/>
                      <a:pt x="13" y="81"/>
                    </a:cubicBezTo>
                    <a:cubicBezTo>
                      <a:pt x="14" y="82"/>
                      <a:pt x="16" y="81"/>
                      <a:pt x="17" y="80"/>
                    </a:cubicBezTo>
                    <a:cubicBezTo>
                      <a:pt x="30" y="70"/>
                      <a:pt x="30" y="70"/>
                      <a:pt x="30" y="70"/>
                    </a:cubicBezTo>
                    <a:cubicBezTo>
                      <a:pt x="41" y="91"/>
                      <a:pt x="41" y="91"/>
                      <a:pt x="41" y="91"/>
                    </a:cubicBezTo>
                    <a:cubicBezTo>
                      <a:pt x="42" y="93"/>
                      <a:pt x="43" y="94"/>
                      <a:pt x="44" y="94"/>
                    </a:cubicBezTo>
                    <a:cubicBezTo>
                      <a:pt x="45" y="94"/>
                      <a:pt x="45" y="94"/>
                      <a:pt x="46" y="94"/>
                    </a:cubicBezTo>
                    <a:cubicBezTo>
                      <a:pt x="47" y="94"/>
                      <a:pt x="47" y="94"/>
                      <a:pt x="48" y="93"/>
                    </a:cubicBezTo>
                    <a:cubicBezTo>
                      <a:pt x="62" y="84"/>
                      <a:pt x="62" y="84"/>
                      <a:pt x="62" y="84"/>
                    </a:cubicBezTo>
                    <a:cubicBezTo>
                      <a:pt x="63" y="83"/>
                      <a:pt x="64" y="82"/>
                      <a:pt x="64" y="81"/>
                    </a:cubicBezTo>
                    <a:cubicBezTo>
                      <a:pt x="64" y="80"/>
                      <a:pt x="64" y="78"/>
                      <a:pt x="63" y="77"/>
                    </a:cubicBezTo>
                    <a:cubicBezTo>
                      <a:pt x="49" y="59"/>
                      <a:pt x="49" y="59"/>
                      <a:pt x="49" y="59"/>
                    </a:cubicBezTo>
                    <a:cubicBezTo>
                      <a:pt x="63" y="53"/>
                      <a:pt x="63" y="53"/>
                      <a:pt x="63" y="53"/>
                    </a:cubicBezTo>
                    <a:cubicBezTo>
                      <a:pt x="64" y="52"/>
                      <a:pt x="65" y="51"/>
                      <a:pt x="66" y="49"/>
                    </a:cubicBezTo>
                    <a:cubicBezTo>
                      <a:pt x="66" y="48"/>
                      <a:pt x="65" y="46"/>
                      <a:pt x="64" y="45"/>
                    </a:cubicBezTo>
                    <a:lnTo>
                      <a:pt x="7" y="2"/>
                    </a:lnTo>
                    <a:close/>
                    <a:moveTo>
                      <a:pt x="39" y="52"/>
                    </a:moveTo>
                    <a:cubicBezTo>
                      <a:pt x="38" y="53"/>
                      <a:pt x="37" y="54"/>
                      <a:pt x="36" y="55"/>
                    </a:cubicBezTo>
                    <a:cubicBezTo>
                      <a:pt x="36" y="57"/>
                      <a:pt x="36" y="58"/>
                      <a:pt x="37" y="59"/>
                    </a:cubicBezTo>
                    <a:cubicBezTo>
                      <a:pt x="52" y="79"/>
                      <a:pt x="52" y="79"/>
                      <a:pt x="52" y="79"/>
                    </a:cubicBezTo>
                    <a:cubicBezTo>
                      <a:pt x="47" y="82"/>
                      <a:pt x="47" y="82"/>
                      <a:pt x="47" y="82"/>
                    </a:cubicBezTo>
                    <a:cubicBezTo>
                      <a:pt x="35" y="60"/>
                      <a:pt x="35" y="60"/>
                      <a:pt x="35" y="60"/>
                    </a:cubicBezTo>
                    <a:cubicBezTo>
                      <a:pt x="35" y="59"/>
                      <a:pt x="33" y="58"/>
                      <a:pt x="32" y="58"/>
                    </a:cubicBezTo>
                    <a:cubicBezTo>
                      <a:pt x="32" y="58"/>
                      <a:pt x="31" y="57"/>
                      <a:pt x="31" y="57"/>
                    </a:cubicBezTo>
                    <a:cubicBezTo>
                      <a:pt x="30" y="57"/>
                      <a:pt x="29" y="58"/>
                      <a:pt x="28" y="59"/>
                    </a:cubicBezTo>
                    <a:cubicBezTo>
                      <a:pt x="18" y="67"/>
                      <a:pt x="18" y="67"/>
                      <a:pt x="18" y="67"/>
                    </a:cubicBezTo>
                    <a:cubicBezTo>
                      <a:pt x="11" y="16"/>
                      <a:pt x="11" y="16"/>
                      <a:pt x="11" y="16"/>
                    </a:cubicBezTo>
                    <a:cubicBezTo>
                      <a:pt x="51" y="47"/>
                      <a:pt x="51" y="47"/>
                      <a:pt x="51" y="47"/>
                    </a:cubicBezTo>
                    <a:lnTo>
                      <a:pt x="39" y="5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3" name="Freeform 67">
                <a:extLst>
                  <a:ext uri="{FF2B5EF4-FFF2-40B4-BE49-F238E27FC236}">
                    <a16:creationId xmlns:a16="http://schemas.microsoft.com/office/drawing/2014/main" id="{4F201E29-CDF8-B045-9C99-C98CDB740230}"/>
                  </a:ext>
                </a:extLst>
              </p:cNvPr>
              <p:cNvSpPr>
                <a:spLocks noEditPoints="1"/>
              </p:cNvSpPr>
              <p:nvPr/>
            </p:nvSpPr>
            <p:spPr bwMode="auto">
              <a:xfrm>
                <a:off x="12906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10 w 238"/>
                  <a:gd name="T23" fmla="*/ 10 h 209"/>
                  <a:gd name="T24" fmla="*/ 228 w 238"/>
                  <a:gd name="T25" fmla="*/ 10 h 209"/>
                  <a:gd name="T26" fmla="*/ 228 w 238"/>
                  <a:gd name="T27" fmla="*/ 56 h 209"/>
                  <a:gd name="T28" fmla="*/ 10 w 238"/>
                  <a:gd name="T29" fmla="*/ 56 h 209"/>
                  <a:gd name="T30" fmla="*/ 10 w 238"/>
                  <a:gd name="T31" fmla="*/ 10 h 209"/>
                  <a:gd name="T32" fmla="*/ 10 w 238"/>
                  <a:gd name="T33" fmla="*/ 199 h 209"/>
                  <a:gd name="T34" fmla="*/ 10 w 238"/>
                  <a:gd name="T35" fmla="*/ 66 h 209"/>
                  <a:gd name="T36" fmla="*/ 228 w 238"/>
                  <a:gd name="T37" fmla="*/ 66 h 209"/>
                  <a:gd name="T38" fmla="*/ 228 w 238"/>
                  <a:gd name="T39" fmla="*/ 199 h 209"/>
                  <a:gd name="T40" fmla="*/ 10 w 238"/>
                  <a:gd name="T4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10" y="10"/>
                    </a:moveTo>
                    <a:cubicBezTo>
                      <a:pt x="228" y="10"/>
                      <a:pt x="228" y="10"/>
                      <a:pt x="228" y="10"/>
                    </a:cubicBezTo>
                    <a:cubicBezTo>
                      <a:pt x="228" y="56"/>
                      <a:pt x="228" y="56"/>
                      <a:pt x="228" y="56"/>
                    </a:cubicBezTo>
                    <a:cubicBezTo>
                      <a:pt x="10" y="56"/>
                      <a:pt x="10" y="56"/>
                      <a:pt x="10" y="56"/>
                    </a:cubicBezTo>
                    <a:lnTo>
                      <a:pt x="1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4" name="Freeform 68">
                <a:extLst>
                  <a:ext uri="{FF2B5EF4-FFF2-40B4-BE49-F238E27FC236}">
                    <a16:creationId xmlns:a16="http://schemas.microsoft.com/office/drawing/2014/main" id="{2D13C896-E85C-8A49-96F2-F98FE4AC61C6}"/>
                  </a:ext>
                </a:extLst>
              </p:cNvPr>
              <p:cNvSpPr>
                <a:spLocks/>
              </p:cNvSpPr>
              <p:nvPr/>
            </p:nvSpPr>
            <p:spPr bwMode="auto">
              <a:xfrm>
                <a:off x="1520825" y="5503863"/>
                <a:ext cx="82550" cy="23813"/>
              </a:xfrm>
              <a:custGeom>
                <a:avLst/>
                <a:gdLst>
                  <a:gd name="T0" fmla="*/ 29 w 33"/>
                  <a:gd name="T1" fmla="*/ 0 h 10"/>
                  <a:gd name="T2" fmla="*/ 4 w 33"/>
                  <a:gd name="T3" fmla="*/ 0 h 10"/>
                  <a:gd name="T4" fmla="*/ 0 w 33"/>
                  <a:gd name="T5" fmla="*/ 5 h 10"/>
                  <a:gd name="T6" fmla="*/ 4 w 33"/>
                  <a:gd name="T7" fmla="*/ 10 h 10"/>
                  <a:gd name="T8" fmla="*/ 29 w 33"/>
                  <a:gd name="T9" fmla="*/ 10 h 10"/>
                  <a:gd name="T10" fmla="*/ 33 w 33"/>
                  <a:gd name="T11" fmla="*/ 5 h 10"/>
                  <a:gd name="T12" fmla="*/ 29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9" y="0"/>
                    </a:moveTo>
                    <a:cubicBezTo>
                      <a:pt x="4" y="0"/>
                      <a:pt x="4" y="0"/>
                      <a:pt x="4" y="0"/>
                    </a:cubicBezTo>
                    <a:cubicBezTo>
                      <a:pt x="2" y="0"/>
                      <a:pt x="0" y="3"/>
                      <a:pt x="0" y="5"/>
                    </a:cubicBezTo>
                    <a:cubicBezTo>
                      <a:pt x="0" y="8"/>
                      <a:pt x="2" y="10"/>
                      <a:pt x="4" y="10"/>
                    </a:cubicBezTo>
                    <a:cubicBezTo>
                      <a:pt x="29" y="10"/>
                      <a:pt x="29" y="10"/>
                      <a:pt x="29" y="10"/>
                    </a:cubicBezTo>
                    <a:cubicBezTo>
                      <a:pt x="31" y="10"/>
                      <a:pt x="33" y="8"/>
                      <a:pt x="33" y="5"/>
                    </a:cubicBezTo>
                    <a:cubicBezTo>
                      <a:pt x="33" y="3"/>
                      <a:pt x="31" y="0"/>
                      <a:pt x="2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5" name="Freeform 69">
                <a:extLst>
                  <a:ext uri="{FF2B5EF4-FFF2-40B4-BE49-F238E27FC236}">
                    <a16:creationId xmlns:a16="http://schemas.microsoft.com/office/drawing/2014/main" id="{4F134375-B3EC-9742-BACA-A1949EDEADEF}"/>
                  </a:ext>
                </a:extLst>
              </p:cNvPr>
              <p:cNvSpPr>
                <a:spLocks/>
              </p:cNvSpPr>
              <p:nvPr/>
            </p:nvSpPr>
            <p:spPr bwMode="auto">
              <a:xfrm>
                <a:off x="1741488" y="5451475"/>
                <a:ext cx="76200" cy="76200"/>
              </a:xfrm>
              <a:custGeom>
                <a:avLst/>
                <a:gdLst>
                  <a:gd name="T0" fmla="*/ 29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6 w 31"/>
                  <a:gd name="T19" fmla="*/ 31 h 31"/>
                  <a:gd name="T20" fmla="*/ 9 w 31"/>
                  <a:gd name="T21" fmla="*/ 30 h 31"/>
                  <a:gd name="T22" fmla="*/ 16 w 31"/>
                  <a:gd name="T23" fmla="*/ 23 h 31"/>
                  <a:gd name="T24" fmla="*/ 23 w 31"/>
                  <a:gd name="T25" fmla="*/ 30 h 31"/>
                  <a:gd name="T26" fmla="*/ 26 w 31"/>
                  <a:gd name="T27" fmla="*/ 31 h 31"/>
                  <a:gd name="T28" fmla="*/ 29 w 31"/>
                  <a:gd name="T29" fmla="*/ 30 h 31"/>
                  <a:gd name="T30" fmla="*/ 29 w 31"/>
                  <a:gd name="T31" fmla="*/ 23 h 31"/>
                  <a:gd name="T32" fmla="*/ 23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0"/>
                      <a:pt x="4" y="31"/>
                      <a:pt x="6" y="31"/>
                    </a:cubicBezTo>
                    <a:cubicBezTo>
                      <a:pt x="7" y="31"/>
                      <a:pt x="8" y="30"/>
                      <a:pt x="9" y="30"/>
                    </a:cubicBezTo>
                    <a:cubicBezTo>
                      <a:pt x="16" y="23"/>
                      <a:pt x="16" y="23"/>
                      <a:pt x="16" y="23"/>
                    </a:cubicBezTo>
                    <a:cubicBezTo>
                      <a:pt x="23" y="30"/>
                      <a:pt x="23" y="30"/>
                      <a:pt x="23" y="30"/>
                    </a:cubicBezTo>
                    <a:cubicBezTo>
                      <a:pt x="24" y="30"/>
                      <a:pt x="25" y="31"/>
                      <a:pt x="26" y="31"/>
                    </a:cubicBezTo>
                    <a:cubicBezTo>
                      <a:pt x="27" y="31"/>
                      <a:pt x="29" y="30"/>
                      <a:pt x="29" y="30"/>
                    </a:cubicBezTo>
                    <a:cubicBezTo>
                      <a:pt x="31" y="28"/>
                      <a:pt x="31" y="25"/>
                      <a:pt x="29" y="23"/>
                    </a:cubicBezTo>
                    <a:cubicBezTo>
                      <a:pt x="23" y="16"/>
                      <a:pt x="23" y="16"/>
                      <a:pt x="23"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6" name="Freeform 70">
                <a:extLst>
                  <a:ext uri="{FF2B5EF4-FFF2-40B4-BE49-F238E27FC236}">
                    <a16:creationId xmlns:a16="http://schemas.microsoft.com/office/drawing/2014/main" id="{EB41D0BA-C328-2142-9512-9A3CA86917B6}"/>
                  </a:ext>
                </a:extLst>
              </p:cNvPr>
              <p:cNvSpPr>
                <a:spLocks noEditPoints="1"/>
              </p:cNvSpPr>
              <p:nvPr/>
            </p:nvSpPr>
            <p:spPr bwMode="auto">
              <a:xfrm>
                <a:off x="1631950" y="5456238"/>
                <a:ext cx="74612" cy="71438"/>
              </a:xfrm>
              <a:custGeom>
                <a:avLst/>
                <a:gdLst>
                  <a:gd name="T0" fmla="*/ 25 w 30"/>
                  <a:gd name="T1" fmla="*/ 0 h 29"/>
                  <a:gd name="T2" fmla="*/ 4 w 30"/>
                  <a:gd name="T3" fmla="*/ 0 h 29"/>
                  <a:gd name="T4" fmla="*/ 0 w 30"/>
                  <a:gd name="T5" fmla="*/ 5 h 29"/>
                  <a:gd name="T6" fmla="*/ 0 w 30"/>
                  <a:gd name="T7" fmla="*/ 24 h 29"/>
                  <a:gd name="T8" fmla="*/ 4 w 30"/>
                  <a:gd name="T9" fmla="*/ 29 h 29"/>
                  <a:gd name="T10" fmla="*/ 25 w 30"/>
                  <a:gd name="T11" fmla="*/ 29 h 29"/>
                  <a:gd name="T12" fmla="*/ 30 w 30"/>
                  <a:gd name="T13" fmla="*/ 24 h 29"/>
                  <a:gd name="T14" fmla="*/ 30 w 30"/>
                  <a:gd name="T15" fmla="*/ 5 h 29"/>
                  <a:gd name="T16" fmla="*/ 25 w 30"/>
                  <a:gd name="T17" fmla="*/ 0 h 29"/>
                  <a:gd name="T18" fmla="*/ 21 w 30"/>
                  <a:gd name="T19" fmla="*/ 19 h 29"/>
                  <a:gd name="T20" fmla="*/ 9 w 30"/>
                  <a:gd name="T21" fmla="*/ 19 h 29"/>
                  <a:gd name="T22" fmla="*/ 9 w 30"/>
                  <a:gd name="T23" fmla="*/ 9 h 29"/>
                  <a:gd name="T24" fmla="*/ 21 w 30"/>
                  <a:gd name="T25" fmla="*/ 9 h 29"/>
                  <a:gd name="T26" fmla="*/ 21 w 30"/>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9">
                    <a:moveTo>
                      <a:pt x="25" y="0"/>
                    </a:moveTo>
                    <a:cubicBezTo>
                      <a:pt x="4" y="0"/>
                      <a:pt x="4" y="0"/>
                      <a:pt x="4" y="0"/>
                    </a:cubicBezTo>
                    <a:cubicBezTo>
                      <a:pt x="2" y="0"/>
                      <a:pt x="0" y="2"/>
                      <a:pt x="0" y="5"/>
                    </a:cubicBezTo>
                    <a:cubicBezTo>
                      <a:pt x="0" y="24"/>
                      <a:pt x="0" y="24"/>
                      <a:pt x="0" y="24"/>
                    </a:cubicBezTo>
                    <a:cubicBezTo>
                      <a:pt x="0" y="27"/>
                      <a:pt x="2" y="29"/>
                      <a:pt x="4" y="29"/>
                    </a:cubicBezTo>
                    <a:cubicBezTo>
                      <a:pt x="25" y="29"/>
                      <a:pt x="25" y="29"/>
                      <a:pt x="25" y="29"/>
                    </a:cubicBezTo>
                    <a:cubicBezTo>
                      <a:pt x="28" y="29"/>
                      <a:pt x="30" y="27"/>
                      <a:pt x="30" y="24"/>
                    </a:cubicBezTo>
                    <a:cubicBezTo>
                      <a:pt x="30" y="5"/>
                      <a:pt x="30" y="5"/>
                      <a:pt x="30" y="5"/>
                    </a:cubicBezTo>
                    <a:cubicBezTo>
                      <a:pt x="30" y="2"/>
                      <a:pt x="28" y="0"/>
                      <a:pt x="25"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grpSp>
        <p:nvGrpSpPr>
          <p:cNvPr id="77" name="Group 76">
            <a:extLst>
              <a:ext uri="{FF2B5EF4-FFF2-40B4-BE49-F238E27FC236}">
                <a16:creationId xmlns:a16="http://schemas.microsoft.com/office/drawing/2014/main" id="{CB462BCE-BEA4-1F49-86EF-CE67CBD36752}"/>
              </a:ext>
            </a:extLst>
          </p:cNvPr>
          <p:cNvGrpSpPr/>
          <p:nvPr/>
        </p:nvGrpSpPr>
        <p:grpSpPr>
          <a:xfrm>
            <a:off x="7771331" y="3603612"/>
            <a:ext cx="497776" cy="517982"/>
            <a:chOff x="2711368" y="5371524"/>
            <a:chExt cx="497776" cy="517982"/>
          </a:xfrm>
        </p:grpSpPr>
        <p:sp>
          <p:nvSpPr>
            <p:cNvPr id="79" name="Freeform 77">
              <a:extLst>
                <a:ext uri="{FF2B5EF4-FFF2-40B4-BE49-F238E27FC236}">
                  <a16:creationId xmlns:a16="http://schemas.microsoft.com/office/drawing/2014/main" id="{5C94C9EC-65A6-A141-BEE7-B8B0070E8D98}"/>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0" name="Freeform 244">
              <a:extLst>
                <a:ext uri="{FF2B5EF4-FFF2-40B4-BE49-F238E27FC236}">
                  <a16:creationId xmlns:a16="http://schemas.microsoft.com/office/drawing/2014/main" id="{0B0D82BA-F4E4-524D-83B0-CE6B015A02DA}"/>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5" name="Rectangle 84">
            <a:extLst>
              <a:ext uri="{FF2B5EF4-FFF2-40B4-BE49-F238E27FC236}">
                <a16:creationId xmlns:a16="http://schemas.microsoft.com/office/drawing/2014/main" id="{4ADFC058-9BA3-7A4B-8C88-4329D3A760EC}"/>
              </a:ext>
            </a:extLst>
          </p:cNvPr>
          <p:cNvSpPr/>
          <p:nvPr/>
        </p:nvSpPr>
        <p:spPr>
          <a:xfrm>
            <a:off x="7597841" y="4214258"/>
            <a:ext cx="914400" cy="389584"/>
          </a:xfrm>
          <a:prstGeom prst="rect">
            <a:avLst/>
          </a:prstGeom>
          <a:noFill/>
          <a:ln w="6350" algn="ctr">
            <a:noFill/>
            <a:miter lim="800000"/>
            <a:headEnd type="none" w="sm" len="sm"/>
            <a:tailEnd type="none" w="sm" len="sm"/>
          </a:ln>
        </p:spPr>
        <p:txBody>
          <a:bodyPr wrap="square" lIns="0" tIns="0" rIns="0" bIns="0" anchor="ctr"/>
          <a:lstStyle/>
          <a:p>
            <a:pPr algn="ctr"/>
            <a:r>
              <a:rPr lang="en-US" sz="850"/>
              <a:t>Local Analytics</a:t>
            </a:r>
          </a:p>
        </p:txBody>
      </p:sp>
      <p:grpSp>
        <p:nvGrpSpPr>
          <p:cNvPr id="86" name="Group 85">
            <a:extLst>
              <a:ext uri="{FF2B5EF4-FFF2-40B4-BE49-F238E27FC236}">
                <a16:creationId xmlns:a16="http://schemas.microsoft.com/office/drawing/2014/main" id="{BDD6E590-518A-AE4F-9B31-9972CADC4DF1}"/>
              </a:ext>
            </a:extLst>
          </p:cNvPr>
          <p:cNvGrpSpPr/>
          <p:nvPr/>
        </p:nvGrpSpPr>
        <p:grpSpPr>
          <a:xfrm>
            <a:off x="1365467" y="2354208"/>
            <a:ext cx="1921323" cy="665787"/>
            <a:chOff x="1030518" y="2007240"/>
            <a:chExt cx="1921323" cy="665787"/>
          </a:xfrm>
        </p:grpSpPr>
        <p:sp>
          <p:nvSpPr>
            <p:cNvPr id="87" name="TextBox 86">
              <a:extLst>
                <a:ext uri="{FF2B5EF4-FFF2-40B4-BE49-F238E27FC236}">
                  <a16:creationId xmlns:a16="http://schemas.microsoft.com/office/drawing/2014/main" id="{57824BFE-9BDA-CB42-8C58-1530EFD0BFC6}"/>
                </a:ext>
              </a:extLst>
            </p:cNvPr>
            <p:cNvSpPr txBox="1"/>
            <p:nvPr/>
          </p:nvSpPr>
          <p:spPr>
            <a:xfrm>
              <a:off x="1310410" y="200724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ources</a:t>
              </a:r>
            </a:p>
          </p:txBody>
        </p:sp>
        <p:sp>
          <p:nvSpPr>
            <p:cNvPr id="88" name="TextBox 87">
              <a:extLst>
                <a:ext uri="{FF2B5EF4-FFF2-40B4-BE49-F238E27FC236}">
                  <a16:creationId xmlns:a16="http://schemas.microsoft.com/office/drawing/2014/main" id="{2334E7FB-CAFF-A848-9A53-88605F697163}"/>
                </a:ext>
              </a:extLst>
            </p:cNvPr>
            <p:cNvSpPr txBox="1"/>
            <p:nvPr/>
          </p:nvSpPr>
          <p:spPr>
            <a:xfrm>
              <a:off x="1030518" y="2186177"/>
              <a:ext cx="1921323"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emi-structured, and Structured data ingested from internal/external sources</a:t>
              </a:r>
            </a:p>
          </p:txBody>
        </p:sp>
      </p:grpSp>
      <p:grpSp>
        <p:nvGrpSpPr>
          <p:cNvPr id="90" name="Group 89">
            <a:extLst>
              <a:ext uri="{FF2B5EF4-FFF2-40B4-BE49-F238E27FC236}">
                <a16:creationId xmlns:a16="http://schemas.microsoft.com/office/drawing/2014/main" id="{F769662A-25F0-4242-B83B-07333AE142F3}"/>
              </a:ext>
            </a:extLst>
          </p:cNvPr>
          <p:cNvGrpSpPr/>
          <p:nvPr/>
        </p:nvGrpSpPr>
        <p:grpSpPr>
          <a:xfrm>
            <a:off x="3766428" y="2737083"/>
            <a:ext cx="1508920" cy="713958"/>
            <a:chOff x="3340968" y="2002841"/>
            <a:chExt cx="1508920" cy="713958"/>
          </a:xfrm>
        </p:grpSpPr>
        <p:sp>
          <p:nvSpPr>
            <p:cNvPr id="92" name="TextBox 91">
              <a:extLst>
                <a:ext uri="{FF2B5EF4-FFF2-40B4-BE49-F238E27FC236}">
                  <a16:creationId xmlns:a16="http://schemas.microsoft.com/office/drawing/2014/main" id="{F3E72F20-0E86-9442-B753-CEAC99AA3B6E}"/>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Ingestion Service</a:t>
              </a:r>
            </a:p>
          </p:txBody>
        </p:sp>
        <p:sp>
          <p:nvSpPr>
            <p:cNvPr id="94" name="TextBox 93">
              <a:extLst>
                <a:ext uri="{FF2B5EF4-FFF2-40B4-BE49-F238E27FC236}">
                  <a16:creationId xmlns:a16="http://schemas.microsoft.com/office/drawing/2014/main" id="{25FE308E-04A3-A84F-A867-B675469DB521}"/>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Ingestion pipeline must transform data into structured schema</a:t>
              </a:r>
            </a:p>
          </p:txBody>
        </p:sp>
      </p:grpSp>
      <p:grpSp>
        <p:nvGrpSpPr>
          <p:cNvPr id="95" name="Group 94">
            <a:extLst>
              <a:ext uri="{FF2B5EF4-FFF2-40B4-BE49-F238E27FC236}">
                <a16:creationId xmlns:a16="http://schemas.microsoft.com/office/drawing/2014/main" id="{D83204F8-B896-124C-8FF9-8C5ECED8366C}"/>
              </a:ext>
            </a:extLst>
          </p:cNvPr>
          <p:cNvGrpSpPr/>
          <p:nvPr/>
        </p:nvGrpSpPr>
        <p:grpSpPr>
          <a:xfrm>
            <a:off x="5508076" y="2779109"/>
            <a:ext cx="1756474" cy="751513"/>
            <a:chOff x="5302152" y="1990215"/>
            <a:chExt cx="1756474" cy="751513"/>
          </a:xfrm>
        </p:grpSpPr>
        <p:sp>
          <p:nvSpPr>
            <p:cNvPr id="96" name="TextBox 95">
              <a:extLst>
                <a:ext uri="{FF2B5EF4-FFF2-40B4-BE49-F238E27FC236}">
                  <a16:creationId xmlns:a16="http://schemas.microsoft.com/office/drawing/2014/main" id="{89105FE7-AB3C-DB4B-AD38-75CF721599DD}"/>
                </a:ext>
              </a:extLst>
            </p:cNvPr>
            <p:cNvSpPr txBox="1"/>
            <p:nvPr/>
          </p:nvSpPr>
          <p:spPr>
            <a:xfrm>
              <a:off x="5396764" y="1990215"/>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torage</a:t>
              </a:r>
            </a:p>
          </p:txBody>
        </p:sp>
        <p:sp>
          <p:nvSpPr>
            <p:cNvPr id="97" name="TextBox 96">
              <a:extLst>
                <a:ext uri="{FF2B5EF4-FFF2-40B4-BE49-F238E27FC236}">
                  <a16:creationId xmlns:a16="http://schemas.microsoft.com/office/drawing/2014/main" id="{7AD5AD5A-A4C7-ED4E-AF6B-FC809CBEECBE}"/>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Enterprise data warehouse for data mart, shared by Applications and Analytics</a:t>
              </a:r>
            </a:p>
          </p:txBody>
        </p:sp>
      </p:grpSp>
      <p:grpSp>
        <p:nvGrpSpPr>
          <p:cNvPr id="98" name="Group 97">
            <a:extLst>
              <a:ext uri="{FF2B5EF4-FFF2-40B4-BE49-F238E27FC236}">
                <a16:creationId xmlns:a16="http://schemas.microsoft.com/office/drawing/2014/main" id="{8D20D01A-66EF-6F4A-9D38-281C2C3D1D44}"/>
              </a:ext>
            </a:extLst>
          </p:cNvPr>
          <p:cNvGrpSpPr/>
          <p:nvPr/>
        </p:nvGrpSpPr>
        <p:grpSpPr>
          <a:xfrm>
            <a:off x="7194794" y="2783802"/>
            <a:ext cx="1756474" cy="791158"/>
            <a:chOff x="7386994" y="1990138"/>
            <a:chExt cx="1756474" cy="791158"/>
          </a:xfrm>
        </p:grpSpPr>
        <p:sp>
          <p:nvSpPr>
            <p:cNvPr id="99" name="TextBox 98">
              <a:extLst>
                <a:ext uri="{FF2B5EF4-FFF2-40B4-BE49-F238E27FC236}">
                  <a16:creationId xmlns:a16="http://schemas.microsoft.com/office/drawing/2014/main" id="{9713776B-A342-2949-888E-1F6FF7DD8DC8}"/>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Analytics</a:t>
              </a:r>
            </a:p>
          </p:txBody>
        </p:sp>
        <p:sp>
          <p:nvSpPr>
            <p:cNvPr id="100" name="TextBox 99">
              <a:extLst>
                <a:ext uri="{FF2B5EF4-FFF2-40B4-BE49-F238E27FC236}">
                  <a16:creationId xmlns:a16="http://schemas.microsoft.com/office/drawing/2014/main" id="{E657CA34-4C8E-8849-8D70-4E5FD2106237}"/>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Analytics must be completed locally</a:t>
              </a:r>
            </a:p>
          </p:txBody>
        </p:sp>
      </p:grpSp>
      <p:grpSp>
        <p:nvGrpSpPr>
          <p:cNvPr id="102" name="Group 101">
            <a:extLst>
              <a:ext uri="{FF2B5EF4-FFF2-40B4-BE49-F238E27FC236}">
                <a16:creationId xmlns:a16="http://schemas.microsoft.com/office/drawing/2014/main" id="{B6250D37-E9FF-C34D-A9B9-37F2AA98C7CE}"/>
              </a:ext>
            </a:extLst>
          </p:cNvPr>
          <p:cNvGrpSpPr/>
          <p:nvPr/>
        </p:nvGrpSpPr>
        <p:grpSpPr>
          <a:xfrm>
            <a:off x="10100243" y="3486741"/>
            <a:ext cx="1761826" cy="728454"/>
            <a:chOff x="9478690" y="2325056"/>
            <a:chExt cx="1761826" cy="728454"/>
          </a:xfrm>
        </p:grpSpPr>
        <p:sp>
          <p:nvSpPr>
            <p:cNvPr id="103" name="TextBox 102">
              <a:extLst>
                <a:ext uri="{FF2B5EF4-FFF2-40B4-BE49-F238E27FC236}">
                  <a16:creationId xmlns:a16="http://schemas.microsoft.com/office/drawing/2014/main" id="{8E971E48-EEF8-7B4D-A39B-CC915E4CDAE4}"/>
                </a:ext>
              </a:extLst>
            </p:cNvPr>
            <p:cNvSpPr txBox="1"/>
            <p:nvPr/>
          </p:nvSpPr>
          <p:spPr>
            <a:xfrm>
              <a:off x="9478690" y="2325056"/>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ystems and End-Users</a:t>
              </a:r>
            </a:p>
          </p:txBody>
        </p:sp>
        <p:sp>
          <p:nvSpPr>
            <p:cNvPr id="104" name="TextBox 103">
              <a:extLst>
                <a:ext uri="{FF2B5EF4-FFF2-40B4-BE49-F238E27FC236}">
                  <a16:creationId xmlns:a16="http://schemas.microsoft.com/office/drawing/2014/main" id="{7FA9DFFC-A588-C84E-B30B-0B6F00511823}"/>
                </a:ext>
              </a:extLst>
            </p:cNvPr>
            <p:cNvSpPr txBox="1"/>
            <p:nvPr/>
          </p:nvSpPr>
          <p:spPr>
            <a:xfrm>
              <a:off x="9484042" y="2521925"/>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ustom systems or reporting/visualization tools can  access data services or storage. </a:t>
              </a:r>
            </a:p>
          </p:txBody>
        </p:sp>
      </p:grpSp>
      <p:grpSp>
        <p:nvGrpSpPr>
          <p:cNvPr id="105" name="Group 104">
            <a:extLst>
              <a:ext uri="{FF2B5EF4-FFF2-40B4-BE49-F238E27FC236}">
                <a16:creationId xmlns:a16="http://schemas.microsoft.com/office/drawing/2014/main" id="{2B749159-5255-9A4A-AB8D-BE35964A7A6C}"/>
              </a:ext>
            </a:extLst>
          </p:cNvPr>
          <p:cNvGrpSpPr/>
          <p:nvPr/>
        </p:nvGrpSpPr>
        <p:grpSpPr>
          <a:xfrm>
            <a:off x="4345788" y="4631427"/>
            <a:ext cx="497776" cy="517982"/>
            <a:chOff x="1742992" y="3606769"/>
            <a:chExt cx="497776" cy="517982"/>
          </a:xfrm>
        </p:grpSpPr>
        <p:grpSp>
          <p:nvGrpSpPr>
            <p:cNvPr id="106" name="Group 105">
              <a:extLst>
                <a:ext uri="{FF2B5EF4-FFF2-40B4-BE49-F238E27FC236}">
                  <a16:creationId xmlns:a16="http://schemas.microsoft.com/office/drawing/2014/main" id="{6339E5CE-0EB4-BC49-8920-E9C319CB2607}"/>
                </a:ext>
              </a:extLst>
            </p:cNvPr>
            <p:cNvGrpSpPr/>
            <p:nvPr/>
          </p:nvGrpSpPr>
          <p:grpSpPr>
            <a:xfrm>
              <a:off x="1822814" y="3690402"/>
              <a:ext cx="350704" cy="350704"/>
              <a:chOff x="5562600" y="4875213"/>
              <a:chExt cx="790575" cy="790575"/>
            </a:xfrm>
          </p:grpSpPr>
          <p:sp>
            <p:nvSpPr>
              <p:cNvPr id="108" name="Freeform 55">
                <a:extLst>
                  <a:ext uri="{FF2B5EF4-FFF2-40B4-BE49-F238E27FC236}">
                    <a16:creationId xmlns:a16="http://schemas.microsoft.com/office/drawing/2014/main" id="{1F3BF54F-24F9-B348-9F4F-D13AB8BD255C}"/>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0" name="Freeform 56">
                <a:extLst>
                  <a:ext uri="{FF2B5EF4-FFF2-40B4-BE49-F238E27FC236}">
                    <a16:creationId xmlns:a16="http://schemas.microsoft.com/office/drawing/2014/main" id="{D0C46605-5F20-6349-B35D-60361DF0A1CD}"/>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7" name="Freeform 244">
              <a:extLst>
                <a:ext uri="{FF2B5EF4-FFF2-40B4-BE49-F238E27FC236}">
                  <a16:creationId xmlns:a16="http://schemas.microsoft.com/office/drawing/2014/main" id="{A4643E3A-B3D3-6142-9ADF-AB5C31D74F5B}"/>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2" name="Rectangle 111">
            <a:extLst>
              <a:ext uri="{FF2B5EF4-FFF2-40B4-BE49-F238E27FC236}">
                <a16:creationId xmlns:a16="http://schemas.microsoft.com/office/drawing/2014/main" id="{D6DC9AD3-6800-0345-9AFD-71DAEB6C1191}"/>
              </a:ext>
            </a:extLst>
          </p:cNvPr>
          <p:cNvSpPr/>
          <p:nvPr/>
        </p:nvSpPr>
        <p:spPr>
          <a:xfrm>
            <a:off x="4137476" y="5256451"/>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ETL Scripts</a:t>
            </a:r>
          </a:p>
        </p:txBody>
      </p:sp>
      <p:cxnSp>
        <p:nvCxnSpPr>
          <p:cNvPr id="113" name="Straight Connector 74">
            <a:extLst>
              <a:ext uri="{FF2B5EF4-FFF2-40B4-BE49-F238E27FC236}">
                <a16:creationId xmlns:a16="http://schemas.microsoft.com/office/drawing/2014/main" id="{4EB8DF16-BE66-7243-BC10-BA0BA5C635A8}"/>
              </a:ext>
            </a:extLst>
          </p:cNvPr>
          <p:cNvCxnSpPr>
            <a:cxnSpLocks/>
            <a:endCxn id="78" idx="2"/>
          </p:cNvCxnSpPr>
          <p:nvPr/>
        </p:nvCxnSpPr>
        <p:spPr>
          <a:xfrm rot="16200000" flipV="1">
            <a:off x="4387075" y="4362520"/>
            <a:ext cx="361236" cy="1"/>
          </a:xfrm>
          <a:prstGeom prst="bentConnector3">
            <a:avLst>
              <a:gd name="adj1" fmla="val 50000"/>
            </a:avLst>
          </a:prstGeom>
          <a:noFill/>
          <a:ln w="22225" cmpd="sng">
            <a:solidFill>
              <a:srgbClr val="D6D6D6"/>
            </a:solidFill>
            <a:prstDash val="sysDash"/>
            <a:tailEnd type="none"/>
          </a:ln>
          <a:effectLst/>
        </p:spPr>
      </p:cxnSp>
      <p:grpSp>
        <p:nvGrpSpPr>
          <p:cNvPr id="123" name="Group 122">
            <a:extLst>
              <a:ext uri="{FF2B5EF4-FFF2-40B4-BE49-F238E27FC236}">
                <a16:creationId xmlns:a16="http://schemas.microsoft.com/office/drawing/2014/main" id="{92255711-A969-D443-A33E-697E64ECE681}"/>
              </a:ext>
            </a:extLst>
          </p:cNvPr>
          <p:cNvGrpSpPr/>
          <p:nvPr/>
        </p:nvGrpSpPr>
        <p:grpSpPr>
          <a:xfrm>
            <a:off x="3813232" y="5677699"/>
            <a:ext cx="1508920" cy="713958"/>
            <a:chOff x="3340968" y="2002841"/>
            <a:chExt cx="1508920" cy="713958"/>
          </a:xfrm>
        </p:grpSpPr>
        <p:sp>
          <p:nvSpPr>
            <p:cNvPr id="124" name="TextBox 123">
              <a:extLst>
                <a:ext uri="{FF2B5EF4-FFF2-40B4-BE49-F238E27FC236}">
                  <a16:creationId xmlns:a16="http://schemas.microsoft.com/office/drawing/2014/main" id="{F3C51ECF-A62B-5B45-9D08-C66F14E923F3}"/>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Manual Scripting</a:t>
              </a:r>
            </a:p>
          </p:txBody>
        </p:sp>
        <p:sp>
          <p:nvSpPr>
            <p:cNvPr id="126" name="TextBox 125">
              <a:extLst>
                <a:ext uri="{FF2B5EF4-FFF2-40B4-BE49-F238E27FC236}">
                  <a16:creationId xmlns:a16="http://schemas.microsoft.com/office/drawing/2014/main" id="{2BB6BF26-656C-B74A-BBAE-55CBB882F2F8}"/>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All ETL pipelines must have coded ETL scripts</a:t>
              </a:r>
            </a:p>
          </p:txBody>
        </p:sp>
      </p:grpSp>
    </p:spTree>
    <p:extLst>
      <p:ext uri="{BB962C8B-B14F-4D97-AF65-F5344CB8AC3E}">
        <p14:creationId xmlns:p14="http://schemas.microsoft.com/office/powerpoint/2010/main" val="1852403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6F96-D6BB-DD40-AD3C-8C50B0DFF80B}"/>
              </a:ext>
            </a:extLst>
          </p:cNvPr>
          <p:cNvSpPr>
            <a:spLocks noGrp="1"/>
          </p:cNvSpPr>
          <p:nvPr>
            <p:ph type="title"/>
          </p:nvPr>
        </p:nvSpPr>
        <p:spPr/>
        <p:txBody>
          <a:bodyPr/>
          <a:lstStyle/>
          <a:p>
            <a:r>
              <a:rPr lang="en-US" sz="3600"/>
              <a:t>Future State: Conceptual Architecture </a:t>
            </a:r>
          </a:p>
        </p:txBody>
      </p:sp>
      <p:sp>
        <p:nvSpPr>
          <p:cNvPr id="3" name="Text Placeholder 2">
            <a:extLst>
              <a:ext uri="{FF2B5EF4-FFF2-40B4-BE49-F238E27FC236}">
                <a16:creationId xmlns:a16="http://schemas.microsoft.com/office/drawing/2014/main" id="{55A542F2-16B2-CA4B-B517-41841A0589DB}"/>
              </a:ext>
            </a:extLst>
          </p:cNvPr>
          <p:cNvSpPr>
            <a:spLocks noGrp="1"/>
          </p:cNvSpPr>
          <p:nvPr>
            <p:ph type="body" sz="quarter" idx="14"/>
          </p:nvPr>
        </p:nvSpPr>
        <p:spPr/>
        <p:txBody>
          <a:bodyPr/>
          <a:lstStyle/>
          <a:p>
            <a:r>
              <a:rPr lang="en-US"/>
              <a:t>Utilize cloud native services to enable scalable storage for diverse datasets and analytic capabilities. Leverage compute, catalog, search, and reporting/visualization services to accelerate to market</a:t>
            </a:r>
          </a:p>
        </p:txBody>
      </p:sp>
      <p:sp>
        <p:nvSpPr>
          <p:cNvPr id="4" name="Text Placeholder 3">
            <a:extLst>
              <a:ext uri="{FF2B5EF4-FFF2-40B4-BE49-F238E27FC236}">
                <a16:creationId xmlns:a16="http://schemas.microsoft.com/office/drawing/2014/main" id="{3C859B21-3D68-FF40-BEEF-C399A4528C43}"/>
              </a:ext>
            </a:extLst>
          </p:cNvPr>
          <p:cNvSpPr>
            <a:spLocks noGrp="1"/>
          </p:cNvSpPr>
          <p:nvPr>
            <p:ph type="body" sz="quarter" idx="15"/>
          </p:nvPr>
        </p:nvSpPr>
        <p:spPr/>
        <p:txBody>
          <a:bodyPr/>
          <a:lstStyle/>
          <a:p>
            <a:r>
              <a:rPr lang="en-US"/>
              <a:t>Key Goals</a:t>
            </a:r>
          </a:p>
        </p:txBody>
      </p:sp>
      <p:sp>
        <p:nvSpPr>
          <p:cNvPr id="26" name="Rectangle 25">
            <a:extLst>
              <a:ext uri="{FF2B5EF4-FFF2-40B4-BE49-F238E27FC236}">
                <a16:creationId xmlns:a16="http://schemas.microsoft.com/office/drawing/2014/main" id="{93975108-787E-DC47-A436-53E74110C775}"/>
              </a:ext>
            </a:extLst>
          </p:cNvPr>
          <p:cNvSpPr/>
          <p:nvPr/>
        </p:nvSpPr>
        <p:spPr>
          <a:xfrm>
            <a:off x="7786419" y="4271279"/>
            <a:ext cx="914400" cy="284117"/>
          </a:xfrm>
          <a:prstGeom prst="rect">
            <a:avLst/>
          </a:prstGeom>
          <a:noFill/>
          <a:ln w="6350" algn="ctr">
            <a:noFill/>
            <a:miter lim="800000"/>
            <a:headEnd type="none" w="sm" len="sm"/>
            <a:tailEnd type="none" w="sm" len="sm"/>
          </a:ln>
        </p:spPr>
        <p:txBody>
          <a:bodyPr wrap="square" lIns="0" tIns="0" rIns="0" bIns="0" anchor="ctr"/>
          <a:lstStyle/>
          <a:p>
            <a:pPr algn="ctr"/>
            <a:r>
              <a:rPr lang="en-US" sz="850"/>
              <a:t>Data Catalog</a:t>
            </a:r>
          </a:p>
        </p:txBody>
      </p:sp>
      <p:sp>
        <p:nvSpPr>
          <p:cNvPr id="27" name="Rectangle 26">
            <a:extLst>
              <a:ext uri="{FF2B5EF4-FFF2-40B4-BE49-F238E27FC236}">
                <a16:creationId xmlns:a16="http://schemas.microsoft.com/office/drawing/2014/main" id="{E49F03CE-6668-424E-9DE7-E6EC9AD65113}"/>
              </a:ext>
            </a:extLst>
          </p:cNvPr>
          <p:cNvSpPr/>
          <p:nvPr/>
        </p:nvSpPr>
        <p:spPr>
          <a:xfrm>
            <a:off x="3617746" y="4281404"/>
            <a:ext cx="1000752" cy="462977"/>
          </a:xfrm>
          <a:prstGeom prst="rect">
            <a:avLst/>
          </a:prstGeom>
          <a:noFill/>
          <a:ln w="6350" algn="ctr">
            <a:noFill/>
            <a:miter lim="800000"/>
            <a:headEnd type="none" w="sm" len="sm"/>
            <a:tailEnd type="none" w="sm" len="sm"/>
          </a:ln>
        </p:spPr>
        <p:txBody>
          <a:bodyPr wrap="square" lIns="0" tIns="0" rIns="0" bIns="0" anchor="ctr"/>
          <a:lstStyle/>
          <a:p>
            <a:pPr algn="ctr"/>
            <a:r>
              <a:rPr lang="en-US" sz="850"/>
              <a:t>Data Orchestration  Pipeline</a:t>
            </a:r>
          </a:p>
        </p:txBody>
      </p:sp>
      <p:cxnSp>
        <p:nvCxnSpPr>
          <p:cNvPr id="28" name="Straight Connector 74">
            <a:extLst>
              <a:ext uri="{FF2B5EF4-FFF2-40B4-BE49-F238E27FC236}">
                <a16:creationId xmlns:a16="http://schemas.microsoft.com/office/drawing/2014/main" id="{E7D73830-D2AD-C343-9B41-8874A84525A6}"/>
              </a:ext>
            </a:extLst>
          </p:cNvPr>
          <p:cNvCxnSpPr>
            <a:cxnSpLocks/>
          </p:cNvCxnSpPr>
          <p:nvPr/>
        </p:nvCxnSpPr>
        <p:spPr>
          <a:xfrm flipV="1">
            <a:off x="2280038" y="3999818"/>
            <a:ext cx="1456571" cy="10353"/>
          </a:xfrm>
          <a:prstGeom prst="bentConnector3">
            <a:avLst>
              <a:gd name="adj1" fmla="val 50000"/>
            </a:avLst>
          </a:prstGeom>
          <a:noFill/>
          <a:ln w="22225" cmpd="sng">
            <a:solidFill>
              <a:srgbClr val="D6D6D6"/>
            </a:solidFill>
            <a:tailEnd type="triangle"/>
          </a:ln>
          <a:effectLst/>
        </p:spPr>
      </p:cxnSp>
      <p:cxnSp>
        <p:nvCxnSpPr>
          <p:cNvPr id="29" name="Straight Connector 74">
            <a:extLst>
              <a:ext uri="{FF2B5EF4-FFF2-40B4-BE49-F238E27FC236}">
                <a16:creationId xmlns:a16="http://schemas.microsoft.com/office/drawing/2014/main" id="{90ADB5BA-6AAD-9744-88E1-798097B04CE6}"/>
              </a:ext>
            </a:extLst>
          </p:cNvPr>
          <p:cNvCxnSpPr>
            <a:cxnSpLocks/>
          </p:cNvCxnSpPr>
          <p:nvPr/>
        </p:nvCxnSpPr>
        <p:spPr>
          <a:xfrm flipV="1">
            <a:off x="2299917" y="3997437"/>
            <a:ext cx="1438308" cy="884585"/>
          </a:xfrm>
          <a:prstGeom prst="bentConnector3">
            <a:avLst>
              <a:gd name="adj1" fmla="val 50000"/>
            </a:avLst>
          </a:prstGeom>
          <a:noFill/>
          <a:ln w="22225" cmpd="sng">
            <a:solidFill>
              <a:srgbClr val="D6D6D6"/>
            </a:solidFill>
            <a:tailEnd type="triangle"/>
          </a:ln>
          <a:effectLst/>
        </p:spPr>
      </p:cxnSp>
      <p:cxnSp>
        <p:nvCxnSpPr>
          <p:cNvPr id="30" name="Straight Connector 74">
            <a:extLst>
              <a:ext uri="{FF2B5EF4-FFF2-40B4-BE49-F238E27FC236}">
                <a16:creationId xmlns:a16="http://schemas.microsoft.com/office/drawing/2014/main" id="{CCA99453-FC98-F64B-8812-86DF19D25B23}"/>
              </a:ext>
            </a:extLst>
          </p:cNvPr>
          <p:cNvCxnSpPr>
            <a:cxnSpLocks/>
          </p:cNvCxnSpPr>
          <p:nvPr/>
        </p:nvCxnSpPr>
        <p:spPr>
          <a:xfrm>
            <a:off x="4368507" y="3996977"/>
            <a:ext cx="1352744" cy="564367"/>
          </a:xfrm>
          <a:prstGeom prst="bentConnector3">
            <a:avLst>
              <a:gd name="adj1" fmla="val 50000"/>
            </a:avLst>
          </a:prstGeom>
          <a:noFill/>
          <a:ln w="22225" cmpd="sng">
            <a:solidFill>
              <a:srgbClr val="D6D6D6"/>
            </a:solidFill>
            <a:tailEnd type="triangle"/>
          </a:ln>
          <a:effectLst/>
        </p:spPr>
      </p:cxnSp>
      <p:sp>
        <p:nvSpPr>
          <p:cNvPr id="31" name="Rectangle 30">
            <a:extLst>
              <a:ext uri="{FF2B5EF4-FFF2-40B4-BE49-F238E27FC236}">
                <a16:creationId xmlns:a16="http://schemas.microsoft.com/office/drawing/2014/main" id="{7A70AED6-ECE1-BC4F-998E-84AC3554F47A}"/>
              </a:ext>
            </a:extLst>
          </p:cNvPr>
          <p:cNvSpPr/>
          <p:nvPr/>
        </p:nvSpPr>
        <p:spPr>
          <a:xfrm>
            <a:off x="1511323" y="4250627"/>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Provider APIs</a:t>
            </a:r>
          </a:p>
        </p:txBody>
      </p:sp>
      <p:sp>
        <p:nvSpPr>
          <p:cNvPr id="32" name="Rectangle 31">
            <a:extLst>
              <a:ext uri="{FF2B5EF4-FFF2-40B4-BE49-F238E27FC236}">
                <a16:creationId xmlns:a16="http://schemas.microsoft.com/office/drawing/2014/main" id="{7C6E2905-E8DA-B34B-8CBD-B671DDCA5FAD}"/>
              </a:ext>
            </a:extLst>
          </p:cNvPr>
          <p:cNvSpPr/>
          <p:nvPr/>
        </p:nvSpPr>
        <p:spPr>
          <a:xfrm>
            <a:off x="1513115" y="5195380"/>
            <a:ext cx="914400" cy="155187"/>
          </a:xfrm>
          <a:prstGeom prst="rect">
            <a:avLst/>
          </a:prstGeom>
          <a:noFill/>
          <a:ln w="6350" algn="ctr">
            <a:noFill/>
            <a:miter lim="800000"/>
            <a:headEnd type="none" w="sm" len="sm"/>
            <a:tailEnd type="none" w="sm" len="sm"/>
          </a:ln>
        </p:spPr>
        <p:txBody>
          <a:bodyPr wrap="square" lIns="0" tIns="0" rIns="0" bIns="0" anchor="ctr"/>
          <a:lstStyle/>
          <a:p>
            <a:pPr algn="ctr"/>
            <a:r>
              <a:rPr lang="en-US" sz="850"/>
              <a:t>Batch</a:t>
            </a:r>
          </a:p>
        </p:txBody>
      </p:sp>
      <p:sp>
        <p:nvSpPr>
          <p:cNvPr id="33" name="Rectangle 32">
            <a:extLst>
              <a:ext uri="{FF2B5EF4-FFF2-40B4-BE49-F238E27FC236}">
                <a16:creationId xmlns:a16="http://schemas.microsoft.com/office/drawing/2014/main" id="{C0EFB6F1-DFB5-EE47-B2A0-6845C7A6923B}"/>
              </a:ext>
            </a:extLst>
          </p:cNvPr>
          <p:cNvSpPr/>
          <p:nvPr/>
        </p:nvSpPr>
        <p:spPr>
          <a:xfrm>
            <a:off x="1506815" y="3382049"/>
            <a:ext cx="914400" cy="184677"/>
          </a:xfrm>
          <a:prstGeom prst="rect">
            <a:avLst/>
          </a:prstGeom>
          <a:noFill/>
          <a:ln w="6350" algn="ctr">
            <a:noFill/>
            <a:miter lim="800000"/>
            <a:headEnd type="none" w="sm" len="sm"/>
            <a:tailEnd type="none" w="sm" len="sm"/>
          </a:ln>
        </p:spPr>
        <p:txBody>
          <a:bodyPr wrap="square" lIns="0" tIns="0" rIns="0" bIns="0" anchor="ctr"/>
          <a:lstStyle/>
          <a:p>
            <a:pPr algn="ctr"/>
            <a:r>
              <a:rPr lang="en-US" sz="850"/>
              <a:t>Stream Data</a:t>
            </a:r>
          </a:p>
        </p:txBody>
      </p:sp>
      <p:sp>
        <p:nvSpPr>
          <p:cNvPr id="34" name="Rectangle 33">
            <a:extLst>
              <a:ext uri="{FF2B5EF4-FFF2-40B4-BE49-F238E27FC236}">
                <a16:creationId xmlns:a16="http://schemas.microsoft.com/office/drawing/2014/main" id="{FBC804E9-8A3A-7F4E-B5A9-5332205D75C2}"/>
              </a:ext>
            </a:extLst>
          </p:cNvPr>
          <p:cNvSpPr/>
          <p:nvPr/>
        </p:nvSpPr>
        <p:spPr>
          <a:xfrm>
            <a:off x="5578633" y="4837100"/>
            <a:ext cx="914400" cy="176109"/>
          </a:xfrm>
          <a:prstGeom prst="rect">
            <a:avLst/>
          </a:prstGeom>
          <a:noFill/>
          <a:ln w="6350" algn="ctr">
            <a:noFill/>
            <a:miter lim="800000"/>
            <a:headEnd type="none" w="sm" len="sm"/>
            <a:tailEnd type="none" w="sm" len="sm"/>
          </a:ln>
        </p:spPr>
        <p:txBody>
          <a:bodyPr wrap="square" lIns="0" tIns="0" rIns="0" bIns="0" anchor="ctr"/>
          <a:lstStyle/>
          <a:p>
            <a:pPr algn="ctr"/>
            <a:r>
              <a:rPr lang="en-US" sz="850"/>
              <a:t>Big Data Storage</a:t>
            </a:r>
          </a:p>
        </p:txBody>
      </p:sp>
      <p:sp>
        <p:nvSpPr>
          <p:cNvPr id="35" name="Rectangle 34">
            <a:extLst>
              <a:ext uri="{FF2B5EF4-FFF2-40B4-BE49-F238E27FC236}">
                <a16:creationId xmlns:a16="http://schemas.microsoft.com/office/drawing/2014/main" id="{18F1E03E-8F87-0942-A540-F5199939F3BB}"/>
              </a:ext>
            </a:extLst>
          </p:cNvPr>
          <p:cNvSpPr/>
          <p:nvPr/>
        </p:nvSpPr>
        <p:spPr>
          <a:xfrm>
            <a:off x="5594267" y="3896459"/>
            <a:ext cx="914400" cy="201307"/>
          </a:xfrm>
          <a:prstGeom prst="rect">
            <a:avLst/>
          </a:prstGeom>
          <a:noFill/>
          <a:ln w="6350" algn="ctr">
            <a:noFill/>
            <a:miter lim="800000"/>
            <a:headEnd type="none" w="sm" len="sm"/>
            <a:tailEnd type="none" w="sm" len="sm"/>
          </a:ln>
        </p:spPr>
        <p:txBody>
          <a:bodyPr wrap="square" lIns="0" tIns="0" rIns="0" bIns="0" anchor="ctr"/>
          <a:lstStyle/>
          <a:p>
            <a:pPr algn="ctr"/>
            <a:r>
              <a:rPr lang="en-US" sz="850"/>
              <a:t>Data Warehouse</a:t>
            </a:r>
          </a:p>
        </p:txBody>
      </p:sp>
      <p:sp>
        <p:nvSpPr>
          <p:cNvPr id="36" name="Rectangle 35">
            <a:extLst>
              <a:ext uri="{FF2B5EF4-FFF2-40B4-BE49-F238E27FC236}">
                <a16:creationId xmlns:a16="http://schemas.microsoft.com/office/drawing/2014/main" id="{BA1568D4-8A30-B142-B13B-D1EC69C36E1C}"/>
              </a:ext>
            </a:extLst>
          </p:cNvPr>
          <p:cNvSpPr/>
          <p:nvPr/>
        </p:nvSpPr>
        <p:spPr>
          <a:xfrm>
            <a:off x="7785399" y="3241122"/>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Analytic Platform</a:t>
            </a:r>
          </a:p>
        </p:txBody>
      </p:sp>
      <p:cxnSp>
        <p:nvCxnSpPr>
          <p:cNvPr id="37" name="Straight Connector 74">
            <a:extLst>
              <a:ext uri="{FF2B5EF4-FFF2-40B4-BE49-F238E27FC236}">
                <a16:creationId xmlns:a16="http://schemas.microsoft.com/office/drawing/2014/main" id="{2E9C1E03-089B-F94B-B6E9-99314F21BEBB}"/>
              </a:ext>
            </a:extLst>
          </p:cNvPr>
          <p:cNvCxnSpPr>
            <a:cxnSpLocks/>
          </p:cNvCxnSpPr>
          <p:nvPr/>
        </p:nvCxnSpPr>
        <p:spPr>
          <a:xfrm flipV="1">
            <a:off x="4368507" y="3607758"/>
            <a:ext cx="1348630" cy="389219"/>
          </a:xfrm>
          <a:prstGeom prst="bentConnector3">
            <a:avLst>
              <a:gd name="adj1" fmla="val 50000"/>
            </a:avLst>
          </a:prstGeom>
          <a:noFill/>
          <a:ln w="22225" cmpd="sng">
            <a:solidFill>
              <a:srgbClr val="D6D6D6"/>
            </a:solidFill>
            <a:tailEnd type="triangle"/>
          </a:ln>
          <a:effectLst/>
        </p:spPr>
      </p:cxnSp>
      <p:cxnSp>
        <p:nvCxnSpPr>
          <p:cNvPr id="38" name="Straight Connector 74">
            <a:extLst>
              <a:ext uri="{FF2B5EF4-FFF2-40B4-BE49-F238E27FC236}">
                <a16:creationId xmlns:a16="http://schemas.microsoft.com/office/drawing/2014/main" id="{A52ECCEE-C5F9-7849-A7ED-BF419FAF0937}"/>
              </a:ext>
            </a:extLst>
          </p:cNvPr>
          <p:cNvCxnSpPr>
            <a:cxnSpLocks/>
          </p:cNvCxnSpPr>
          <p:nvPr/>
        </p:nvCxnSpPr>
        <p:spPr>
          <a:xfrm>
            <a:off x="2280286" y="3087726"/>
            <a:ext cx="1456323" cy="909251"/>
          </a:xfrm>
          <a:prstGeom prst="bentConnector3">
            <a:avLst>
              <a:gd name="adj1" fmla="val 50000"/>
            </a:avLst>
          </a:prstGeom>
          <a:noFill/>
          <a:ln w="22225" cmpd="sng">
            <a:solidFill>
              <a:srgbClr val="D6D6D6"/>
            </a:solidFill>
            <a:tailEnd type="triangle"/>
          </a:ln>
          <a:effectLst/>
        </p:spPr>
      </p:cxnSp>
      <p:sp>
        <p:nvSpPr>
          <p:cNvPr id="39" name="Rectangle 38">
            <a:extLst>
              <a:ext uri="{FF2B5EF4-FFF2-40B4-BE49-F238E27FC236}">
                <a16:creationId xmlns:a16="http://schemas.microsoft.com/office/drawing/2014/main" id="{B5BB4F0D-D387-3340-BDD7-443EAA32B857}"/>
              </a:ext>
            </a:extLst>
          </p:cNvPr>
          <p:cNvSpPr/>
          <p:nvPr/>
        </p:nvSpPr>
        <p:spPr>
          <a:xfrm>
            <a:off x="9898284" y="4246397"/>
            <a:ext cx="914400" cy="316441"/>
          </a:xfrm>
          <a:prstGeom prst="rect">
            <a:avLst/>
          </a:prstGeom>
          <a:noFill/>
          <a:ln w="6350" algn="ctr">
            <a:noFill/>
            <a:miter lim="800000"/>
            <a:headEnd type="none" w="sm" len="sm"/>
            <a:tailEnd type="none" w="sm" len="sm"/>
          </a:ln>
        </p:spPr>
        <p:txBody>
          <a:bodyPr wrap="square" lIns="0" tIns="0" rIns="0" bIns="0" anchor="ctr"/>
          <a:lstStyle/>
          <a:p>
            <a:pPr algn="ctr"/>
            <a:r>
              <a:rPr lang="en-US" sz="850"/>
              <a:t>Data Reporting &amp; Visualizations</a:t>
            </a:r>
          </a:p>
        </p:txBody>
      </p:sp>
      <p:cxnSp>
        <p:nvCxnSpPr>
          <p:cNvPr id="40" name="Straight Connector 74">
            <a:extLst>
              <a:ext uri="{FF2B5EF4-FFF2-40B4-BE49-F238E27FC236}">
                <a16:creationId xmlns:a16="http://schemas.microsoft.com/office/drawing/2014/main" id="{AE58ACAE-3FFA-6446-ABD8-F1FB5F1A6A87}"/>
              </a:ext>
            </a:extLst>
          </p:cNvPr>
          <p:cNvCxnSpPr>
            <a:cxnSpLocks/>
          </p:cNvCxnSpPr>
          <p:nvPr/>
        </p:nvCxnSpPr>
        <p:spPr>
          <a:xfrm>
            <a:off x="6415885" y="3586287"/>
            <a:ext cx="1237033" cy="450661"/>
          </a:xfrm>
          <a:prstGeom prst="bentConnector3">
            <a:avLst>
              <a:gd name="adj1" fmla="val 50000"/>
            </a:avLst>
          </a:prstGeom>
          <a:noFill/>
          <a:ln w="22225" cmpd="sng">
            <a:solidFill>
              <a:srgbClr val="D6D6D6"/>
            </a:solidFill>
            <a:tailEnd type="triangle"/>
          </a:ln>
          <a:effectLst/>
        </p:spPr>
      </p:cxnSp>
      <p:cxnSp>
        <p:nvCxnSpPr>
          <p:cNvPr id="41" name="Straight Connector 74">
            <a:extLst>
              <a:ext uri="{FF2B5EF4-FFF2-40B4-BE49-F238E27FC236}">
                <a16:creationId xmlns:a16="http://schemas.microsoft.com/office/drawing/2014/main" id="{DD270770-EFB9-A047-BB47-A52E2392C9EB}"/>
              </a:ext>
            </a:extLst>
          </p:cNvPr>
          <p:cNvCxnSpPr>
            <a:cxnSpLocks/>
          </p:cNvCxnSpPr>
          <p:nvPr/>
        </p:nvCxnSpPr>
        <p:spPr>
          <a:xfrm>
            <a:off x="8609979" y="2913082"/>
            <a:ext cx="1296715" cy="881896"/>
          </a:xfrm>
          <a:prstGeom prst="bentConnector3">
            <a:avLst>
              <a:gd name="adj1" fmla="val 50000"/>
            </a:avLst>
          </a:prstGeom>
          <a:noFill/>
          <a:ln w="22225" cmpd="sng">
            <a:solidFill>
              <a:srgbClr val="D6D6D6"/>
            </a:solidFill>
            <a:tailEnd type="triangle"/>
          </a:ln>
          <a:effectLst/>
        </p:spPr>
      </p:cxnSp>
      <p:sp>
        <p:nvSpPr>
          <p:cNvPr id="42" name="Rectangle 41">
            <a:extLst>
              <a:ext uri="{FF2B5EF4-FFF2-40B4-BE49-F238E27FC236}">
                <a16:creationId xmlns:a16="http://schemas.microsoft.com/office/drawing/2014/main" id="{E8FB0E9D-0207-FE44-921D-3A04E3ACE183}"/>
              </a:ext>
            </a:extLst>
          </p:cNvPr>
          <p:cNvSpPr/>
          <p:nvPr/>
        </p:nvSpPr>
        <p:spPr>
          <a:xfrm>
            <a:off x="9913040" y="5384880"/>
            <a:ext cx="914400" cy="389584"/>
          </a:xfrm>
          <a:prstGeom prst="rect">
            <a:avLst/>
          </a:prstGeom>
          <a:noFill/>
          <a:ln w="6350" algn="ctr">
            <a:noFill/>
            <a:miter lim="800000"/>
            <a:headEnd type="none" w="sm" len="sm"/>
            <a:tailEnd type="none" w="sm" len="sm"/>
          </a:ln>
        </p:spPr>
        <p:txBody>
          <a:bodyPr wrap="square" lIns="0" tIns="0" rIns="0" bIns="0" anchor="ctr"/>
          <a:lstStyle/>
          <a:p>
            <a:pPr algn="ctr"/>
            <a:r>
              <a:rPr lang="en-US" sz="850"/>
              <a:t>Systems &amp; Custom Applications</a:t>
            </a:r>
          </a:p>
        </p:txBody>
      </p:sp>
      <p:sp>
        <p:nvSpPr>
          <p:cNvPr id="43" name="Rectangle 42">
            <a:extLst>
              <a:ext uri="{FF2B5EF4-FFF2-40B4-BE49-F238E27FC236}">
                <a16:creationId xmlns:a16="http://schemas.microsoft.com/office/drawing/2014/main" id="{1B7DB2FC-A67C-5443-992C-979AF20593A8}"/>
              </a:ext>
            </a:extLst>
          </p:cNvPr>
          <p:cNvSpPr/>
          <p:nvPr/>
        </p:nvSpPr>
        <p:spPr>
          <a:xfrm>
            <a:off x="7785399" y="5376311"/>
            <a:ext cx="914400" cy="229472"/>
          </a:xfrm>
          <a:prstGeom prst="rect">
            <a:avLst/>
          </a:prstGeom>
          <a:noFill/>
          <a:ln w="6350" algn="ctr">
            <a:noFill/>
            <a:miter lim="800000"/>
            <a:headEnd type="none" w="sm" len="sm"/>
            <a:tailEnd type="none" w="sm" len="sm"/>
          </a:ln>
        </p:spPr>
        <p:txBody>
          <a:bodyPr wrap="square" lIns="0" tIns="0" rIns="0" bIns="0" anchor="ctr"/>
          <a:lstStyle/>
          <a:p>
            <a:pPr algn="ctr"/>
            <a:r>
              <a:rPr lang="en-US" sz="850"/>
              <a:t>Search Engine</a:t>
            </a:r>
          </a:p>
        </p:txBody>
      </p:sp>
      <p:cxnSp>
        <p:nvCxnSpPr>
          <p:cNvPr id="44" name="Straight Connector 74">
            <a:extLst>
              <a:ext uri="{FF2B5EF4-FFF2-40B4-BE49-F238E27FC236}">
                <a16:creationId xmlns:a16="http://schemas.microsoft.com/office/drawing/2014/main" id="{7CE34008-E192-7F46-BF25-65E836794896}"/>
              </a:ext>
            </a:extLst>
          </p:cNvPr>
          <p:cNvCxnSpPr>
            <a:cxnSpLocks/>
          </p:cNvCxnSpPr>
          <p:nvPr/>
        </p:nvCxnSpPr>
        <p:spPr>
          <a:xfrm flipV="1">
            <a:off x="6434728" y="4033369"/>
            <a:ext cx="1230097" cy="569138"/>
          </a:xfrm>
          <a:prstGeom prst="bentConnector3">
            <a:avLst>
              <a:gd name="adj1" fmla="val 48323"/>
            </a:avLst>
          </a:prstGeom>
          <a:noFill/>
          <a:ln w="22225" cmpd="sng">
            <a:solidFill>
              <a:srgbClr val="D6D6D6"/>
            </a:solidFill>
            <a:tailEnd type="triangle"/>
          </a:ln>
          <a:effectLst/>
        </p:spPr>
      </p:cxnSp>
      <p:cxnSp>
        <p:nvCxnSpPr>
          <p:cNvPr id="46" name="Straight Connector 74">
            <a:extLst>
              <a:ext uri="{FF2B5EF4-FFF2-40B4-BE49-F238E27FC236}">
                <a16:creationId xmlns:a16="http://schemas.microsoft.com/office/drawing/2014/main" id="{15406969-C55E-324A-85C9-7DF283F91F15}"/>
              </a:ext>
            </a:extLst>
          </p:cNvPr>
          <p:cNvCxnSpPr>
            <a:cxnSpLocks/>
          </p:cNvCxnSpPr>
          <p:nvPr/>
        </p:nvCxnSpPr>
        <p:spPr>
          <a:xfrm flipV="1">
            <a:off x="8600998" y="4022474"/>
            <a:ext cx="1297286" cy="1"/>
          </a:xfrm>
          <a:prstGeom prst="bentConnector3">
            <a:avLst>
              <a:gd name="adj1" fmla="val 50000"/>
            </a:avLst>
          </a:prstGeom>
          <a:noFill/>
          <a:ln w="22225" cmpd="sng">
            <a:solidFill>
              <a:srgbClr val="D6D6D6"/>
            </a:solidFill>
            <a:tailEnd type="triangle"/>
          </a:ln>
          <a:effectLst/>
        </p:spPr>
      </p:cxnSp>
      <p:cxnSp>
        <p:nvCxnSpPr>
          <p:cNvPr id="47" name="Straight Connector 74">
            <a:extLst>
              <a:ext uri="{FF2B5EF4-FFF2-40B4-BE49-F238E27FC236}">
                <a16:creationId xmlns:a16="http://schemas.microsoft.com/office/drawing/2014/main" id="{3D6AE52C-8458-4147-AA66-8DF1B4C59007}"/>
              </a:ext>
            </a:extLst>
          </p:cNvPr>
          <p:cNvCxnSpPr>
            <a:cxnSpLocks/>
          </p:cNvCxnSpPr>
          <p:nvPr/>
        </p:nvCxnSpPr>
        <p:spPr>
          <a:xfrm flipV="1">
            <a:off x="8600998" y="5087229"/>
            <a:ext cx="1297286" cy="1156"/>
          </a:xfrm>
          <a:prstGeom prst="bentConnector3">
            <a:avLst>
              <a:gd name="adj1" fmla="val 50000"/>
            </a:avLst>
          </a:prstGeom>
          <a:noFill/>
          <a:ln w="22225" cmpd="sng">
            <a:solidFill>
              <a:srgbClr val="D6D6D6"/>
            </a:solidFill>
            <a:tailEnd type="triangle"/>
          </a:ln>
          <a:effectLst/>
        </p:spPr>
      </p:cxnSp>
      <p:grpSp>
        <p:nvGrpSpPr>
          <p:cNvPr id="48" name="Group 47">
            <a:extLst>
              <a:ext uri="{FF2B5EF4-FFF2-40B4-BE49-F238E27FC236}">
                <a16:creationId xmlns:a16="http://schemas.microsoft.com/office/drawing/2014/main" id="{BAA49E14-2961-DD4E-9D94-526C9BDB2AF9}"/>
              </a:ext>
            </a:extLst>
          </p:cNvPr>
          <p:cNvGrpSpPr/>
          <p:nvPr/>
        </p:nvGrpSpPr>
        <p:grpSpPr>
          <a:xfrm>
            <a:off x="996120" y="1962878"/>
            <a:ext cx="1921323" cy="665787"/>
            <a:chOff x="1030518" y="2007240"/>
            <a:chExt cx="1921323" cy="665787"/>
          </a:xfrm>
        </p:grpSpPr>
        <p:sp>
          <p:nvSpPr>
            <p:cNvPr id="49" name="TextBox 48">
              <a:extLst>
                <a:ext uri="{FF2B5EF4-FFF2-40B4-BE49-F238E27FC236}">
                  <a16:creationId xmlns:a16="http://schemas.microsoft.com/office/drawing/2014/main" id="{2C5DF9E8-0235-DD40-8628-4B68B69D36EC}"/>
                </a:ext>
              </a:extLst>
            </p:cNvPr>
            <p:cNvSpPr txBox="1"/>
            <p:nvPr/>
          </p:nvSpPr>
          <p:spPr>
            <a:xfrm>
              <a:off x="1310410" y="200724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ources</a:t>
              </a:r>
            </a:p>
          </p:txBody>
        </p:sp>
        <p:sp>
          <p:nvSpPr>
            <p:cNvPr id="51" name="TextBox 50">
              <a:extLst>
                <a:ext uri="{FF2B5EF4-FFF2-40B4-BE49-F238E27FC236}">
                  <a16:creationId xmlns:a16="http://schemas.microsoft.com/office/drawing/2014/main" id="{DFDCF980-74DC-7144-ADFB-3CF6AFCD6C5F}"/>
                </a:ext>
              </a:extLst>
            </p:cNvPr>
            <p:cNvSpPr txBox="1"/>
            <p:nvPr/>
          </p:nvSpPr>
          <p:spPr>
            <a:xfrm>
              <a:off x="1030518" y="2186177"/>
              <a:ext cx="1921323"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nstructured, Semi-structured, and Structured data ingested from internal/external sources</a:t>
              </a:r>
            </a:p>
          </p:txBody>
        </p:sp>
      </p:grpSp>
      <p:grpSp>
        <p:nvGrpSpPr>
          <p:cNvPr id="54" name="Group 53">
            <a:extLst>
              <a:ext uri="{FF2B5EF4-FFF2-40B4-BE49-F238E27FC236}">
                <a16:creationId xmlns:a16="http://schemas.microsoft.com/office/drawing/2014/main" id="{AECB0851-EF9D-D248-BAC4-53187CCD9F4C}"/>
              </a:ext>
            </a:extLst>
          </p:cNvPr>
          <p:cNvGrpSpPr/>
          <p:nvPr/>
        </p:nvGrpSpPr>
        <p:grpSpPr>
          <a:xfrm>
            <a:off x="3270714" y="2824605"/>
            <a:ext cx="1508920" cy="713958"/>
            <a:chOff x="3340968" y="2002841"/>
            <a:chExt cx="1508920" cy="713958"/>
          </a:xfrm>
        </p:grpSpPr>
        <p:sp>
          <p:nvSpPr>
            <p:cNvPr id="55" name="TextBox 54">
              <a:extLst>
                <a:ext uri="{FF2B5EF4-FFF2-40B4-BE49-F238E27FC236}">
                  <a16:creationId xmlns:a16="http://schemas.microsoft.com/office/drawing/2014/main" id="{D54FEAF5-7187-FF4B-9E16-FE440C3656F0}"/>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57" name="TextBox 56">
              <a:extLst>
                <a:ext uri="{FF2B5EF4-FFF2-40B4-BE49-F238E27FC236}">
                  <a16:creationId xmlns:a16="http://schemas.microsoft.com/office/drawing/2014/main" id="{83CED75F-2381-E24D-AE85-06D4442D0D5E}"/>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and manage data pipelines and ETL</a:t>
              </a:r>
            </a:p>
          </p:txBody>
        </p:sp>
      </p:grpSp>
      <p:grpSp>
        <p:nvGrpSpPr>
          <p:cNvPr id="58" name="Group 57">
            <a:extLst>
              <a:ext uri="{FF2B5EF4-FFF2-40B4-BE49-F238E27FC236}">
                <a16:creationId xmlns:a16="http://schemas.microsoft.com/office/drawing/2014/main" id="{08F3CE03-3553-D14F-9087-83CA63E5C39C}"/>
              </a:ext>
            </a:extLst>
          </p:cNvPr>
          <p:cNvGrpSpPr/>
          <p:nvPr/>
        </p:nvGrpSpPr>
        <p:grpSpPr>
          <a:xfrm>
            <a:off x="5152440" y="2431132"/>
            <a:ext cx="1756474" cy="751513"/>
            <a:chOff x="5302152" y="1990215"/>
            <a:chExt cx="1756474" cy="751513"/>
          </a:xfrm>
        </p:grpSpPr>
        <p:sp>
          <p:nvSpPr>
            <p:cNvPr id="59" name="TextBox 58">
              <a:extLst>
                <a:ext uri="{FF2B5EF4-FFF2-40B4-BE49-F238E27FC236}">
                  <a16:creationId xmlns:a16="http://schemas.microsoft.com/office/drawing/2014/main" id="{75DAEA0A-19CE-BC45-890C-755D8C94A926}"/>
                </a:ext>
              </a:extLst>
            </p:cNvPr>
            <p:cNvSpPr txBox="1"/>
            <p:nvPr/>
          </p:nvSpPr>
          <p:spPr>
            <a:xfrm>
              <a:off x="5396764" y="1990215"/>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torage</a:t>
              </a:r>
            </a:p>
          </p:txBody>
        </p:sp>
        <p:sp>
          <p:nvSpPr>
            <p:cNvPr id="60" name="TextBox 59">
              <a:extLst>
                <a:ext uri="{FF2B5EF4-FFF2-40B4-BE49-F238E27FC236}">
                  <a16:creationId xmlns:a16="http://schemas.microsoft.com/office/drawing/2014/main" id="{AFF67307-9D25-A648-A6AE-F4AC6B54EFE9}"/>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Highly scalable enterprise data warehouses for data mart or performant analytic usages</a:t>
              </a:r>
            </a:p>
          </p:txBody>
        </p:sp>
      </p:grpSp>
      <p:grpSp>
        <p:nvGrpSpPr>
          <p:cNvPr id="61" name="Group 60">
            <a:extLst>
              <a:ext uri="{FF2B5EF4-FFF2-40B4-BE49-F238E27FC236}">
                <a16:creationId xmlns:a16="http://schemas.microsoft.com/office/drawing/2014/main" id="{F1C39678-EFA0-214F-A9C6-7D4787298A91}"/>
              </a:ext>
            </a:extLst>
          </p:cNvPr>
          <p:cNvGrpSpPr/>
          <p:nvPr/>
        </p:nvGrpSpPr>
        <p:grpSpPr>
          <a:xfrm>
            <a:off x="7408502" y="1725443"/>
            <a:ext cx="1756474" cy="791158"/>
            <a:chOff x="7386994" y="1990138"/>
            <a:chExt cx="1756474" cy="791158"/>
          </a:xfrm>
        </p:grpSpPr>
        <p:sp>
          <p:nvSpPr>
            <p:cNvPr id="62" name="TextBox 61">
              <a:extLst>
                <a:ext uri="{FF2B5EF4-FFF2-40B4-BE49-F238E27FC236}">
                  <a16:creationId xmlns:a16="http://schemas.microsoft.com/office/drawing/2014/main" id="{03119B0F-B2AA-1249-B949-F745D43202C6}"/>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ervices</a:t>
              </a:r>
            </a:p>
          </p:txBody>
        </p:sp>
        <p:sp>
          <p:nvSpPr>
            <p:cNvPr id="63" name="TextBox 62">
              <a:extLst>
                <a:ext uri="{FF2B5EF4-FFF2-40B4-BE49-F238E27FC236}">
                  <a16:creationId xmlns:a16="http://schemas.microsoft.com/office/drawing/2014/main" id="{0C49699B-84E3-DB44-926C-D25F59305FA2}"/>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Big data processing, search, and automatic catalog services to enable discoverability and insights</a:t>
              </a:r>
            </a:p>
          </p:txBody>
        </p:sp>
      </p:grpSp>
      <p:grpSp>
        <p:nvGrpSpPr>
          <p:cNvPr id="64" name="Group 63">
            <a:extLst>
              <a:ext uri="{FF2B5EF4-FFF2-40B4-BE49-F238E27FC236}">
                <a16:creationId xmlns:a16="http://schemas.microsoft.com/office/drawing/2014/main" id="{387D7E53-35FE-434B-B7E5-7C36F414E999}"/>
              </a:ext>
            </a:extLst>
          </p:cNvPr>
          <p:cNvGrpSpPr/>
          <p:nvPr/>
        </p:nvGrpSpPr>
        <p:grpSpPr>
          <a:xfrm>
            <a:off x="9544797" y="2243261"/>
            <a:ext cx="1761826" cy="728454"/>
            <a:chOff x="9478690" y="2325056"/>
            <a:chExt cx="1761826" cy="728454"/>
          </a:xfrm>
        </p:grpSpPr>
        <p:sp>
          <p:nvSpPr>
            <p:cNvPr id="68" name="TextBox 67">
              <a:extLst>
                <a:ext uri="{FF2B5EF4-FFF2-40B4-BE49-F238E27FC236}">
                  <a16:creationId xmlns:a16="http://schemas.microsoft.com/office/drawing/2014/main" id="{ADE6998C-5CF8-4A4F-BB2E-737B204DE5A4}"/>
                </a:ext>
              </a:extLst>
            </p:cNvPr>
            <p:cNvSpPr txBox="1"/>
            <p:nvPr/>
          </p:nvSpPr>
          <p:spPr>
            <a:xfrm>
              <a:off x="9478690" y="2325056"/>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ystems, Subscribers, Users</a:t>
              </a:r>
            </a:p>
          </p:txBody>
        </p:sp>
        <p:sp>
          <p:nvSpPr>
            <p:cNvPr id="69" name="TextBox 68">
              <a:extLst>
                <a:ext uri="{FF2B5EF4-FFF2-40B4-BE49-F238E27FC236}">
                  <a16:creationId xmlns:a16="http://schemas.microsoft.com/office/drawing/2014/main" id="{8AA5858D-DD07-4948-963A-4D0AEFAEABFC}"/>
                </a:ext>
              </a:extLst>
            </p:cNvPr>
            <p:cNvSpPr txBox="1"/>
            <p:nvPr/>
          </p:nvSpPr>
          <p:spPr>
            <a:xfrm>
              <a:off x="9484042" y="2521925"/>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ystems or reporting/visualization tools can  access data services or storage. </a:t>
              </a:r>
            </a:p>
          </p:txBody>
        </p:sp>
      </p:grpSp>
      <p:sp>
        <p:nvSpPr>
          <p:cNvPr id="70" name="Freeform 664">
            <a:extLst>
              <a:ext uri="{FF2B5EF4-FFF2-40B4-BE49-F238E27FC236}">
                <a16:creationId xmlns:a16="http://schemas.microsoft.com/office/drawing/2014/main" id="{817AFAAA-10F6-354F-AB20-6EB36CAC2D98}"/>
              </a:ext>
            </a:extLst>
          </p:cNvPr>
          <p:cNvSpPr>
            <a:spLocks/>
          </p:cNvSpPr>
          <p:nvPr/>
        </p:nvSpPr>
        <p:spPr bwMode="auto">
          <a:xfrm>
            <a:off x="3883506" y="3799755"/>
            <a:ext cx="309983" cy="334385"/>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1" name="Freeform 244">
            <a:extLst>
              <a:ext uri="{FF2B5EF4-FFF2-40B4-BE49-F238E27FC236}">
                <a16:creationId xmlns:a16="http://schemas.microsoft.com/office/drawing/2014/main" id="{A4C76D2D-8209-E14E-B2B9-1BD4DDF80162}"/>
              </a:ext>
            </a:extLst>
          </p:cNvPr>
          <p:cNvSpPr>
            <a:spLocks noEditPoints="1"/>
          </p:cNvSpPr>
          <p:nvPr/>
        </p:nvSpPr>
        <p:spPr bwMode="auto">
          <a:xfrm>
            <a:off x="3812492" y="370738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1"/>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72" name="Group 71">
            <a:extLst>
              <a:ext uri="{FF2B5EF4-FFF2-40B4-BE49-F238E27FC236}">
                <a16:creationId xmlns:a16="http://schemas.microsoft.com/office/drawing/2014/main" id="{C4DB9CD2-E2AB-CA4C-B5FA-F7B7C668067C}"/>
              </a:ext>
            </a:extLst>
          </p:cNvPr>
          <p:cNvGrpSpPr/>
          <p:nvPr/>
        </p:nvGrpSpPr>
        <p:grpSpPr>
          <a:xfrm>
            <a:off x="1719635" y="2834866"/>
            <a:ext cx="497776" cy="517982"/>
            <a:chOff x="914473" y="2835335"/>
            <a:chExt cx="497776" cy="517982"/>
          </a:xfrm>
        </p:grpSpPr>
        <p:grpSp>
          <p:nvGrpSpPr>
            <p:cNvPr id="73" name="Group 72">
              <a:extLst>
                <a:ext uri="{FF2B5EF4-FFF2-40B4-BE49-F238E27FC236}">
                  <a16:creationId xmlns:a16="http://schemas.microsoft.com/office/drawing/2014/main" id="{5E77FDC4-8D40-B34A-9891-227B7CFB622C}"/>
                </a:ext>
              </a:extLst>
            </p:cNvPr>
            <p:cNvGrpSpPr/>
            <p:nvPr/>
          </p:nvGrpSpPr>
          <p:grpSpPr>
            <a:xfrm>
              <a:off x="1047143" y="2923001"/>
              <a:ext cx="249436" cy="328107"/>
              <a:chOff x="3727450" y="5280026"/>
              <a:chExt cx="627063" cy="781050"/>
            </a:xfrm>
          </p:grpSpPr>
          <p:sp>
            <p:nvSpPr>
              <p:cNvPr id="75" name="Freeform 45">
                <a:extLst>
                  <a:ext uri="{FF2B5EF4-FFF2-40B4-BE49-F238E27FC236}">
                    <a16:creationId xmlns:a16="http://schemas.microsoft.com/office/drawing/2014/main" id="{C27E276C-6C15-3040-B11A-BEA631973DEC}"/>
                  </a:ext>
                </a:extLst>
              </p:cNvPr>
              <p:cNvSpPr>
                <a:spLocks/>
              </p:cNvSpPr>
              <p:nvPr/>
            </p:nvSpPr>
            <p:spPr bwMode="auto">
              <a:xfrm>
                <a:off x="3848100" y="5553076"/>
                <a:ext cx="71438" cy="177800"/>
              </a:xfrm>
              <a:custGeom>
                <a:avLst/>
                <a:gdLst>
                  <a:gd name="T0" fmla="*/ 6 w 17"/>
                  <a:gd name="T1" fmla="*/ 10 h 43"/>
                  <a:gd name="T2" fmla="*/ 9 w 17"/>
                  <a:gd name="T3" fmla="*/ 9 h 43"/>
                  <a:gd name="T4" fmla="*/ 9 w 17"/>
                  <a:gd name="T5" fmla="*/ 39 h 43"/>
                  <a:gd name="T6" fmla="*/ 13 w 17"/>
                  <a:gd name="T7" fmla="*/ 43 h 43"/>
                  <a:gd name="T8" fmla="*/ 17 w 17"/>
                  <a:gd name="T9" fmla="*/ 39 h 43"/>
                  <a:gd name="T10" fmla="*/ 17 w 17"/>
                  <a:gd name="T11" fmla="*/ 4 h 43"/>
                  <a:gd name="T12" fmla="*/ 13 w 17"/>
                  <a:gd name="T13" fmla="*/ 0 h 43"/>
                  <a:gd name="T14" fmla="*/ 10 w 17"/>
                  <a:gd name="T15" fmla="*/ 1 h 43"/>
                  <a:gd name="T16" fmla="*/ 3 w 17"/>
                  <a:gd name="T17" fmla="*/ 3 h 43"/>
                  <a:gd name="T18" fmla="*/ 0 w 17"/>
                  <a:gd name="T19" fmla="*/ 6 h 43"/>
                  <a:gd name="T20" fmla="*/ 6 w 17"/>
                  <a:gd name="T21"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3">
                    <a:moveTo>
                      <a:pt x="6" y="10"/>
                    </a:moveTo>
                    <a:cubicBezTo>
                      <a:pt x="9" y="9"/>
                      <a:pt x="9" y="9"/>
                      <a:pt x="9" y="9"/>
                    </a:cubicBezTo>
                    <a:cubicBezTo>
                      <a:pt x="9" y="39"/>
                      <a:pt x="9" y="39"/>
                      <a:pt x="9" y="39"/>
                    </a:cubicBezTo>
                    <a:cubicBezTo>
                      <a:pt x="9" y="41"/>
                      <a:pt x="10" y="43"/>
                      <a:pt x="13" y="43"/>
                    </a:cubicBezTo>
                    <a:cubicBezTo>
                      <a:pt x="15" y="43"/>
                      <a:pt x="17" y="41"/>
                      <a:pt x="17" y="39"/>
                    </a:cubicBezTo>
                    <a:cubicBezTo>
                      <a:pt x="17" y="4"/>
                      <a:pt x="17" y="4"/>
                      <a:pt x="17" y="4"/>
                    </a:cubicBezTo>
                    <a:cubicBezTo>
                      <a:pt x="17" y="2"/>
                      <a:pt x="15" y="0"/>
                      <a:pt x="13" y="0"/>
                    </a:cubicBezTo>
                    <a:cubicBezTo>
                      <a:pt x="12" y="0"/>
                      <a:pt x="11" y="0"/>
                      <a:pt x="10" y="1"/>
                    </a:cubicBezTo>
                    <a:cubicBezTo>
                      <a:pt x="3" y="3"/>
                      <a:pt x="3" y="3"/>
                      <a:pt x="3" y="3"/>
                    </a:cubicBezTo>
                    <a:cubicBezTo>
                      <a:pt x="1" y="3"/>
                      <a:pt x="0" y="5"/>
                      <a:pt x="0" y="6"/>
                    </a:cubicBezTo>
                    <a:cubicBezTo>
                      <a:pt x="0" y="9"/>
                      <a:pt x="3" y="11"/>
                      <a:pt x="6"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7" name="Freeform 46">
                <a:extLst>
                  <a:ext uri="{FF2B5EF4-FFF2-40B4-BE49-F238E27FC236}">
                    <a16:creationId xmlns:a16="http://schemas.microsoft.com/office/drawing/2014/main" id="{9A36BC43-EBE2-F945-95F2-E80056F88371}"/>
                  </a:ext>
                </a:extLst>
              </p:cNvPr>
              <p:cNvSpPr>
                <a:spLocks noEditPoints="1"/>
              </p:cNvSpPr>
              <p:nvPr/>
            </p:nvSpPr>
            <p:spPr bwMode="auto">
              <a:xfrm>
                <a:off x="3960813" y="5553076"/>
                <a:ext cx="149225" cy="177800"/>
              </a:xfrm>
              <a:custGeom>
                <a:avLst/>
                <a:gdLst>
                  <a:gd name="T0" fmla="*/ 18 w 36"/>
                  <a:gd name="T1" fmla="*/ 0 h 43"/>
                  <a:gd name="T2" fmla="*/ 0 w 36"/>
                  <a:gd name="T3" fmla="*/ 22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2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2"/>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2"/>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9" name="Freeform 47">
                <a:extLst>
                  <a:ext uri="{FF2B5EF4-FFF2-40B4-BE49-F238E27FC236}">
                    <a16:creationId xmlns:a16="http://schemas.microsoft.com/office/drawing/2014/main" id="{FFBB27A2-AD13-FF45-9ADC-9CA42D67517A}"/>
                  </a:ext>
                </a:extLst>
              </p:cNvPr>
              <p:cNvSpPr>
                <a:spLocks/>
              </p:cNvSpPr>
              <p:nvPr/>
            </p:nvSpPr>
            <p:spPr bwMode="auto">
              <a:xfrm>
                <a:off x="4138613" y="5553076"/>
                <a:ext cx="66675" cy="177800"/>
              </a:xfrm>
              <a:custGeom>
                <a:avLst/>
                <a:gdLst>
                  <a:gd name="T0" fmla="*/ 12 w 16"/>
                  <a:gd name="T1" fmla="*/ 0 h 43"/>
                  <a:gd name="T2" fmla="*/ 9 w 16"/>
                  <a:gd name="T3" fmla="*/ 1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1"/>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0" name="Freeform 48">
                <a:extLst>
                  <a:ext uri="{FF2B5EF4-FFF2-40B4-BE49-F238E27FC236}">
                    <a16:creationId xmlns:a16="http://schemas.microsoft.com/office/drawing/2014/main" id="{86A4771C-F0A9-104A-9CCC-0965867CFFA9}"/>
                  </a:ext>
                </a:extLst>
              </p:cNvPr>
              <p:cNvSpPr>
                <a:spLocks noEditPoints="1"/>
              </p:cNvSpPr>
              <p:nvPr/>
            </p:nvSpPr>
            <p:spPr bwMode="auto">
              <a:xfrm>
                <a:off x="3856038" y="5775326"/>
                <a:ext cx="150813" cy="177800"/>
              </a:xfrm>
              <a:custGeom>
                <a:avLst/>
                <a:gdLst>
                  <a:gd name="T0" fmla="*/ 18 w 36"/>
                  <a:gd name="T1" fmla="*/ 0 h 43"/>
                  <a:gd name="T2" fmla="*/ 0 w 36"/>
                  <a:gd name="T3" fmla="*/ 21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1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1"/>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1"/>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1" name="Freeform 49">
                <a:extLst>
                  <a:ext uri="{FF2B5EF4-FFF2-40B4-BE49-F238E27FC236}">
                    <a16:creationId xmlns:a16="http://schemas.microsoft.com/office/drawing/2014/main" id="{14E023AE-2777-9A4F-B809-25DFA45DDE65}"/>
                  </a:ext>
                </a:extLst>
              </p:cNvPr>
              <p:cNvSpPr>
                <a:spLocks/>
              </p:cNvSpPr>
              <p:nvPr/>
            </p:nvSpPr>
            <p:spPr bwMode="auto">
              <a:xfrm>
                <a:off x="4035425"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4" name="Freeform 50">
                <a:extLst>
                  <a:ext uri="{FF2B5EF4-FFF2-40B4-BE49-F238E27FC236}">
                    <a16:creationId xmlns:a16="http://schemas.microsoft.com/office/drawing/2014/main" id="{377F2A71-38E0-634A-B8DB-82573015580F}"/>
                  </a:ext>
                </a:extLst>
              </p:cNvPr>
              <p:cNvSpPr>
                <a:spLocks/>
              </p:cNvSpPr>
              <p:nvPr/>
            </p:nvSpPr>
            <p:spPr bwMode="auto">
              <a:xfrm>
                <a:off x="4138613"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5" name="Freeform 51">
                <a:extLst>
                  <a:ext uri="{FF2B5EF4-FFF2-40B4-BE49-F238E27FC236}">
                    <a16:creationId xmlns:a16="http://schemas.microsoft.com/office/drawing/2014/main" id="{04EE4410-074D-AF48-B381-09C2AE1D1692}"/>
                  </a:ext>
                </a:extLst>
              </p:cNvPr>
              <p:cNvSpPr>
                <a:spLocks noEditPoints="1"/>
              </p:cNvSpPr>
              <p:nvPr/>
            </p:nvSpPr>
            <p:spPr bwMode="auto">
              <a:xfrm>
                <a:off x="3727450" y="5280026"/>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7 h 189"/>
                  <a:gd name="T22" fmla="*/ 148 w 151"/>
                  <a:gd name="T23" fmla="*/ 29 h 189"/>
                  <a:gd name="T24" fmla="*/ 141 w 151"/>
                  <a:gd name="T25" fmla="*/ 33 h 189"/>
                  <a:gd name="T26" fmla="*/ 119 w 151"/>
                  <a:gd name="T27" fmla="*/ 33 h 189"/>
                  <a:gd name="T28" fmla="*/ 119 w 151"/>
                  <a:gd name="T29" fmla="*/ 11 h 189"/>
                  <a:gd name="T30" fmla="*/ 141 w 151"/>
                  <a:gd name="T31" fmla="*/ 33 h 189"/>
                  <a:gd name="T32" fmla="*/ 141 w 151"/>
                  <a:gd name="T33" fmla="*/ 182 h 189"/>
                  <a:gd name="T34" fmla="*/ 10 w 151"/>
                  <a:gd name="T35" fmla="*/ 182 h 189"/>
                  <a:gd name="T36" fmla="*/ 8 w 151"/>
                  <a:gd name="T37" fmla="*/ 179 h 189"/>
                  <a:gd name="T38" fmla="*/ 8 w 151"/>
                  <a:gd name="T39" fmla="*/ 10 h 189"/>
                  <a:gd name="T40" fmla="*/ 10 w 151"/>
                  <a:gd name="T41" fmla="*/ 8 h 189"/>
                  <a:gd name="T42" fmla="*/ 111 w 151"/>
                  <a:gd name="T43" fmla="*/ 8 h 189"/>
                  <a:gd name="T44" fmla="*/ 111 w 151"/>
                  <a:gd name="T45" fmla="*/ 37 h 189"/>
                  <a:gd name="T46" fmla="*/ 115 w 151"/>
                  <a:gd name="T47" fmla="*/ 40 h 189"/>
                  <a:gd name="T48" fmla="*/ 144 w 151"/>
                  <a:gd name="T49" fmla="*/ 40 h 189"/>
                  <a:gd name="T50" fmla="*/ 144 w 151"/>
                  <a:gd name="T51" fmla="*/ 179 h 189"/>
                  <a:gd name="T52" fmla="*/ 141 w 151"/>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5"/>
                      <a:pt x="0" y="10"/>
                    </a:cubicBezTo>
                    <a:cubicBezTo>
                      <a:pt x="0" y="179"/>
                      <a:pt x="0" y="179"/>
                      <a:pt x="0" y="179"/>
                    </a:cubicBezTo>
                    <a:cubicBezTo>
                      <a:pt x="0" y="185"/>
                      <a:pt x="4" y="189"/>
                      <a:pt x="10" y="189"/>
                    </a:cubicBezTo>
                    <a:cubicBezTo>
                      <a:pt x="141" y="189"/>
                      <a:pt x="141" y="189"/>
                      <a:pt x="141" y="189"/>
                    </a:cubicBezTo>
                    <a:cubicBezTo>
                      <a:pt x="147" y="189"/>
                      <a:pt x="151" y="185"/>
                      <a:pt x="151" y="179"/>
                    </a:cubicBezTo>
                    <a:cubicBezTo>
                      <a:pt x="151" y="37"/>
                      <a:pt x="151" y="37"/>
                      <a:pt x="151" y="37"/>
                    </a:cubicBezTo>
                    <a:cubicBezTo>
                      <a:pt x="151" y="34"/>
                      <a:pt x="150" y="31"/>
                      <a:pt x="148" y="29"/>
                    </a:cubicBezTo>
                    <a:close/>
                    <a:moveTo>
                      <a:pt x="141" y="33"/>
                    </a:moveTo>
                    <a:cubicBezTo>
                      <a:pt x="119" y="33"/>
                      <a:pt x="119" y="33"/>
                      <a:pt x="119" y="33"/>
                    </a:cubicBezTo>
                    <a:cubicBezTo>
                      <a:pt x="119" y="11"/>
                      <a:pt x="119" y="11"/>
                      <a:pt x="119" y="11"/>
                    </a:cubicBezTo>
                    <a:lnTo>
                      <a:pt x="141" y="33"/>
                    </a:lnTo>
                    <a:close/>
                    <a:moveTo>
                      <a:pt x="141" y="182"/>
                    </a:moveTo>
                    <a:cubicBezTo>
                      <a:pt x="10" y="182"/>
                      <a:pt x="10" y="182"/>
                      <a:pt x="10" y="182"/>
                    </a:cubicBezTo>
                    <a:cubicBezTo>
                      <a:pt x="9" y="182"/>
                      <a:pt x="8" y="181"/>
                      <a:pt x="8" y="179"/>
                    </a:cubicBezTo>
                    <a:cubicBezTo>
                      <a:pt x="8" y="10"/>
                      <a:pt x="8" y="10"/>
                      <a:pt x="8" y="10"/>
                    </a:cubicBezTo>
                    <a:cubicBezTo>
                      <a:pt x="8" y="9"/>
                      <a:pt x="9" y="8"/>
                      <a:pt x="10" y="8"/>
                    </a:cubicBezTo>
                    <a:cubicBezTo>
                      <a:pt x="111" y="8"/>
                      <a:pt x="111" y="8"/>
                      <a:pt x="111" y="8"/>
                    </a:cubicBezTo>
                    <a:cubicBezTo>
                      <a:pt x="111" y="37"/>
                      <a:pt x="111" y="37"/>
                      <a:pt x="111" y="37"/>
                    </a:cubicBezTo>
                    <a:cubicBezTo>
                      <a:pt x="111" y="39"/>
                      <a:pt x="113" y="40"/>
                      <a:pt x="115" y="40"/>
                    </a:cubicBezTo>
                    <a:cubicBezTo>
                      <a:pt x="144" y="40"/>
                      <a:pt x="144" y="40"/>
                      <a:pt x="144" y="40"/>
                    </a:cubicBezTo>
                    <a:cubicBezTo>
                      <a:pt x="144" y="179"/>
                      <a:pt x="144" y="179"/>
                      <a:pt x="144" y="179"/>
                    </a:cubicBezTo>
                    <a:cubicBezTo>
                      <a:pt x="144" y="181"/>
                      <a:pt x="143" y="182"/>
                      <a:pt x="141" y="1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74" name="Freeform 244">
              <a:extLst>
                <a:ext uri="{FF2B5EF4-FFF2-40B4-BE49-F238E27FC236}">
                  <a16:creationId xmlns:a16="http://schemas.microsoft.com/office/drawing/2014/main" id="{4C7B8478-D04B-4748-9D67-4E12DD9BC309}"/>
                </a:ext>
              </a:extLst>
            </p:cNvPr>
            <p:cNvSpPr>
              <a:spLocks noEditPoints="1"/>
            </p:cNvSpPr>
            <p:nvPr/>
          </p:nvSpPr>
          <p:spPr bwMode="auto">
            <a:xfrm>
              <a:off x="914473" y="283533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6" name="Group 85">
            <a:extLst>
              <a:ext uri="{FF2B5EF4-FFF2-40B4-BE49-F238E27FC236}">
                <a16:creationId xmlns:a16="http://schemas.microsoft.com/office/drawing/2014/main" id="{E54DB785-639E-6B4C-B735-FE26792999A8}"/>
              </a:ext>
            </a:extLst>
          </p:cNvPr>
          <p:cNvGrpSpPr/>
          <p:nvPr/>
        </p:nvGrpSpPr>
        <p:grpSpPr>
          <a:xfrm>
            <a:off x="1724819" y="4614849"/>
            <a:ext cx="497776" cy="517982"/>
            <a:chOff x="1763630" y="4431485"/>
            <a:chExt cx="497776" cy="517982"/>
          </a:xfrm>
        </p:grpSpPr>
        <p:grpSp>
          <p:nvGrpSpPr>
            <p:cNvPr id="92" name="Group 91">
              <a:extLst>
                <a:ext uri="{FF2B5EF4-FFF2-40B4-BE49-F238E27FC236}">
                  <a16:creationId xmlns:a16="http://schemas.microsoft.com/office/drawing/2014/main" id="{E2A7FF1B-179E-B540-A606-D78EF063FAE7}"/>
                </a:ext>
              </a:extLst>
            </p:cNvPr>
            <p:cNvGrpSpPr/>
            <p:nvPr/>
          </p:nvGrpSpPr>
          <p:grpSpPr>
            <a:xfrm>
              <a:off x="1841767" y="4550138"/>
              <a:ext cx="348246" cy="257618"/>
              <a:chOff x="1772296" y="1368566"/>
              <a:chExt cx="449558" cy="332565"/>
            </a:xfrm>
          </p:grpSpPr>
          <p:sp>
            <p:nvSpPr>
              <p:cNvPr id="95" name="Freeform 96">
                <a:extLst>
                  <a:ext uri="{FF2B5EF4-FFF2-40B4-BE49-F238E27FC236}">
                    <a16:creationId xmlns:a16="http://schemas.microsoft.com/office/drawing/2014/main" id="{F55B7A65-0845-E04C-BC83-8BB61C0F7B8D}"/>
                  </a:ext>
                </a:extLst>
              </p:cNvPr>
              <p:cNvSpPr>
                <a:spLocks noEditPoints="1"/>
              </p:cNvSpPr>
              <p:nvPr/>
            </p:nvSpPr>
            <p:spPr bwMode="auto">
              <a:xfrm>
                <a:off x="1772296" y="1368566"/>
                <a:ext cx="449558" cy="332565"/>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Freeform 97">
                <a:extLst>
                  <a:ext uri="{FF2B5EF4-FFF2-40B4-BE49-F238E27FC236}">
                    <a16:creationId xmlns:a16="http://schemas.microsoft.com/office/drawing/2014/main" id="{E13D9480-F45F-AA4F-AD09-960038581A12}"/>
                  </a:ext>
                </a:extLst>
              </p:cNvPr>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4" name="Freeform 244">
              <a:extLst>
                <a:ext uri="{FF2B5EF4-FFF2-40B4-BE49-F238E27FC236}">
                  <a16:creationId xmlns:a16="http://schemas.microsoft.com/office/drawing/2014/main" id="{E414EB29-B09D-2844-AABB-424BCB9BDDE1}"/>
                </a:ext>
              </a:extLst>
            </p:cNvPr>
            <p:cNvSpPr>
              <a:spLocks noEditPoints="1"/>
            </p:cNvSpPr>
            <p:nvPr/>
          </p:nvSpPr>
          <p:spPr bwMode="auto">
            <a:xfrm>
              <a:off x="1763630" y="443148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97" name="Group 96">
            <a:extLst>
              <a:ext uri="{FF2B5EF4-FFF2-40B4-BE49-F238E27FC236}">
                <a16:creationId xmlns:a16="http://schemas.microsoft.com/office/drawing/2014/main" id="{5594E0EE-E71C-1C43-B10F-66D95001208A}"/>
              </a:ext>
            </a:extLst>
          </p:cNvPr>
          <p:cNvGrpSpPr/>
          <p:nvPr/>
        </p:nvGrpSpPr>
        <p:grpSpPr>
          <a:xfrm>
            <a:off x="1723328" y="3708239"/>
            <a:ext cx="497776" cy="517982"/>
            <a:chOff x="1742992" y="3606769"/>
            <a:chExt cx="497776" cy="517982"/>
          </a:xfrm>
        </p:grpSpPr>
        <p:grpSp>
          <p:nvGrpSpPr>
            <p:cNvPr id="98" name="Group 97">
              <a:extLst>
                <a:ext uri="{FF2B5EF4-FFF2-40B4-BE49-F238E27FC236}">
                  <a16:creationId xmlns:a16="http://schemas.microsoft.com/office/drawing/2014/main" id="{175532A1-C4FC-0A4A-A905-A6937B8D19F8}"/>
                </a:ext>
              </a:extLst>
            </p:cNvPr>
            <p:cNvGrpSpPr/>
            <p:nvPr/>
          </p:nvGrpSpPr>
          <p:grpSpPr>
            <a:xfrm>
              <a:off x="1822814" y="3690402"/>
              <a:ext cx="350704" cy="350704"/>
              <a:chOff x="5562600" y="4875213"/>
              <a:chExt cx="790575" cy="790575"/>
            </a:xfrm>
          </p:grpSpPr>
          <p:sp>
            <p:nvSpPr>
              <p:cNvPr id="100" name="Freeform 55">
                <a:extLst>
                  <a:ext uri="{FF2B5EF4-FFF2-40B4-BE49-F238E27FC236}">
                    <a16:creationId xmlns:a16="http://schemas.microsoft.com/office/drawing/2014/main" id="{B3D9A4F8-2DA5-0B44-B256-64433BDF652D}"/>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56">
                <a:extLst>
                  <a:ext uri="{FF2B5EF4-FFF2-40B4-BE49-F238E27FC236}">
                    <a16:creationId xmlns:a16="http://schemas.microsoft.com/office/drawing/2014/main" id="{54D88537-16DB-B14A-8B7B-8485FA321976}"/>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9" name="Freeform 244">
              <a:extLst>
                <a:ext uri="{FF2B5EF4-FFF2-40B4-BE49-F238E27FC236}">
                  <a16:creationId xmlns:a16="http://schemas.microsoft.com/office/drawing/2014/main" id="{15E76E8C-9CEF-FC4F-B9CC-A5774F6E53CE}"/>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3" name="Group 102">
            <a:extLst>
              <a:ext uri="{FF2B5EF4-FFF2-40B4-BE49-F238E27FC236}">
                <a16:creationId xmlns:a16="http://schemas.microsoft.com/office/drawing/2014/main" id="{10298A58-15CC-5444-9806-5D0000234536}"/>
              </a:ext>
            </a:extLst>
          </p:cNvPr>
          <p:cNvGrpSpPr/>
          <p:nvPr/>
        </p:nvGrpSpPr>
        <p:grpSpPr>
          <a:xfrm>
            <a:off x="5817623" y="3325735"/>
            <a:ext cx="497776" cy="517982"/>
            <a:chOff x="1653952" y="5387312"/>
            <a:chExt cx="497776" cy="517982"/>
          </a:xfrm>
        </p:grpSpPr>
        <p:sp>
          <p:nvSpPr>
            <p:cNvPr id="104" name="Freeform 578">
              <a:extLst>
                <a:ext uri="{FF2B5EF4-FFF2-40B4-BE49-F238E27FC236}">
                  <a16:creationId xmlns:a16="http://schemas.microsoft.com/office/drawing/2014/main" id="{96CA0108-2348-EF49-8BEB-2E83B08B4CA8}"/>
                </a:ext>
              </a:extLst>
            </p:cNvPr>
            <p:cNvSpPr>
              <a:spLocks noEditPoints="1"/>
            </p:cNvSpPr>
            <p:nvPr/>
          </p:nvSpPr>
          <p:spPr bwMode="auto">
            <a:xfrm>
              <a:off x="1758537" y="5475243"/>
              <a:ext cx="273406" cy="327594"/>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244">
              <a:extLst>
                <a:ext uri="{FF2B5EF4-FFF2-40B4-BE49-F238E27FC236}">
                  <a16:creationId xmlns:a16="http://schemas.microsoft.com/office/drawing/2014/main" id="{69EA8DB5-A894-BC41-9173-8C44F57CBD1B}"/>
                </a:ext>
              </a:extLst>
            </p:cNvPr>
            <p:cNvSpPr>
              <a:spLocks noEditPoints="1"/>
            </p:cNvSpPr>
            <p:nvPr/>
          </p:nvSpPr>
          <p:spPr bwMode="auto">
            <a:xfrm>
              <a:off x="1653952" y="5387312"/>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6" name="Group 105">
            <a:extLst>
              <a:ext uri="{FF2B5EF4-FFF2-40B4-BE49-F238E27FC236}">
                <a16:creationId xmlns:a16="http://schemas.microsoft.com/office/drawing/2014/main" id="{EB7B1966-92F0-E643-8FC8-0043B9C72AEA}"/>
              </a:ext>
            </a:extLst>
          </p:cNvPr>
          <p:cNvGrpSpPr/>
          <p:nvPr/>
        </p:nvGrpSpPr>
        <p:grpSpPr>
          <a:xfrm>
            <a:off x="5815963" y="4255647"/>
            <a:ext cx="497776" cy="517982"/>
            <a:chOff x="2178324" y="5366456"/>
            <a:chExt cx="497776" cy="517982"/>
          </a:xfrm>
        </p:grpSpPr>
        <p:grpSp>
          <p:nvGrpSpPr>
            <p:cNvPr id="107" name="Group 106">
              <a:extLst>
                <a:ext uri="{FF2B5EF4-FFF2-40B4-BE49-F238E27FC236}">
                  <a16:creationId xmlns:a16="http://schemas.microsoft.com/office/drawing/2014/main" id="{F034A6CB-2F9D-DA42-A277-209D32D65BF0}"/>
                </a:ext>
              </a:extLst>
            </p:cNvPr>
            <p:cNvGrpSpPr/>
            <p:nvPr/>
          </p:nvGrpSpPr>
          <p:grpSpPr>
            <a:xfrm>
              <a:off x="2278654" y="5459540"/>
              <a:ext cx="286037" cy="337619"/>
              <a:chOff x="6145213" y="7040563"/>
              <a:chExt cx="484187" cy="571500"/>
            </a:xfrm>
          </p:grpSpPr>
          <p:sp>
            <p:nvSpPr>
              <p:cNvPr id="110" name="Freeform 365">
                <a:extLst>
                  <a:ext uri="{FF2B5EF4-FFF2-40B4-BE49-F238E27FC236}">
                    <a16:creationId xmlns:a16="http://schemas.microsoft.com/office/drawing/2014/main" id="{E0CCF3EA-02CF-254C-8D75-9936B8AA9B8E}"/>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366">
                <a:extLst>
                  <a:ext uri="{FF2B5EF4-FFF2-40B4-BE49-F238E27FC236}">
                    <a16:creationId xmlns:a16="http://schemas.microsoft.com/office/drawing/2014/main" id="{11F829C8-FCFC-EE4A-B674-4559543294E9}"/>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367">
                <a:extLst>
                  <a:ext uri="{FF2B5EF4-FFF2-40B4-BE49-F238E27FC236}">
                    <a16:creationId xmlns:a16="http://schemas.microsoft.com/office/drawing/2014/main" id="{530694C3-8D37-1541-AA32-948F88D6FF14}"/>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68">
                <a:extLst>
                  <a:ext uri="{FF2B5EF4-FFF2-40B4-BE49-F238E27FC236}">
                    <a16:creationId xmlns:a16="http://schemas.microsoft.com/office/drawing/2014/main" id="{3CF326F0-9932-2E44-AB75-48FC3B410887}"/>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69">
                <a:extLst>
                  <a:ext uri="{FF2B5EF4-FFF2-40B4-BE49-F238E27FC236}">
                    <a16:creationId xmlns:a16="http://schemas.microsoft.com/office/drawing/2014/main" id="{9D4E888B-6621-4D45-BAC0-C848A28BE5BD}"/>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70">
                <a:extLst>
                  <a:ext uri="{FF2B5EF4-FFF2-40B4-BE49-F238E27FC236}">
                    <a16:creationId xmlns:a16="http://schemas.microsoft.com/office/drawing/2014/main" id="{1648CE5C-7737-0040-9F51-192557E5D232}"/>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8" name="Freeform 244">
              <a:extLst>
                <a:ext uri="{FF2B5EF4-FFF2-40B4-BE49-F238E27FC236}">
                  <a16:creationId xmlns:a16="http://schemas.microsoft.com/office/drawing/2014/main" id="{EF517235-89FF-8549-B158-E35EAD93DB18}"/>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17" name="Group 116">
            <a:extLst>
              <a:ext uri="{FF2B5EF4-FFF2-40B4-BE49-F238E27FC236}">
                <a16:creationId xmlns:a16="http://schemas.microsoft.com/office/drawing/2014/main" id="{F53857B4-CCD6-CE46-84BF-05B52B348D44}"/>
              </a:ext>
            </a:extLst>
          </p:cNvPr>
          <p:cNvGrpSpPr/>
          <p:nvPr/>
        </p:nvGrpSpPr>
        <p:grpSpPr>
          <a:xfrm>
            <a:off x="7968486" y="3734411"/>
            <a:ext cx="497776" cy="517982"/>
            <a:chOff x="3263749" y="5369359"/>
            <a:chExt cx="497776" cy="517982"/>
          </a:xfrm>
        </p:grpSpPr>
        <p:grpSp>
          <p:nvGrpSpPr>
            <p:cNvPr id="120" name="Group 119">
              <a:extLst>
                <a:ext uri="{FF2B5EF4-FFF2-40B4-BE49-F238E27FC236}">
                  <a16:creationId xmlns:a16="http://schemas.microsoft.com/office/drawing/2014/main" id="{9A848388-5ACB-3B46-A740-6B2782CE8927}"/>
                </a:ext>
              </a:extLst>
            </p:cNvPr>
            <p:cNvGrpSpPr/>
            <p:nvPr/>
          </p:nvGrpSpPr>
          <p:grpSpPr>
            <a:xfrm>
              <a:off x="3360387" y="5489549"/>
              <a:ext cx="307263" cy="313288"/>
              <a:chOff x="2757488" y="230188"/>
              <a:chExt cx="485775" cy="495300"/>
            </a:xfrm>
          </p:grpSpPr>
          <p:sp>
            <p:nvSpPr>
              <p:cNvPr id="122" name="Freeform 94">
                <a:extLst>
                  <a:ext uri="{FF2B5EF4-FFF2-40B4-BE49-F238E27FC236}">
                    <a16:creationId xmlns:a16="http://schemas.microsoft.com/office/drawing/2014/main" id="{D1CD4671-6C12-E54B-A910-DD2A57542C45}"/>
                  </a:ext>
                </a:extLst>
              </p:cNvPr>
              <p:cNvSpPr>
                <a:spLocks noEditPoints="1"/>
              </p:cNvSpPr>
              <p:nvPr/>
            </p:nvSpPr>
            <p:spPr bwMode="auto">
              <a:xfrm>
                <a:off x="2757488" y="230188"/>
                <a:ext cx="485775" cy="412750"/>
              </a:xfrm>
              <a:custGeom>
                <a:avLst/>
                <a:gdLst>
                  <a:gd name="T0" fmla="*/ 223 w 237"/>
                  <a:gd name="T1" fmla="*/ 24 h 202"/>
                  <a:gd name="T2" fmla="*/ 67 w 237"/>
                  <a:gd name="T3" fmla="*/ 24 h 202"/>
                  <a:gd name="T4" fmla="*/ 50 w 237"/>
                  <a:gd name="T5" fmla="*/ 0 h 202"/>
                  <a:gd name="T6" fmla="*/ 15 w 237"/>
                  <a:gd name="T7" fmla="*/ 0 h 202"/>
                  <a:gd name="T8" fmla="*/ 0 w 237"/>
                  <a:gd name="T9" fmla="*/ 15 h 202"/>
                  <a:gd name="T10" fmla="*/ 0 w 237"/>
                  <a:gd name="T11" fmla="*/ 188 h 202"/>
                  <a:gd name="T12" fmla="*/ 15 w 237"/>
                  <a:gd name="T13" fmla="*/ 202 h 202"/>
                  <a:gd name="T14" fmla="*/ 65 w 237"/>
                  <a:gd name="T15" fmla="*/ 202 h 202"/>
                  <a:gd name="T16" fmla="*/ 70 w 237"/>
                  <a:gd name="T17" fmla="*/ 197 h 202"/>
                  <a:gd name="T18" fmla="*/ 65 w 237"/>
                  <a:gd name="T19" fmla="*/ 192 h 202"/>
                  <a:gd name="T20" fmla="*/ 15 w 237"/>
                  <a:gd name="T21" fmla="*/ 192 h 202"/>
                  <a:gd name="T22" fmla="*/ 10 w 237"/>
                  <a:gd name="T23" fmla="*/ 188 h 202"/>
                  <a:gd name="T24" fmla="*/ 10 w 237"/>
                  <a:gd name="T25" fmla="*/ 67 h 202"/>
                  <a:gd name="T26" fmla="*/ 228 w 237"/>
                  <a:gd name="T27" fmla="*/ 67 h 202"/>
                  <a:gd name="T28" fmla="*/ 228 w 237"/>
                  <a:gd name="T29" fmla="*/ 188 h 202"/>
                  <a:gd name="T30" fmla="*/ 223 w 237"/>
                  <a:gd name="T31" fmla="*/ 192 h 202"/>
                  <a:gd name="T32" fmla="*/ 185 w 237"/>
                  <a:gd name="T33" fmla="*/ 192 h 202"/>
                  <a:gd name="T34" fmla="*/ 180 w 237"/>
                  <a:gd name="T35" fmla="*/ 197 h 202"/>
                  <a:gd name="T36" fmla="*/ 185 w 237"/>
                  <a:gd name="T37" fmla="*/ 202 h 202"/>
                  <a:gd name="T38" fmla="*/ 223 w 237"/>
                  <a:gd name="T39" fmla="*/ 202 h 202"/>
                  <a:gd name="T40" fmla="*/ 237 w 237"/>
                  <a:gd name="T41" fmla="*/ 188 h 202"/>
                  <a:gd name="T42" fmla="*/ 237 w 237"/>
                  <a:gd name="T43" fmla="*/ 38 h 202"/>
                  <a:gd name="T44" fmla="*/ 223 w 237"/>
                  <a:gd name="T45" fmla="*/ 24 h 202"/>
                  <a:gd name="T46" fmla="*/ 15 w 237"/>
                  <a:gd name="T47" fmla="*/ 10 h 202"/>
                  <a:gd name="T48" fmla="*/ 49 w 237"/>
                  <a:gd name="T49" fmla="*/ 10 h 202"/>
                  <a:gd name="T50" fmla="*/ 60 w 237"/>
                  <a:gd name="T51" fmla="*/ 31 h 202"/>
                  <a:gd name="T52" fmla="*/ 64 w 237"/>
                  <a:gd name="T53" fmla="*/ 34 h 202"/>
                  <a:gd name="T54" fmla="*/ 223 w 237"/>
                  <a:gd name="T55" fmla="*/ 34 h 202"/>
                  <a:gd name="T56" fmla="*/ 228 w 237"/>
                  <a:gd name="T57" fmla="*/ 38 h 202"/>
                  <a:gd name="T58" fmla="*/ 228 w 237"/>
                  <a:gd name="T59" fmla="*/ 57 h 202"/>
                  <a:gd name="T60" fmla="*/ 10 w 237"/>
                  <a:gd name="T61" fmla="*/ 57 h 202"/>
                  <a:gd name="T62" fmla="*/ 10 w 237"/>
                  <a:gd name="T63" fmla="*/ 15 h 202"/>
                  <a:gd name="T64" fmla="*/ 15 w 237"/>
                  <a:gd name="T65" fmla="*/ 1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202">
                    <a:moveTo>
                      <a:pt x="223" y="24"/>
                    </a:moveTo>
                    <a:cubicBezTo>
                      <a:pt x="67" y="24"/>
                      <a:pt x="67" y="24"/>
                      <a:pt x="67" y="24"/>
                    </a:cubicBezTo>
                    <a:cubicBezTo>
                      <a:pt x="58" y="0"/>
                      <a:pt x="52" y="0"/>
                      <a:pt x="50" y="0"/>
                    </a:cubicBezTo>
                    <a:cubicBezTo>
                      <a:pt x="15" y="0"/>
                      <a:pt x="15" y="0"/>
                      <a:pt x="15" y="0"/>
                    </a:cubicBezTo>
                    <a:cubicBezTo>
                      <a:pt x="7" y="0"/>
                      <a:pt x="0" y="7"/>
                      <a:pt x="0" y="15"/>
                    </a:cubicBezTo>
                    <a:cubicBezTo>
                      <a:pt x="0" y="188"/>
                      <a:pt x="0" y="188"/>
                      <a:pt x="0" y="188"/>
                    </a:cubicBezTo>
                    <a:cubicBezTo>
                      <a:pt x="0" y="195"/>
                      <a:pt x="7" y="202"/>
                      <a:pt x="15" y="202"/>
                    </a:cubicBezTo>
                    <a:cubicBezTo>
                      <a:pt x="65" y="202"/>
                      <a:pt x="65" y="202"/>
                      <a:pt x="65" y="202"/>
                    </a:cubicBezTo>
                    <a:cubicBezTo>
                      <a:pt x="67" y="202"/>
                      <a:pt x="70" y="200"/>
                      <a:pt x="70" y="197"/>
                    </a:cubicBezTo>
                    <a:cubicBezTo>
                      <a:pt x="70" y="194"/>
                      <a:pt x="67" y="192"/>
                      <a:pt x="65" y="192"/>
                    </a:cubicBezTo>
                    <a:cubicBezTo>
                      <a:pt x="15" y="192"/>
                      <a:pt x="15" y="192"/>
                      <a:pt x="15" y="192"/>
                    </a:cubicBezTo>
                    <a:cubicBezTo>
                      <a:pt x="12" y="192"/>
                      <a:pt x="10" y="190"/>
                      <a:pt x="10" y="188"/>
                    </a:cubicBezTo>
                    <a:cubicBezTo>
                      <a:pt x="10" y="67"/>
                      <a:pt x="10" y="67"/>
                      <a:pt x="10" y="67"/>
                    </a:cubicBezTo>
                    <a:cubicBezTo>
                      <a:pt x="228" y="67"/>
                      <a:pt x="228" y="67"/>
                      <a:pt x="228" y="67"/>
                    </a:cubicBezTo>
                    <a:cubicBezTo>
                      <a:pt x="228" y="188"/>
                      <a:pt x="228" y="188"/>
                      <a:pt x="228" y="188"/>
                    </a:cubicBezTo>
                    <a:cubicBezTo>
                      <a:pt x="228" y="190"/>
                      <a:pt x="226" y="192"/>
                      <a:pt x="223" y="192"/>
                    </a:cubicBezTo>
                    <a:cubicBezTo>
                      <a:pt x="185" y="192"/>
                      <a:pt x="185" y="192"/>
                      <a:pt x="185" y="192"/>
                    </a:cubicBezTo>
                    <a:cubicBezTo>
                      <a:pt x="182" y="192"/>
                      <a:pt x="180" y="194"/>
                      <a:pt x="180" y="197"/>
                    </a:cubicBezTo>
                    <a:cubicBezTo>
                      <a:pt x="180" y="200"/>
                      <a:pt x="182" y="202"/>
                      <a:pt x="185" y="202"/>
                    </a:cubicBezTo>
                    <a:cubicBezTo>
                      <a:pt x="223" y="202"/>
                      <a:pt x="223" y="202"/>
                      <a:pt x="223" y="202"/>
                    </a:cubicBezTo>
                    <a:cubicBezTo>
                      <a:pt x="231" y="202"/>
                      <a:pt x="237" y="195"/>
                      <a:pt x="237" y="188"/>
                    </a:cubicBezTo>
                    <a:cubicBezTo>
                      <a:pt x="237" y="38"/>
                      <a:pt x="237" y="38"/>
                      <a:pt x="237" y="38"/>
                    </a:cubicBezTo>
                    <a:cubicBezTo>
                      <a:pt x="237" y="31"/>
                      <a:pt x="231" y="24"/>
                      <a:pt x="223" y="24"/>
                    </a:cubicBezTo>
                    <a:close/>
                    <a:moveTo>
                      <a:pt x="15" y="10"/>
                    </a:moveTo>
                    <a:cubicBezTo>
                      <a:pt x="49" y="10"/>
                      <a:pt x="49" y="10"/>
                      <a:pt x="49" y="10"/>
                    </a:cubicBezTo>
                    <a:cubicBezTo>
                      <a:pt x="51" y="12"/>
                      <a:pt x="56" y="22"/>
                      <a:pt x="60" y="31"/>
                    </a:cubicBezTo>
                    <a:cubicBezTo>
                      <a:pt x="60" y="33"/>
                      <a:pt x="62" y="34"/>
                      <a:pt x="64" y="34"/>
                    </a:cubicBezTo>
                    <a:cubicBezTo>
                      <a:pt x="223" y="34"/>
                      <a:pt x="223" y="34"/>
                      <a:pt x="223" y="34"/>
                    </a:cubicBezTo>
                    <a:cubicBezTo>
                      <a:pt x="226" y="34"/>
                      <a:pt x="228" y="36"/>
                      <a:pt x="228" y="38"/>
                    </a:cubicBezTo>
                    <a:cubicBezTo>
                      <a:pt x="228" y="57"/>
                      <a:pt x="228" y="57"/>
                      <a:pt x="228" y="57"/>
                    </a:cubicBezTo>
                    <a:cubicBezTo>
                      <a:pt x="10" y="57"/>
                      <a:pt x="10" y="57"/>
                      <a:pt x="10" y="57"/>
                    </a:cubicBezTo>
                    <a:cubicBezTo>
                      <a:pt x="10" y="15"/>
                      <a:pt x="10" y="15"/>
                      <a:pt x="10" y="15"/>
                    </a:cubicBezTo>
                    <a:cubicBezTo>
                      <a:pt x="10" y="12"/>
                      <a:pt x="12" y="10"/>
                      <a:pt x="1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3" name="Freeform 95">
                <a:extLst>
                  <a:ext uri="{FF2B5EF4-FFF2-40B4-BE49-F238E27FC236}">
                    <a16:creationId xmlns:a16="http://schemas.microsoft.com/office/drawing/2014/main" id="{1D56534F-89ED-1B42-A89A-9862592A926E}"/>
                  </a:ext>
                </a:extLst>
              </p:cNvPr>
              <p:cNvSpPr>
                <a:spLocks noEditPoints="1"/>
              </p:cNvSpPr>
              <p:nvPr/>
            </p:nvSpPr>
            <p:spPr bwMode="auto">
              <a:xfrm>
                <a:off x="2849563" y="392113"/>
                <a:ext cx="293688" cy="333375"/>
              </a:xfrm>
              <a:custGeom>
                <a:avLst/>
                <a:gdLst>
                  <a:gd name="T0" fmla="*/ 93 w 143"/>
                  <a:gd name="T1" fmla="*/ 95 h 163"/>
                  <a:gd name="T2" fmla="*/ 109 w 143"/>
                  <a:gd name="T3" fmla="*/ 62 h 163"/>
                  <a:gd name="T4" fmla="*/ 62 w 143"/>
                  <a:gd name="T5" fmla="*/ 3 h 163"/>
                  <a:gd name="T6" fmla="*/ 3 w 143"/>
                  <a:gd name="T7" fmla="*/ 51 h 163"/>
                  <a:gd name="T8" fmla="*/ 50 w 143"/>
                  <a:gd name="T9" fmla="*/ 109 h 163"/>
                  <a:gd name="T10" fmla="*/ 56 w 143"/>
                  <a:gd name="T11" fmla="*/ 110 h 163"/>
                  <a:gd name="T12" fmla="*/ 56 w 143"/>
                  <a:gd name="T13" fmla="*/ 110 h 163"/>
                  <a:gd name="T14" fmla="*/ 86 w 143"/>
                  <a:gd name="T15" fmla="*/ 101 h 163"/>
                  <a:gd name="T16" fmla="*/ 134 w 143"/>
                  <a:gd name="T17" fmla="*/ 161 h 163"/>
                  <a:gd name="T18" fmla="*/ 138 w 143"/>
                  <a:gd name="T19" fmla="*/ 163 h 163"/>
                  <a:gd name="T20" fmla="*/ 141 w 143"/>
                  <a:gd name="T21" fmla="*/ 162 h 163"/>
                  <a:gd name="T22" fmla="*/ 142 w 143"/>
                  <a:gd name="T23" fmla="*/ 155 h 163"/>
                  <a:gd name="T24" fmla="*/ 93 w 143"/>
                  <a:gd name="T25" fmla="*/ 95 h 163"/>
                  <a:gd name="T26" fmla="*/ 51 w 143"/>
                  <a:gd name="T27" fmla="*/ 100 h 163"/>
                  <a:gd name="T28" fmla="*/ 13 w 143"/>
                  <a:gd name="T29" fmla="*/ 52 h 163"/>
                  <a:gd name="T30" fmla="*/ 56 w 143"/>
                  <a:gd name="T31" fmla="*/ 13 h 163"/>
                  <a:gd name="T32" fmla="*/ 61 w 143"/>
                  <a:gd name="T33" fmla="*/ 13 h 163"/>
                  <a:gd name="T34" fmla="*/ 99 w 143"/>
                  <a:gd name="T35" fmla="*/ 61 h 163"/>
                  <a:gd name="T36" fmla="*/ 51 w 143"/>
                  <a:gd name="T37" fmla="*/ 10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163">
                    <a:moveTo>
                      <a:pt x="93" y="95"/>
                    </a:moveTo>
                    <a:cubicBezTo>
                      <a:pt x="102" y="86"/>
                      <a:pt x="108" y="75"/>
                      <a:pt x="109" y="62"/>
                    </a:cubicBezTo>
                    <a:cubicBezTo>
                      <a:pt x="112" y="33"/>
                      <a:pt x="91" y="7"/>
                      <a:pt x="62" y="3"/>
                    </a:cubicBezTo>
                    <a:cubicBezTo>
                      <a:pt x="32" y="0"/>
                      <a:pt x="6" y="22"/>
                      <a:pt x="3" y="51"/>
                    </a:cubicBezTo>
                    <a:cubicBezTo>
                      <a:pt x="0" y="80"/>
                      <a:pt x="21" y="106"/>
                      <a:pt x="50" y="109"/>
                    </a:cubicBezTo>
                    <a:cubicBezTo>
                      <a:pt x="52" y="110"/>
                      <a:pt x="54" y="110"/>
                      <a:pt x="56" y="110"/>
                    </a:cubicBezTo>
                    <a:cubicBezTo>
                      <a:pt x="56" y="110"/>
                      <a:pt x="56" y="110"/>
                      <a:pt x="56" y="110"/>
                    </a:cubicBezTo>
                    <a:cubicBezTo>
                      <a:pt x="67" y="110"/>
                      <a:pt x="77" y="106"/>
                      <a:pt x="86" y="101"/>
                    </a:cubicBezTo>
                    <a:cubicBezTo>
                      <a:pt x="134" y="161"/>
                      <a:pt x="134" y="161"/>
                      <a:pt x="134" y="161"/>
                    </a:cubicBezTo>
                    <a:cubicBezTo>
                      <a:pt x="135" y="162"/>
                      <a:pt x="136" y="163"/>
                      <a:pt x="138" y="163"/>
                    </a:cubicBezTo>
                    <a:cubicBezTo>
                      <a:pt x="139" y="163"/>
                      <a:pt x="140" y="162"/>
                      <a:pt x="141" y="162"/>
                    </a:cubicBezTo>
                    <a:cubicBezTo>
                      <a:pt x="143" y="160"/>
                      <a:pt x="143" y="157"/>
                      <a:pt x="142" y="155"/>
                    </a:cubicBezTo>
                    <a:lnTo>
                      <a:pt x="93" y="95"/>
                    </a:lnTo>
                    <a:close/>
                    <a:moveTo>
                      <a:pt x="51" y="100"/>
                    </a:moveTo>
                    <a:cubicBezTo>
                      <a:pt x="27" y="97"/>
                      <a:pt x="10" y="76"/>
                      <a:pt x="13" y="52"/>
                    </a:cubicBezTo>
                    <a:cubicBezTo>
                      <a:pt x="15" y="30"/>
                      <a:pt x="34" y="13"/>
                      <a:pt x="56" y="13"/>
                    </a:cubicBezTo>
                    <a:cubicBezTo>
                      <a:pt x="57" y="13"/>
                      <a:pt x="59" y="13"/>
                      <a:pt x="61" y="13"/>
                    </a:cubicBezTo>
                    <a:cubicBezTo>
                      <a:pt x="85" y="16"/>
                      <a:pt x="102" y="37"/>
                      <a:pt x="99" y="61"/>
                    </a:cubicBezTo>
                    <a:cubicBezTo>
                      <a:pt x="97" y="85"/>
                      <a:pt x="76" y="102"/>
                      <a:pt x="51" y="10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21" name="Freeform 244">
              <a:extLst>
                <a:ext uri="{FF2B5EF4-FFF2-40B4-BE49-F238E27FC236}">
                  <a16:creationId xmlns:a16="http://schemas.microsoft.com/office/drawing/2014/main" id="{A5018F98-EAA2-F949-B0BD-E39657F71A13}"/>
                </a:ext>
              </a:extLst>
            </p:cNvPr>
            <p:cNvSpPr>
              <a:spLocks noEditPoints="1"/>
            </p:cNvSpPr>
            <p:nvPr/>
          </p:nvSpPr>
          <p:spPr bwMode="auto">
            <a:xfrm>
              <a:off x="3263749" y="536935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4" name="Group 123">
            <a:extLst>
              <a:ext uri="{FF2B5EF4-FFF2-40B4-BE49-F238E27FC236}">
                <a16:creationId xmlns:a16="http://schemas.microsoft.com/office/drawing/2014/main" id="{47EF67BB-1D55-4D45-B281-5302F400BAED}"/>
              </a:ext>
            </a:extLst>
          </p:cNvPr>
          <p:cNvGrpSpPr/>
          <p:nvPr/>
        </p:nvGrpSpPr>
        <p:grpSpPr>
          <a:xfrm>
            <a:off x="7959504" y="4824032"/>
            <a:ext cx="497776" cy="517982"/>
            <a:chOff x="3825224" y="5361349"/>
            <a:chExt cx="497776" cy="517982"/>
          </a:xfrm>
        </p:grpSpPr>
        <p:sp>
          <p:nvSpPr>
            <p:cNvPr id="125" name="Freeform 8">
              <a:extLst>
                <a:ext uri="{FF2B5EF4-FFF2-40B4-BE49-F238E27FC236}">
                  <a16:creationId xmlns:a16="http://schemas.microsoft.com/office/drawing/2014/main" id="{992AEFE8-C6EE-5242-9369-55F102A1F629}"/>
                </a:ext>
              </a:extLst>
            </p:cNvPr>
            <p:cNvSpPr>
              <a:spLocks noEditPoints="1"/>
            </p:cNvSpPr>
            <p:nvPr/>
          </p:nvSpPr>
          <p:spPr bwMode="auto">
            <a:xfrm>
              <a:off x="3923634" y="5481333"/>
              <a:ext cx="288044" cy="284498"/>
            </a:xfrm>
            <a:custGeom>
              <a:avLst/>
              <a:gdLst>
                <a:gd name="T0" fmla="*/ 240 w 241"/>
                <a:gd name="T1" fmla="*/ 55 h 238"/>
                <a:gd name="T2" fmla="*/ 240 w 241"/>
                <a:gd name="T3" fmla="*/ 54 h 238"/>
                <a:gd name="T4" fmla="*/ 192 w 241"/>
                <a:gd name="T5" fmla="*/ 0 h 238"/>
                <a:gd name="T6" fmla="*/ 45 w 241"/>
                <a:gd name="T7" fmla="*/ 2 h 238"/>
                <a:gd name="T8" fmla="*/ 1 w 241"/>
                <a:gd name="T9" fmla="*/ 55 h 238"/>
                <a:gd name="T10" fmla="*/ 1 w 241"/>
                <a:gd name="T11" fmla="*/ 56 h 238"/>
                <a:gd name="T12" fmla="*/ 0 w 241"/>
                <a:gd name="T13" fmla="*/ 214 h 238"/>
                <a:gd name="T14" fmla="*/ 217 w 241"/>
                <a:gd name="T15" fmla="*/ 238 h 238"/>
                <a:gd name="T16" fmla="*/ 241 w 241"/>
                <a:gd name="T17" fmla="*/ 57 h 238"/>
                <a:gd name="T18" fmla="*/ 78 w 241"/>
                <a:gd name="T19" fmla="*/ 165 h 238"/>
                <a:gd name="T20" fmla="*/ 10 w 241"/>
                <a:gd name="T21" fmla="*/ 117 h 238"/>
                <a:gd name="T22" fmla="*/ 73 w 241"/>
                <a:gd name="T23" fmla="*/ 133 h 238"/>
                <a:gd name="T24" fmla="*/ 146 w 241"/>
                <a:gd name="T25" fmla="*/ 155 h 238"/>
                <a:gd name="T26" fmla="*/ 168 w 241"/>
                <a:gd name="T27" fmla="*/ 117 h 238"/>
                <a:gd name="T28" fmla="*/ 231 w 241"/>
                <a:gd name="T29" fmla="*/ 165 h 238"/>
                <a:gd name="T30" fmla="*/ 158 w 241"/>
                <a:gd name="T31" fmla="*/ 170 h 238"/>
                <a:gd name="T32" fmla="*/ 146 w 241"/>
                <a:gd name="T33" fmla="*/ 203 h 238"/>
                <a:gd name="T34" fmla="*/ 83 w 241"/>
                <a:gd name="T35" fmla="*/ 191 h 238"/>
                <a:gd name="T36" fmla="*/ 78 w 241"/>
                <a:gd name="T37" fmla="*/ 165 h 238"/>
                <a:gd name="T38" fmla="*/ 146 w 241"/>
                <a:gd name="T39" fmla="*/ 100 h 238"/>
                <a:gd name="T40" fmla="*/ 168 w 241"/>
                <a:gd name="T41" fmla="*/ 62 h 238"/>
                <a:gd name="T42" fmla="*/ 231 w 241"/>
                <a:gd name="T43" fmla="*/ 107 h 238"/>
                <a:gd name="T44" fmla="*/ 158 w 241"/>
                <a:gd name="T45" fmla="*/ 112 h 238"/>
                <a:gd name="T46" fmla="*/ 146 w 241"/>
                <a:gd name="T47" fmla="*/ 145 h 238"/>
                <a:gd name="T48" fmla="*/ 83 w 241"/>
                <a:gd name="T49" fmla="*/ 133 h 238"/>
                <a:gd name="T50" fmla="*/ 78 w 241"/>
                <a:gd name="T51" fmla="*/ 107 h 238"/>
                <a:gd name="T52" fmla="*/ 10 w 241"/>
                <a:gd name="T53" fmla="*/ 62 h 238"/>
                <a:gd name="T54" fmla="*/ 73 w 241"/>
                <a:gd name="T55" fmla="*/ 78 h 238"/>
                <a:gd name="T56" fmla="*/ 51 w 241"/>
                <a:gd name="T57" fmla="*/ 10 h 238"/>
                <a:gd name="T58" fmla="*/ 226 w 241"/>
                <a:gd name="T59" fmla="*/ 52 h 238"/>
                <a:gd name="T60" fmla="*/ 158 w 241"/>
                <a:gd name="T61" fmla="*/ 57 h 238"/>
                <a:gd name="T62" fmla="*/ 146 w 241"/>
                <a:gd name="T63" fmla="*/ 90 h 238"/>
                <a:gd name="T64" fmla="*/ 83 w 241"/>
                <a:gd name="T65" fmla="*/ 78 h 238"/>
                <a:gd name="T66" fmla="*/ 78 w 241"/>
                <a:gd name="T67" fmla="*/ 52 h 238"/>
                <a:gd name="T68" fmla="*/ 51 w 241"/>
                <a:gd name="T69" fmla="*/ 10 h 238"/>
                <a:gd name="T70" fmla="*/ 24 w 241"/>
                <a:gd name="T71" fmla="*/ 228 h 238"/>
                <a:gd name="T72" fmla="*/ 10 w 241"/>
                <a:gd name="T73" fmla="*/ 175 h 238"/>
                <a:gd name="T74" fmla="*/ 73 w 241"/>
                <a:gd name="T75" fmla="*/ 191 h 238"/>
                <a:gd name="T76" fmla="*/ 146 w 241"/>
                <a:gd name="T77" fmla="*/ 213 h 238"/>
                <a:gd name="T78" fmla="*/ 168 w 241"/>
                <a:gd name="T79" fmla="*/ 175 h 238"/>
                <a:gd name="T80" fmla="*/ 231 w 241"/>
                <a:gd name="T81" fmla="*/ 21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 h="238">
                  <a:moveTo>
                    <a:pt x="241" y="56"/>
                  </a:moveTo>
                  <a:cubicBezTo>
                    <a:pt x="241" y="56"/>
                    <a:pt x="240" y="56"/>
                    <a:pt x="240" y="55"/>
                  </a:cubicBezTo>
                  <a:cubicBezTo>
                    <a:pt x="240" y="55"/>
                    <a:pt x="240" y="55"/>
                    <a:pt x="240" y="55"/>
                  </a:cubicBezTo>
                  <a:cubicBezTo>
                    <a:pt x="240" y="54"/>
                    <a:pt x="240" y="54"/>
                    <a:pt x="240" y="54"/>
                  </a:cubicBezTo>
                  <a:cubicBezTo>
                    <a:pt x="196" y="2"/>
                    <a:pt x="196" y="2"/>
                    <a:pt x="196" y="2"/>
                  </a:cubicBezTo>
                  <a:cubicBezTo>
                    <a:pt x="195" y="1"/>
                    <a:pt x="194" y="0"/>
                    <a:pt x="192" y="0"/>
                  </a:cubicBezTo>
                  <a:cubicBezTo>
                    <a:pt x="49" y="0"/>
                    <a:pt x="49" y="0"/>
                    <a:pt x="49" y="0"/>
                  </a:cubicBezTo>
                  <a:cubicBezTo>
                    <a:pt x="47" y="0"/>
                    <a:pt x="46" y="1"/>
                    <a:pt x="45" y="2"/>
                  </a:cubicBezTo>
                  <a:cubicBezTo>
                    <a:pt x="2" y="54"/>
                    <a:pt x="2" y="54"/>
                    <a:pt x="2" y="54"/>
                  </a:cubicBezTo>
                  <a:cubicBezTo>
                    <a:pt x="1" y="54"/>
                    <a:pt x="1" y="54"/>
                    <a:pt x="1" y="55"/>
                  </a:cubicBezTo>
                  <a:cubicBezTo>
                    <a:pt x="1" y="55"/>
                    <a:pt x="1" y="55"/>
                    <a:pt x="1" y="55"/>
                  </a:cubicBezTo>
                  <a:cubicBezTo>
                    <a:pt x="1" y="56"/>
                    <a:pt x="1" y="56"/>
                    <a:pt x="1" y="56"/>
                  </a:cubicBezTo>
                  <a:cubicBezTo>
                    <a:pt x="1" y="57"/>
                    <a:pt x="0" y="57"/>
                    <a:pt x="0" y="57"/>
                  </a:cubicBezTo>
                  <a:cubicBezTo>
                    <a:pt x="0" y="214"/>
                    <a:pt x="0" y="214"/>
                    <a:pt x="0" y="214"/>
                  </a:cubicBezTo>
                  <a:cubicBezTo>
                    <a:pt x="0" y="227"/>
                    <a:pt x="11" y="238"/>
                    <a:pt x="24" y="238"/>
                  </a:cubicBezTo>
                  <a:cubicBezTo>
                    <a:pt x="217" y="238"/>
                    <a:pt x="217" y="238"/>
                    <a:pt x="217" y="238"/>
                  </a:cubicBezTo>
                  <a:cubicBezTo>
                    <a:pt x="230" y="238"/>
                    <a:pt x="241" y="227"/>
                    <a:pt x="241" y="214"/>
                  </a:cubicBezTo>
                  <a:cubicBezTo>
                    <a:pt x="241" y="57"/>
                    <a:pt x="241" y="57"/>
                    <a:pt x="241" y="57"/>
                  </a:cubicBezTo>
                  <a:cubicBezTo>
                    <a:pt x="241" y="57"/>
                    <a:pt x="241" y="57"/>
                    <a:pt x="241" y="56"/>
                  </a:cubicBezTo>
                  <a:close/>
                  <a:moveTo>
                    <a:pt x="78" y="165"/>
                  </a:moveTo>
                  <a:cubicBezTo>
                    <a:pt x="10" y="165"/>
                    <a:pt x="10" y="165"/>
                    <a:pt x="10" y="165"/>
                  </a:cubicBezTo>
                  <a:cubicBezTo>
                    <a:pt x="10" y="117"/>
                    <a:pt x="10" y="117"/>
                    <a:pt x="10" y="117"/>
                  </a:cubicBezTo>
                  <a:cubicBezTo>
                    <a:pt x="73" y="117"/>
                    <a:pt x="73" y="117"/>
                    <a:pt x="73" y="117"/>
                  </a:cubicBezTo>
                  <a:cubicBezTo>
                    <a:pt x="73" y="133"/>
                    <a:pt x="73" y="133"/>
                    <a:pt x="73" y="133"/>
                  </a:cubicBezTo>
                  <a:cubicBezTo>
                    <a:pt x="73" y="145"/>
                    <a:pt x="83" y="155"/>
                    <a:pt x="95" y="155"/>
                  </a:cubicBezTo>
                  <a:cubicBezTo>
                    <a:pt x="146" y="155"/>
                    <a:pt x="146" y="155"/>
                    <a:pt x="146" y="155"/>
                  </a:cubicBezTo>
                  <a:cubicBezTo>
                    <a:pt x="158" y="155"/>
                    <a:pt x="168" y="145"/>
                    <a:pt x="168" y="133"/>
                  </a:cubicBezTo>
                  <a:cubicBezTo>
                    <a:pt x="168" y="117"/>
                    <a:pt x="168" y="117"/>
                    <a:pt x="168" y="117"/>
                  </a:cubicBezTo>
                  <a:cubicBezTo>
                    <a:pt x="231" y="117"/>
                    <a:pt x="231" y="117"/>
                    <a:pt x="231" y="117"/>
                  </a:cubicBezTo>
                  <a:cubicBezTo>
                    <a:pt x="231" y="165"/>
                    <a:pt x="231" y="165"/>
                    <a:pt x="231" y="165"/>
                  </a:cubicBezTo>
                  <a:cubicBezTo>
                    <a:pt x="163" y="165"/>
                    <a:pt x="163" y="165"/>
                    <a:pt x="163" y="165"/>
                  </a:cubicBezTo>
                  <a:cubicBezTo>
                    <a:pt x="160" y="165"/>
                    <a:pt x="158" y="167"/>
                    <a:pt x="158" y="170"/>
                  </a:cubicBezTo>
                  <a:cubicBezTo>
                    <a:pt x="158" y="191"/>
                    <a:pt x="158" y="191"/>
                    <a:pt x="158" y="191"/>
                  </a:cubicBezTo>
                  <a:cubicBezTo>
                    <a:pt x="158" y="198"/>
                    <a:pt x="153" y="203"/>
                    <a:pt x="146" y="203"/>
                  </a:cubicBezTo>
                  <a:cubicBezTo>
                    <a:pt x="95" y="203"/>
                    <a:pt x="95" y="203"/>
                    <a:pt x="95" y="203"/>
                  </a:cubicBezTo>
                  <a:cubicBezTo>
                    <a:pt x="88" y="203"/>
                    <a:pt x="83" y="198"/>
                    <a:pt x="83" y="191"/>
                  </a:cubicBezTo>
                  <a:cubicBezTo>
                    <a:pt x="83" y="170"/>
                    <a:pt x="83" y="170"/>
                    <a:pt x="83" y="170"/>
                  </a:cubicBezTo>
                  <a:cubicBezTo>
                    <a:pt x="83" y="167"/>
                    <a:pt x="81" y="165"/>
                    <a:pt x="78" y="165"/>
                  </a:cubicBezTo>
                  <a:close/>
                  <a:moveTo>
                    <a:pt x="95" y="100"/>
                  </a:moveTo>
                  <a:cubicBezTo>
                    <a:pt x="146" y="100"/>
                    <a:pt x="146" y="100"/>
                    <a:pt x="146" y="100"/>
                  </a:cubicBezTo>
                  <a:cubicBezTo>
                    <a:pt x="158" y="100"/>
                    <a:pt x="168" y="90"/>
                    <a:pt x="168" y="78"/>
                  </a:cubicBezTo>
                  <a:cubicBezTo>
                    <a:pt x="168" y="62"/>
                    <a:pt x="168" y="62"/>
                    <a:pt x="168" y="62"/>
                  </a:cubicBezTo>
                  <a:cubicBezTo>
                    <a:pt x="231" y="62"/>
                    <a:pt x="231" y="62"/>
                    <a:pt x="231" y="62"/>
                  </a:cubicBezTo>
                  <a:cubicBezTo>
                    <a:pt x="231" y="107"/>
                    <a:pt x="231" y="107"/>
                    <a:pt x="231" y="107"/>
                  </a:cubicBezTo>
                  <a:cubicBezTo>
                    <a:pt x="163" y="107"/>
                    <a:pt x="163" y="107"/>
                    <a:pt x="163" y="107"/>
                  </a:cubicBezTo>
                  <a:cubicBezTo>
                    <a:pt x="160" y="107"/>
                    <a:pt x="158" y="109"/>
                    <a:pt x="158" y="112"/>
                  </a:cubicBezTo>
                  <a:cubicBezTo>
                    <a:pt x="158" y="133"/>
                    <a:pt x="158" y="133"/>
                    <a:pt x="158" y="133"/>
                  </a:cubicBezTo>
                  <a:cubicBezTo>
                    <a:pt x="158" y="140"/>
                    <a:pt x="153" y="145"/>
                    <a:pt x="146" y="145"/>
                  </a:cubicBezTo>
                  <a:cubicBezTo>
                    <a:pt x="95" y="145"/>
                    <a:pt x="95" y="145"/>
                    <a:pt x="95" y="145"/>
                  </a:cubicBezTo>
                  <a:cubicBezTo>
                    <a:pt x="88" y="145"/>
                    <a:pt x="83" y="140"/>
                    <a:pt x="83" y="133"/>
                  </a:cubicBezTo>
                  <a:cubicBezTo>
                    <a:pt x="83" y="112"/>
                    <a:pt x="83" y="112"/>
                    <a:pt x="83" y="112"/>
                  </a:cubicBezTo>
                  <a:cubicBezTo>
                    <a:pt x="83" y="109"/>
                    <a:pt x="81" y="107"/>
                    <a:pt x="78" y="107"/>
                  </a:cubicBezTo>
                  <a:cubicBezTo>
                    <a:pt x="10" y="107"/>
                    <a:pt x="10" y="107"/>
                    <a:pt x="10" y="107"/>
                  </a:cubicBezTo>
                  <a:cubicBezTo>
                    <a:pt x="10" y="62"/>
                    <a:pt x="10" y="62"/>
                    <a:pt x="10" y="62"/>
                  </a:cubicBezTo>
                  <a:cubicBezTo>
                    <a:pt x="73" y="62"/>
                    <a:pt x="73" y="62"/>
                    <a:pt x="73" y="62"/>
                  </a:cubicBezTo>
                  <a:cubicBezTo>
                    <a:pt x="73" y="78"/>
                    <a:pt x="73" y="78"/>
                    <a:pt x="73" y="78"/>
                  </a:cubicBezTo>
                  <a:cubicBezTo>
                    <a:pt x="73" y="90"/>
                    <a:pt x="83" y="100"/>
                    <a:pt x="95" y="100"/>
                  </a:cubicBezTo>
                  <a:close/>
                  <a:moveTo>
                    <a:pt x="51" y="10"/>
                  </a:moveTo>
                  <a:cubicBezTo>
                    <a:pt x="190" y="10"/>
                    <a:pt x="190" y="10"/>
                    <a:pt x="190" y="10"/>
                  </a:cubicBezTo>
                  <a:cubicBezTo>
                    <a:pt x="226" y="52"/>
                    <a:pt x="226" y="52"/>
                    <a:pt x="226" y="52"/>
                  </a:cubicBezTo>
                  <a:cubicBezTo>
                    <a:pt x="163" y="52"/>
                    <a:pt x="163" y="52"/>
                    <a:pt x="163" y="52"/>
                  </a:cubicBezTo>
                  <a:cubicBezTo>
                    <a:pt x="160" y="52"/>
                    <a:pt x="158" y="54"/>
                    <a:pt x="158" y="57"/>
                  </a:cubicBezTo>
                  <a:cubicBezTo>
                    <a:pt x="158" y="78"/>
                    <a:pt x="158" y="78"/>
                    <a:pt x="158" y="78"/>
                  </a:cubicBezTo>
                  <a:cubicBezTo>
                    <a:pt x="158" y="85"/>
                    <a:pt x="153" y="90"/>
                    <a:pt x="146" y="90"/>
                  </a:cubicBezTo>
                  <a:cubicBezTo>
                    <a:pt x="95" y="90"/>
                    <a:pt x="95" y="90"/>
                    <a:pt x="95" y="90"/>
                  </a:cubicBezTo>
                  <a:cubicBezTo>
                    <a:pt x="88" y="90"/>
                    <a:pt x="83" y="85"/>
                    <a:pt x="83" y="78"/>
                  </a:cubicBezTo>
                  <a:cubicBezTo>
                    <a:pt x="83" y="57"/>
                    <a:pt x="83" y="57"/>
                    <a:pt x="83" y="57"/>
                  </a:cubicBezTo>
                  <a:cubicBezTo>
                    <a:pt x="83" y="54"/>
                    <a:pt x="81" y="52"/>
                    <a:pt x="78" y="52"/>
                  </a:cubicBezTo>
                  <a:cubicBezTo>
                    <a:pt x="16" y="52"/>
                    <a:pt x="16" y="52"/>
                    <a:pt x="16" y="52"/>
                  </a:cubicBezTo>
                  <a:lnTo>
                    <a:pt x="51" y="10"/>
                  </a:lnTo>
                  <a:close/>
                  <a:moveTo>
                    <a:pt x="217" y="228"/>
                  </a:moveTo>
                  <a:cubicBezTo>
                    <a:pt x="24" y="228"/>
                    <a:pt x="24" y="228"/>
                    <a:pt x="24" y="228"/>
                  </a:cubicBezTo>
                  <a:cubicBezTo>
                    <a:pt x="16" y="228"/>
                    <a:pt x="10" y="222"/>
                    <a:pt x="10" y="214"/>
                  </a:cubicBezTo>
                  <a:cubicBezTo>
                    <a:pt x="10" y="175"/>
                    <a:pt x="10" y="175"/>
                    <a:pt x="10" y="175"/>
                  </a:cubicBezTo>
                  <a:cubicBezTo>
                    <a:pt x="73" y="175"/>
                    <a:pt x="73" y="175"/>
                    <a:pt x="73" y="175"/>
                  </a:cubicBezTo>
                  <a:cubicBezTo>
                    <a:pt x="73" y="191"/>
                    <a:pt x="73" y="191"/>
                    <a:pt x="73" y="191"/>
                  </a:cubicBezTo>
                  <a:cubicBezTo>
                    <a:pt x="73" y="203"/>
                    <a:pt x="83" y="213"/>
                    <a:pt x="95" y="213"/>
                  </a:cubicBezTo>
                  <a:cubicBezTo>
                    <a:pt x="146" y="213"/>
                    <a:pt x="146" y="213"/>
                    <a:pt x="146" y="213"/>
                  </a:cubicBezTo>
                  <a:cubicBezTo>
                    <a:pt x="158" y="213"/>
                    <a:pt x="168" y="203"/>
                    <a:pt x="168" y="191"/>
                  </a:cubicBezTo>
                  <a:cubicBezTo>
                    <a:pt x="168" y="175"/>
                    <a:pt x="168" y="175"/>
                    <a:pt x="168" y="175"/>
                  </a:cubicBezTo>
                  <a:cubicBezTo>
                    <a:pt x="231" y="175"/>
                    <a:pt x="231" y="175"/>
                    <a:pt x="231" y="175"/>
                  </a:cubicBezTo>
                  <a:cubicBezTo>
                    <a:pt x="231" y="214"/>
                    <a:pt x="231" y="214"/>
                    <a:pt x="231" y="214"/>
                  </a:cubicBezTo>
                  <a:cubicBezTo>
                    <a:pt x="231" y="222"/>
                    <a:pt x="225" y="228"/>
                    <a:pt x="217" y="2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6" name="Freeform 244">
              <a:extLst>
                <a:ext uri="{FF2B5EF4-FFF2-40B4-BE49-F238E27FC236}">
                  <a16:creationId xmlns:a16="http://schemas.microsoft.com/office/drawing/2014/main" id="{1F941178-CBA1-B54A-AB00-335253253BA6}"/>
                </a:ext>
              </a:extLst>
            </p:cNvPr>
            <p:cNvSpPr>
              <a:spLocks noEditPoints="1"/>
            </p:cNvSpPr>
            <p:nvPr/>
          </p:nvSpPr>
          <p:spPr bwMode="auto">
            <a:xfrm>
              <a:off x="3825224" y="536134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7" name="Group 126">
            <a:extLst>
              <a:ext uri="{FF2B5EF4-FFF2-40B4-BE49-F238E27FC236}">
                <a16:creationId xmlns:a16="http://schemas.microsoft.com/office/drawing/2014/main" id="{A48F1CD5-CF01-B642-9A4B-60021964915E}"/>
              </a:ext>
            </a:extLst>
          </p:cNvPr>
          <p:cNvGrpSpPr/>
          <p:nvPr/>
        </p:nvGrpSpPr>
        <p:grpSpPr>
          <a:xfrm>
            <a:off x="7968486" y="2678245"/>
            <a:ext cx="497776" cy="517982"/>
            <a:chOff x="2711368" y="5371524"/>
            <a:chExt cx="497776" cy="517982"/>
          </a:xfrm>
        </p:grpSpPr>
        <p:sp>
          <p:nvSpPr>
            <p:cNvPr id="128" name="Freeform 77">
              <a:extLst>
                <a:ext uri="{FF2B5EF4-FFF2-40B4-BE49-F238E27FC236}">
                  <a16:creationId xmlns:a16="http://schemas.microsoft.com/office/drawing/2014/main" id="{E4091D11-B56A-EF45-874E-9F106AAAD3D5}"/>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9" name="Freeform 244">
              <a:extLst>
                <a:ext uri="{FF2B5EF4-FFF2-40B4-BE49-F238E27FC236}">
                  <a16:creationId xmlns:a16="http://schemas.microsoft.com/office/drawing/2014/main" id="{3EBF5F22-999A-5241-A225-A12658979738}"/>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30" name="Group 129">
            <a:extLst>
              <a:ext uri="{FF2B5EF4-FFF2-40B4-BE49-F238E27FC236}">
                <a16:creationId xmlns:a16="http://schemas.microsoft.com/office/drawing/2014/main" id="{D1AA21A9-F33C-2A47-B748-32707F5146A1}"/>
              </a:ext>
            </a:extLst>
          </p:cNvPr>
          <p:cNvGrpSpPr/>
          <p:nvPr/>
        </p:nvGrpSpPr>
        <p:grpSpPr>
          <a:xfrm>
            <a:off x="10093423" y="3676279"/>
            <a:ext cx="497776" cy="517982"/>
            <a:chOff x="4395408" y="5366456"/>
            <a:chExt cx="497776" cy="517982"/>
          </a:xfrm>
        </p:grpSpPr>
        <p:grpSp>
          <p:nvGrpSpPr>
            <p:cNvPr id="131" name="Group 130">
              <a:extLst>
                <a:ext uri="{FF2B5EF4-FFF2-40B4-BE49-F238E27FC236}">
                  <a16:creationId xmlns:a16="http://schemas.microsoft.com/office/drawing/2014/main" id="{9CC9E650-3104-784D-AA33-E6035F71B1CE}"/>
                </a:ext>
              </a:extLst>
            </p:cNvPr>
            <p:cNvGrpSpPr/>
            <p:nvPr/>
          </p:nvGrpSpPr>
          <p:grpSpPr>
            <a:xfrm>
              <a:off x="4494925" y="5478085"/>
              <a:ext cx="307156" cy="307154"/>
              <a:chOff x="4648200" y="6919913"/>
              <a:chExt cx="611188" cy="611187"/>
            </a:xfrm>
          </p:grpSpPr>
          <p:sp>
            <p:nvSpPr>
              <p:cNvPr id="133" name="Freeform 285">
                <a:extLst>
                  <a:ext uri="{FF2B5EF4-FFF2-40B4-BE49-F238E27FC236}">
                    <a16:creationId xmlns:a16="http://schemas.microsoft.com/office/drawing/2014/main" id="{8631BF9E-86B7-6446-BF7F-9BA78A4E4720}"/>
                  </a:ext>
                </a:extLst>
              </p:cNvPr>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4" name="Freeform 286">
                <a:extLst>
                  <a:ext uri="{FF2B5EF4-FFF2-40B4-BE49-F238E27FC236}">
                    <a16:creationId xmlns:a16="http://schemas.microsoft.com/office/drawing/2014/main" id="{629EB143-703B-2248-AD4D-A0AC497C5E99}"/>
                  </a:ext>
                </a:extLst>
              </p:cNvPr>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5" name="Freeform 287">
                <a:extLst>
                  <a:ext uri="{FF2B5EF4-FFF2-40B4-BE49-F238E27FC236}">
                    <a16:creationId xmlns:a16="http://schemas.microsoft.com/office/drawing/2014/main" id="{B6107AF6-DFC3-9B4A-BF22-626094E5E4C2}"/>
                  </a:ext>
                </a:extLst>
              </p:cNvPr>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6" name="Freeform 288">
                <a:extLst>
                  <a:ext uri="{FF2B5EF4-FFF2-40B4-BE49-F238E27FC236}">
                    <a16:creationId xmlns:a16="http://schemas.microsoft.com/office/drawing/2014/main" id="{0CA1614E-773E-8942-8F0F-ED8E98BD197D}"/>
                  </a:ext>
                </a:extLst>
              </p:cNvPr>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7" name="Freeform 289">
                <a:extLst>
                  <a:ext uri="{FF2B5EF4-FFF2-40B4-BE49-F238E27FC236}">
                    <a16:creationId xmlns:a16="http://schemas.microsoft.com/office/drawing/2014/main" id="{D7C3A6E4-98F2-2A44-8D85-046D2C9E14AE}"/>
                  </a:ext>
                </a:extLst>
              </p:cNvPr>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8" name="Freeform 290">
                <a:extLst>
                  <a:ext uri="{FF2B5EF4-FFF2-40B4-BE49-F238E27FC236}">
                    <a16:creationId xmlns:a16="http://schemas.microsoft.com/office/drawing/2014/main" id="{790D1B7D-1519-6F4B-873E-9B7265805D43}"/>
                  </a:ext>
                </a:extLst>
              </p:cNvPr>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9" name="Freeform 291">
                <a:extLst>
                  <a:ext uri="{FF2B5EF4-FFF2-40B4-BE49-F238E27FC236}">
                    <a16:creationId xmlns:a16="http://schemas.microsoft.com/office/drawing/2014/main" id="{548A30D1-9861-AE4B-B7A8-5E795AFB7D19}"/>
                  </a:ext>
                </a:extLst>
              </p:cNvPr>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0" name="Freeform 292">
                <a:extLst>
                  <a:ext uri="{FF2B5EF4-FFF2-40B4-BE49-F238E27FC236}">
                    <a16:creationId xmlns:a16="http://schemas.microsoft.com/office/drawing/2014/main" id="{950AF691-A825-EB4F-B939-3E8C3F3AF4C6}"/>
                  </a:ext>
                </a:extLst>
              </p:cNvPr>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32" name="Freeform 244">
              <a:extLst>
                <a:ext uri="{FF2B5EF4-FFF2-40B4-BE49-F238E27FC236}">
                  <a16:creationId xmlns:a16="http://schemas.microsoft.com/office/drawing/2014/main" id="{A0833A06-47F7-DE4A-A8CC-86BCC5983302}"/>
                </a:ext>
              </a:extLst>
            </p:cNvPr>
            <p:cNvSpPr>
              <a:spLocks noEditPoints="1"/>
            </p:cNvSpPr>
            <p:nvPr/>
          </p:nvSpPr>
          <p:spPr bwMode="auto">
            <a:xfrm>
              <a:off x="4395408"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1" name="Group 140">
            <a:extLst>
              <a:ext uri="{FF2B5EF4-FFF2-40B4-BE49-F238E27FC236}">
                <a16:creationId xmlns:a16="http://schemas.microsoft.com/office/drawing/2014/main" id="{87E719C2-58C3-3A48-9E2C-9FC4EEA91294}"/>
              </a:ext>
            </a:extLst>
          </p:cNvPr>
          <p:cNvGrpSpPr/>
          <p:nvPr/>
        </p:nvGrpSpPr>
        <p:grpSpPr>
          <a:xfrm>
            <a:off x="10109981" y="4817936"/>
            <a:ext cx="497776" cy="517982"/>
            <a:chOff x="5302152" y="5598347"/>
            <a:chExt cx="497776" cy="517982"/>
          </a:xfrm>
        </p:grpSpPr>
        <p:sp>
          <p:nvSpPr>
            <p:cNvPr id="142" name="Freeform 244">
              <a:extLst>
                <a:ext uri="{FF2B5EF4-FFF2-40B4-BE49-F238E27FC236}">
                  <a16:creationId xmlns:a16="http://schemas.microsoft.com/office/drawing/2014/main" id="{916DC378-634B-5448-8132-D8A2DEB0007D}"/>
                </a:ext>
              </a:extLst>
            </p:cNvPr>
            <p:cNvSpPr>
              <a:spLocks noEditPoints="1"/>
            </p:cNvSpPr>
            <p:nvPr/>
          </p:nvSpPr>
          <p:spPr bwMode="auto">
            <a:xfrm>
              <a:off x="5302152" y="5598347"/>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43" name="Group 142">
              <a:extLst>
                <a:ext uri="{FF2B5EF4-FFF2-40B4-BE49-F238E27FC236}">
                  <a16:creationId xmlns:a16="http://schemas.microsoft.com/office/drawing/2014/main" id="{350178E9-9988-F64C-BCA3-16FDC4A55153}"/>
                </a:ext>
              </a:extLst>
            </p:cNvPr>
            <p:cNvGrpSpPr/>
            <p:nvPr/>
          </p:nvGrpSpPr>
          <p:grpSpPr>
            <a:xfrm>
              <a:off x="5393064" y="5718880"/>
              <a:ext cx="316110" cy="277561"/>
              <a:chOff x="1290638" y="5410200"/>
              <a:chExt cx="585787" cy="514350"/>
            </a:xfrm>
          </p:grpSpPr>
          <p:sp>
            <p:nvSpPr>
              <p:cNvPr id="144" name="Freeform 66">
                <a:extLst>
                  <a:ext uri="{FF2B5EF4-FFF2-40B4-BE49-F238E27FC236}">
                    <a16:creationId xmlns:a16="http://schemas.microsoft.com/office/drawing/2014/main" id="{9EC35BF1-F6DB-144A-ABED-5C32D34B8DEB}"/>
                  </a:ext>
                </a:extLst>
              </p:cNvPr>
              <p:cNvSpPr>
                <a:spLocks noEditPoints="1"/>
              </p:cNvSpPr>
              <p:nvPr/>
            </p:nvSpPr>
            <p:spPr bwMode="auto">
              <a:xfrm>
                <a:off x="1514475" y="5619750"/>
                <a:ext cx="161925" cy="231775"/>
              </a:xfrm>
              <a:custGeom>
                <a:avLst/>
                <a:gdLst>
                  <a:gd name="T0" fmla="*/ 7 w 66"/>
                  <a:gd name="T1" fmla="*/ 2 h 94"/>
                  <a:gd name="T2" fmla="*/ 2 w 66"/>
                  <a:gd name="T3" fmla="*/ 1 h 94"/>
                  <a:gd name="T4" fmla="*/ 0 w 66"/>
                  <a:gd name="T5" fmla="*/ 6 h 94"/>
                  <a:gd name="T6" fmla="*/ 10 w 66"/>
                  <a:gd name="T7" fmla="*/ 77 h 94"/>
                  <a:gd name="T8" fmla="*/ 13 w 66"/>
                  <a:gd name="T9" fmla="*/ 81 h 94"/>
                  <a:gd name="T10" fmla="*/ 17 w 66"/>
                  <a:gd name="T11" fmla="*/ 80 h 94"/>
                  <a:gd name="T12" fmla="*/ 30 w 66"/>
                  <a:gd name="T13" fmla="*/ 70 h 94"/>
                  <a:gd name="T14" fmla="*/ 41 w 66"/>
                  <a:gd name="T15" fmla="*/ 91 h 94"/>
                  <a:gd name="T16" fmla="*/ 44 w 66"/>
                  <a:gd name="T17" fmla="*/ 94 h 94"/>
                  <a:gd name="T18" fmla="*/ 46 w 66"/>
                  <a:gd name="T19" fmla="*/ 94 h 94"/>
                  <a:gd name="T20" fmla="*/ 48 w 66"/>
                  <a:gd name="T21" fmla="*/ 93 h 94"/>
                  <a:gd name="T22" fmla="*/ 62 w 66"/>
                  <a:gd name="T23" fmla="*/ 84 h 94"/>
                  <a:gd name="T24" fmla="*/ 64 w 66"/>
                  <a:gd name="T25" fmla="*/ 81 h 94"/>
                  <a:gd name="T26" fmla="*/ 63 w 66"/>
                  <a:gd name="T27" fmla="*/ 77 h 94"/>
                  <a:gd name="T28" fmla="*/ 49 w 66"/>
                  <a:gd name="T29" fmla="*/ 59 h 94"/>
                  <a:gd name="T30" fmla="*/ 63 w 66"/>
                  <a:gd name="T31" fmla="*/ 53 h 94"/>
                  <a:gd name="T32" fmla="*/ 66 w 66"/>
                  <a:gd name="T33" fmla="*/ 49 h 94"/>
                  <a:gd name="T34" fmla="*/ 64 w 66"/>
                  <a:gd name="T35" fmla="*/ 45 h 94"/>
                  <a:gd name="T36" fmla="*/ 7 w 66"/>
                  <a:gd name="T37" fmla="*/ 2 h 94"/>
                  <a:gd name="T38" fmla="*/ 39 w 66"/>
                  <a:gd name="T39" fmla="*/ 52 h 94"/>
                  <a:gd name="T40" fmla="*/ 36 w 66"/>
                  <a:gd name="T41" fmla="*/ 55 h 94"/>
                  <a:gd name="T42" fmla="*/ 37 w 66"/>
                  <a:gd name="T43" fmla="*/ 59 h 94"/>
                  <a:gd name="T44" fmla="*/ 52 w 66"/>
                  <a:gd name="T45" fmla="*/ 79 h 94"/>
                  <a:gd name="T46" fmla="*/ 47 w 66"/>
                  <a:gd name="T47" fmla="*/ 82 h 94"/>
                  <a:gd name="T48" fmla="*/ 35 w 66"/>
                  <a:gd name="T49" fmla="*/ 60 h 94"/>
                  <a:gd name="T50" fmla="*/ 32 w 66"/>
                  <a:gd name="T51" fmla="*/ 58 h 94"/>
                  <a:gd name="T52" fmla="*/ 31 w 66"/>
                  <a:gd name="T53" fmla="*/ 57 h 94"/>
                  <a:gd name="T54" fmla="*/ 28 w 66"/>
                  <a:gd name="T55" fmla="*/ 59 h 94"/>
                  <a:gd name="T56" fmla="*/ 18 w 66"/>
                  <a:gd name="T57" fmla="*/ 67 h 94"/>
                  <a:gd name="T58" fmla="*/ 11 w 66"/>
                  <a:gd name="T59" fmla="*/ 16 h 94"/>
                  <a:gd name="T60" fmla="*/ 51 w 66"/>
                  <a:gd name="T61" fmla="*/ 47 h 94"/>
                  <a:gd name="T62" fmla="*/ 39 w 66"/>
                  <a:gd name="T63"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94">
                    <a:moveTo>
                      <a:pt x="7" y="2"/>
                    </a:moveTo>
                    <a:cubicBezTo>
                      <a:pt x="6" y="0"/>
                      <a:pt x="4" y="0"/>
                      <a:pt x="2" y="1"/>
                    </a:cubicBezTo>
                    <a:cubicBezTo>
                      <a:pt x="0" y="2"/>
                      <a:pt x="0" y="4"/>
                      <a:pt x="0" y="6"/>
                    </a:cubicBezTo>
                    <a:cubicBezTo>
                      <a:pt x="10" y="77"/>
                      <a:pt x="10" y="77"/>
                      <a:pt x="10" y="77"/>
                    </a:cubicBezTo>
                    <a:cubicBezTo>
                      <a:pt x="10" y="79"/>
                      <a:pt x="11" y="81"/>
                      <a:pt x="13" y="81"/>
                    </a:cubicBezTo>
                    <a:cubicBezTo>
                      <a:pt x="14" y="82"/>
                      <a:pt x="16" y="81"/>
                      <a:pt x="17" y="80"/>
                    </a:cubicBezTo>
                    <a:cubicBezTo>
                      <a:pt x="30" y="70"/>
                      <a:pt x="30" y="70"/>
                      <a:pt x="30" y="70"/>
                    </a:cubicBezTo>
                    <a:cubicBezTo>
                      <a:pt x="41" y="91"/>
                      <a:pt x="41" y="91"/>
                      <a:pt x="41" y="91"/>
                    </a:cubicBezTo>
                    <a:cubicBezTo>
                      <a:pt x="42" y="93"/>
                      <a:pt x="43" y="94"/>
                      <a:pt x="44" y="94"/>
                    </a:cubicBezTo>
                    <a:cubicBezTo>
                      <a:pt x="45" y="94"/>
                      <a:pt x="45" y="94"/>
                      <a:pt x="46" y="94"/>
                    </a:cubicBezTo>
                    <a:cubicBezTo>
                      <a:pt x="47" y="94"/>
                      <a:pt x="47" y="94"/>
                      <a:pt x="48" y="93"/>
                    </a:cubicBezTo>
                    <a:cubicBezTo>
                      <a:pt x="62" y="84"/>
                      <a:pt x="62" y="84"/>
                      <a:pt x="62" y="84"/>
                    </a:cubicBezTo>
                    <a:cubicBezTo>
                      <a:pt x="63" y="83"/>
                      <a:pt x="64" y="82"/>
                      <a:pt x="64" y="81"/>
                    </a:cubicBezTo>
                    <a:cubicBezTo>
                      <a:pt x="64" y="80"/>
                      <a:pt x="64" y="78"/>
                      <a:pt x="63" y="77"/>
                    </a:cubicBezTo>
                    <a:cubicBezTo>
                      <a:pt x="49" y="59"/>
                      <a:pt x="49" y="59"/>
                      <a:pt x="49" y="59"/>
                    </a:cubicBezTo>
                    <a:cubicBezTo>
                      <a:pt x="63" y="53"/>
                      <a:pt x="63" y="53"/>
                      <a:pt x="63" y="53"/>
                    </a:cubicBezTo>
                    <a:cubicBezTo>
                      <a:pt x="64" y="52"/>
                      <a:pt x="65" y="51"/>
                      <a:pt x="66" y="49"/>
                    </a:cubicBezTo>
                    <a:cubicBezTo>
                      <a:pt x="66" y="48"/>
                      <a:pt x="65" y="46"/>
                      <a:pt x="64" y="45"/>
                    </a:cubicBezTo>
                    <a:lnTo>
                      <a:pt x="7" y="2"/>
                    </a:lnTo>
                    <a:close/>
                    <a:moveTo>
                      <a:pt x="39" y="52"/>
                    </a:moveTo>
                    <a:cubicBezTo>
                      <a:pt x="38" y="53"/>
                      <a:pt x="37" y="54"/>
                      <a:pt x="36" y="55"/>
                    </a:cubicBezTo>
                    <a:cubicBezTo>
                      <a:pt x="36" y="57"/>
                      <a:pt x="36" y="58"/>
                      <a:pt x="37" y="59"/>
                    </a:cubicBezTo>
                    <a:cubicBezTo>
                      <a:pt x="52" y="79"/>
                      <a:pt x="52" y="79"/>
                      <a:pt x="52" y="79"/>
                    </a:cubicBezTo>
                    <a:cubicBezTo>
                      <a:pt x="47" y="82"/>
                      <a:pt x="47" y="82"/>
                      <a:pt x="47" y="82"/>
                    </a:cubicBezTo>
                    <a:cubicBezTo>
                      <a:pt x="35" y="60"/>
                      <a:pt x="35" y="60"/>
                      <a:pt x="35" y="60"/>
                    </a:cubicBezTo>
                    <a:cubicBezTo>
                      <a:pt x="35" y="59"/>
                      <a:pt x="33" y="58"/>
                      <a:pt x="32" y="58"/>
                    </a:cubicBezTo>
                    <a:cubicBezTo>
                      <a:pt x="32" y="58"/>
                      <a:pt x="31" y="57"/>
                      <a:pt x="31" y="57"/>
                    </a:cubicBezTo>
                    <a:cubicBezTo>
                      <a:pt x="30" y="57"/>
                      <a:pt x="29" y="58"/>
                      <a:pt x="28" y="59"/>
                    </a:cubicBezTo>
                    <a:cubicBezTo>
                      <a:pt x="18" y="67"/>
                      <a:pt x="18" y="67"/>
                      <a:pt x="18" y="67"/>
                    </a:cubicBezTo>
                    <a:cubicBezTo>
                      <a:pt x="11" y="16"/>
                      <a:pt x="11" y="16"/>
                      <a:pt x="11" y="16"/>
                    </a:cubicBezTo>
                    <a:cubicBezTo>
                      <a:pt x="51" y="47"/>
                      <a:pt x="51" y="47"/>
                      <a:pt x="51" y="47"/>
                    </a:cubicBezTo>
                    <a:lnTo>
                      <a:pt x="39" y="5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5" name="Freeform 67">
                <a:extLst>
                  <a:ext uri="{FF2B5EF4-FFF2-40B4-BE49-F238E27FC236}">
                    <a16:creationId xmlns:a16="http://schemas.microsoft.com/office/drawing/2014/main" id="{2040F4FF-D3C0-C141-93F3-684A8484DD5A}"/>
                  </a:ext>
                </a:extLst>
              </p:cNvPr>
              <p:cNvSpPr>
                <a:spLocks noEditPoints="1"/>
              </p:cNvSpPr>
              <p:nvPr/>
            </p:nvSpPr>
            <p:spPr bwMode="auto">
              <a:xfrm>
                <a:off x="12906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10 w 238"/>
                  <a:gd name="T23" fmla="*/ 10 h 209"/>
                  <a:gd name="T24" fmla="*/ 228 w 238"/>
                  <a:gd name="T25" fmla="*/ 10 h 209"/>
                  <a:gd name="T26" fmla="*/ 228 w 238"/>
                  <a:gd name="T27" fmla="*/ 56 h 209"/>
                  <a:gd name="T28" fmla="*/ 10 w 238"/>
                  <a:gd name="T29" fmla="*/ 56 h 209"/>
                  <a:gd name="T30" fmla="*/ 10 w 238"/>
                  <a:gd name="T31" fmla="*/ 10 h 209"/>
                  <a:gd name="T32" fmla="*/ 10 w 238"/>
                  <a:gd name="T33" fmla="*/ 199 h 209"/>
                  <a:gd name="T34" fmla="*/ 10 w 238"/>
                  <a:gd name="T35" fmla="*/ 66 h 209"/>
                  <a:gd name="T36" fmla="*/ 228 w 238"/>
                  <a:gd name="T37" fmla="*/ 66 h 209"/>
                  <a:gd name="T38" fmla="*/ 228 w 238"/>
                  <a:gd name="T39" fmla="*/ 199 h 209"/>
                  <a:gd name="T40" fmla="*/ 10 w 238"/>
                  <a:gd name="T4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10" y="10"/>
                    </a:moveTo>
                    <a:cubicBezTo>
                      <a:pt x="228" y="10"/>
                      <a:pt x="228" y="10"/>
                      <a:pt x="228" y="10"/>
                    </a:cubicBezTo>
                    <a:cubicBezTo>
                      <a:pt x="228" y="56"/>
                      <a:pt x="228" y="56"/>
                      <a:pt x="228" y="56"/>
                    </a:cubicBezTo>
                    <a:cubicBezTo>
                      <a:pt x="10" y="56"/>
                      <a:pt x="10" y="56"/>
                      <a:pt x="10" y="56"/>
                    </a:cubicBezTo>
                    <a:lnTo>
                      <a:pt x="1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6" name="Freeform 68">
                <a:extLst>
                  <a:ext uri="{FF2B5EF4-FFF2-40B4-BE49-F238E27FC236}">
                    <a16:creationId xmlns:a16="http://schemas.microsoft.com/office/drawing/2014/main" id="{4F78B287-860C-1841-9EC9-F05DDB30980C}"/>
                  </a:ext>
                </a:extLst>
              </p:cNvPr>
              <p:cNvSpPr>
                <a:spLocks/>
              </p:cNvSpPr>
              <p:nvPr/>
            </p:nvSpPr>
            <p:spPr bwMode="auto">
              <a:xfrm>
                <a:off x="1520825" y="5503863"/>
                <a:ext cx="82550" cy="23813"/>
              </a:xfrm>
              <a:custGeom>
                <a:avLst/>
                <a:gdLst>
                  <a:gd name="T0" fmla="*/ 29 w 33"/>
                  <a:gd name="T1" fmla="*/ 0 h 10"/>
                  <a:gd name="T2" fmla="*/ 4 w 33"/>
                  <a:gd name="T3" fmla="*/ 0 h 10"/>
                  <a:gd name="T4" fmla="*/ 0 w 33"/>
                  <a:gd name="T5" fmla="*/ 5 h 10"/>
                  <a:gd name="T6" fmla="*/ 4 w 33"/>
                  <a:gd name="T7" fmla="*/ 10 h 10"/>
                  <a:gd name="T8" fmla="*/ 29 w 33"/>
                  <a:gd name="T9" fmla="*/ 10 h 10"/>
                  <a:gd name="T10" fmla="*/ 33 w 33"/>
                  <a:gd name="T11" fmla="*/ 5 h 10"/>
                  <a:gd name="T12" fmla="*/ 29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9" y="0"/>
                    </a:moveTo>
                    <a:cubicBezTo>
                      <a:pt x="4" y="0"/>
                      <a:pt x="4" y="0"/>
                      <a:pt x="4" y="0"/>
                    </a:cubicBezTo>
                    <a:cubicBezTo>
                      <a:pt x="2" y="0"/>
                      <a:pt x="0" y="3"/>
                      <a:pt x="0" y="5"/>
                    </a:cubicBezTo>
                    <a:cubicBezTo>
                      <a:pt x="0" y="8"/>
                      <a:pt x="2" y="10"/>
                      <a:pt x="4" y="10"/>
                    </a:cubicBezTo>
                    <a:cubicBezTo>
                      <a:pt x="29" y="10"/>
                      <a:pt x="29" y="10"/>
                      <a:pt x="29" y="10"/>
                    </a:cubicBezTo>
                    <a:cubicBezTo>
                      <a:pt x="31" y="10"/>
                      <a:pt x="33" y="8"/>
                      <a:pt x="33" y="5"/>
                    </a:cubicBezTo>
                    <a:cubicBezTo>
                      <a:pt x="33" y="3"/>
                      <a:pt x="31" y="0"/>
                      <a:pt x="2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7" name="Freeform 69">
                <a:extLst>
                  <a:ext uri="{FF2B5EF4-FFF2-40B4-BE49-F238E27FC236}">
                    <a16:creationId xmlns:a16="http://schemas.microsoft.com/office/drawing/2014/main" id="{C9F3CCE7-3ECD-F14E-823F-299D146DA793}"/>
                  </a:ext>
                </a:extLst>
              </p:cNvPr>
              <p:cNvSpPr>
                <a:spLocks/>
              </p:cNvSpPr>
              <p:nvPr/>
            </p:nvSpPr>
            <p:spPr bwMode="auto">
              <a:xfrm>
                <a:off x="1741488" y="5451475"/>
                <a:ext cx="76200" cy="76200"/>
              </a:xfrm>
              <a:custGeom>
                <a:avLst/>
                <a:gdLst>
                  <a:gd name="T0" fmla="*/ 29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6 w 31"/>
                  <a:gd name="T19" fmla="*/ 31 h 31"/>
                  <a:gd name="T20" fmla="*/ 9 w 31"/>
                  <a:gd name="T21" fmla="*/ 30 h 31"/>
                  <a:gd name="T22" fmla="*/ 16 w 31"/>
                  <a:gd name="T23" fmla="*/ 23 h 31"/>
                  <a:gd name="T24" fmla="*/ 23 w 31"/>
                  <a:gd name="T25" fmla="*/ 30 h 31"/>
                  <a:gd name="T26" fmla="*/ 26 w 31"/>
                  <a:gd name="T27" fmla="*/ 31 h 31"/>
                  <a:gd name="T28" fmla="*/ 29 w 31"/>
                  <a:gd name="T29" fmla="*/ 30 h 31"/>
                  <a:gd name="T30" fmla="*/ 29 w 31"/>
                  <a:gd name="T31" fmla="*/ 23 h 31"/>
                  <a:gd name="T32" fmla="*/ 23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0"/>
                      <a:pt x="4" y="31"/>
                      <a:pt x="6" y="31"/>
                    </a:cubicBezTo>
                    <a:cubicBezTo>
                      <a:pt x="7" y="31"/>
                      <a:pt x="8" y="30"/>
                      <a:pt x="9" y="30"/>
                    </a:cubicBezTo>
                    <a:cubicBezTo>
                      <a:pt x="16" y="23"/>
                      <a:pt x="16" y="23"/>
                      <a:pt x="16" y="23"/>
                    </a:cubicBezTo>
                    <a:cubicBezTo>
                      <a:pt x="23" y="30"/>
                      <a:pt x="23" y="30"/>
                      <a:pt x="23" y="30"/>
                    </a:cubicBezTo>
                    <a:cubicBezTo>
                      <a:pt x="24" y="30"/>
                      <a:pt x="25" y="31"/>
                      <a:pt x="26" y="31"/>
                    </a:cubicBezTo>
                    <a:cubicBezTo>
                      <a:pt x="27" y="31"/>
                      <a:pt x="29" y="30"/>
                      <a:pt x="29" y="30"/>
                    </a:cubicBezTo>
                    <a:cubicBezTo>
                      <a:pt x="31" y="28"/>
                      <a:pt x="31" y="25"/>
                      <a:pt x="29" y="23"/>
                    </a:cubicBezTo>
                    <a:cubicBezTo>
                      <a:pt x="23" y="16"/>
                      <a:pt x="23" y="16"/>
                      <a:pt x="23"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8" name="Freeform 70">
                <a:extLst>
                  <a:ext uri="{FF2B5EF4-FFF2-40B4-BE49-F238E27FC236}">
                    <a16:creationId xmlns:a16="http://schemas.microsoft.com/office/drawing/2014/main" id="{EA1FBCC4-9C81-CF49-AB5B-871833851D1B}"/>
                  </a:ext>
                </a:extLst>
              </p:cNvPr>
              <p:cNvSpPr>
                <a:spLocks noEditPoints="1"/>
              </p:cNvSpPr>
              <p:nvPr/>
            </p:nvSpPr>
            <p:spPr bwMode="auto">
              <a:xfrm>
                <a:off x="1631950" y="5456238"/>
                <a:ext cx="74612" cy="71438"/>
              </a:xfrm>
              <a:custGeom>
                <a:avLst/>
                <a:gdLst>
                  <a:gd name="T0" fmla="*/ 25 w 30"/>
                  <a:gd name="T1" fmla="*/ 0 h 29"/>
                  <a:gd name="T2" fmla="*/ 4 w 30"/>
                  <a:gd name="T3" fmla="*/ 0 h 29"/>
                  <a:gd name="T4" fmla="*/ 0 w 30"/>
                  <a:gd name="T5" fmla="*/ 5 h 29"/>
                  <a:gd name="T6" fmla="*/ 0 w 30"/>
                  <a:gd name="T7" fmla="*/ 24 h 29"/>
                  <a:gd name="T8" fmla="*/ 4 w 30"/>
                  <a:gd name="T9" fmla="*/ 29 h 29"/>
                  <a:gd name="T10" fmla="*/ 25 w 30"/>
                  <a:gd name="T11" fmla="*/ 29 h 29"/>
                  <a:gd name="T12" fmla="*/ 30 w 30"/>
                  <a:gd name="T13" fmla="*/ 24 h 29"/>
                  <a:gd name="T14" fmla="*/ 30 w 30"/>
                  <a:gd name="T15" fmla="*/ 5 h 29"/>
                  <a:gd name="T16" fmla="*/ 25 w 30"/>
                  <a:gd name="T17" fmla="*/ 0 h 29"/>
                  <a:gd name="T18" fmla="*/ 21 w 30"/>
                  <a:gd name="T19" fmla="*/ 19 h 29"/>
                  <a:gd name="T20" fmla="*/ 9 w 30"/>
                  <a:gd name="T21" fmla="*/ 19 h 29"/>
                  <a:gd name="T22" fmla="*/ 9 w 30"/>
                  <a:gd name="T23" fmla="*/ 9 h 29"/>
                  <a:gd name="T24" fmla="*/ 21 w 30"/>
                  <a:gd name="T25" fmla="*/ 9 h 29"/>
                  <a:gd name="T26" fmla="*/ 21 w 30"/>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9">
                    <a:moveTo>
                      <a:pt x="25" y="0"/>
                    </a:moveTo>
                    <a:cubicBezTo>
                      <a:pt x="4" y="0"/>
                      <a:pt x="4" y="0"/>
                      <a:pt x="4" y="0"/>
                    </a:cubicBezTo>
                    <a:cubicBezTo>
                      <a:pt x="2" y="0"/>
                      <a:pt x="0" y="2"/>
                      <a:pt x="0" y="5"/>
                    </a:cubicBezTo>
                    <a:cubicBezTo>
                      <a:pt x="0" y="24"/>
                      <a:pt x="0" y="24"/>
                      <a:pt x="0" y="24"/>
                    </a:cubicBezTo>
                    <a:cubicBezTo>
                      <a:pt x="0" y="27"/>
                      <a:pt x="2" y="29"/>
                      <a:pt x="4" y="29"/>
                    </a:cubicBezTo>
                    <a:cubicBezTo>
                      <a:pt x="25" y="29"/>
                      <a:pt x="25" y="29"/>
                      <a:pt x="25" y="29"/>
                    </a:cubicBezTo>
                    <a:cubicBezTo>
                      <a:pt x="28" y="29"/>
                      <a:pt x="30" y="27"/>
                      <a:pt x="30" y="24"/>
                    </a:cubicBezTo>
                    <a:cubicBezTo>
                      <a:pt x="30" y="5"/>
                      <a:pt x="30" y="5"/>
                      <a:pt x="30" y="5"/>
                    </a:cubicBezTo>
                    <a:cubicBezTo>
                      <a:pt x="30" y="2"/>
                      <a:pt x="28" y="0"/>
                      <a:pt x="25"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sp>
        <p:nvSpPr>
          <p:cNvPr id="149" name="Left Bracket 148">
            <a:extLst>
              <a:ext uri="{FF2B5EF4-FFF2-40B4-BE49-F238E27FC236}">
                <a16:creationId xmlns:a16="http://schemas.microsoft.com/office/drawing/2014/main" id="{F1E33AC7-7008-9F44-A3F2-CBBDA6453551}"/>
              </a:ext>
            </a:extLst>
          </p:cNvPr>
          <p:cNvSpPr/>
          <p:nvPr/>
        </p:nvSpPr>
        <p:spPr>
          <a:xfrm>
            <a:off x="7747051" y="2731404"/>
            <a:ext cx="77718" cy="2663659"/>
          </a:xfrm>
          <a:prstGeom prst="leftBracket">
            <a:avLst/>
          </a:prstGeom>
          <a:ln w="22225">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0" name="Rectangle 149">
            <a:extLst>
              <a:ext uri="{FF2B5EF4-FFF2-40B4-BE49-F238E27FC236}">
                <a16:creationId xmlns:a16="http://schemas.microsoft.com/office/drawing/2014/main" id="{B437FECE-073C-D748-B6B9-8994CAEF2DD1}"/>
              </a:ext>
            </a:extLst>
          </p:cNvPr>
          <p:cNvSpPr/>
          <p:nvPr/>
        </p:nvSpPr>
        <p:spPr>
          <a:xfrm>
            <a:off x="5107386" y="5891368"/>
            <a:ext cx="914400" cy="273455"/>
          </a:xfrm>
          <a:prstGeom prst="rect">
            <a:avLst/>
          </a:prstGeom>
          <a:solidFill>
            <a:schemeClr val="bg1"/>
          </a:solidFill>
          <a:ln w="12700" algn="ctr">
            <a:solidFill>
              <a:schemeClr val="accent1"/>
            </a:solidFill>
            <a:miter lim="800000"/>
            <a:headEnd type="none" w="sm" len="sm"/>
            <a:tailEnd type="none" w="sm" len="sm"/>
          </a:ln>
        </p:spPr>
        <p:txBody>
          <a:bodyPr wrap="square" lIns="0" tIns="0" rIns="0" bIns="0" anchor="ctr"/>
          <a:lstStyle/>
          <a:p>
            <a:pPr algn="ctr"/>
            <a:r>
              <a:rPr lang="en-US" sz="850"/>
              <a:t>Governance</a:t>
            </a:r>
          </a:p>
        </p:txBody>
      </p:sp>
      <p:sp>
        <p:nvSpPr>
          <p:cNvPr id="151" name="Rectangle 150">
            <a:extLst>
              <a:ext uri="{FF2B5EF4-FFF2-40B4-BE49-F238E27FC236}">
                <a16:creationId xmlns:a16="http://schemas.microsoft.com/office/drawing/2014/main" id="{40FFBCA8-7A96-2B47-B6CD-FF3D28CF322C}"/>
              </a:ext>
            </a:extLst>
          </p:cNvPr>
          <p:cNvSpPr/>
          <p:nvPr/>
        </p:nvSpPr>
        <p:spPr>
          <a:xfrm>
            <a:off x="6129677" y="5889967"/>
            <a:ext cx="914400" cy="276257"/>
          </a:xfrm>
          <a:prstGeom prst="rect">
            <a:avLst/>
          </a:prstGeom>
          <a:solidFill>
            <a:schemeClr val="bg1"/>
          </a:solidFill>
          <a:ln w="12700" algn="ctr">
            <a:solidFill>
              <a:schemeClr val="accent1"/>
            </a:solidFill>
            <a:miter lim="800000"/>
            <a:headEnd type="none" w="sm" len="sm"/>
            <a:tailEnd type="none" w="sm" len="sm"/>
          </a:ln>
        </p:spPr>
        <p:txBody>
          <a:bodyPr wrap="square" lIns="0" tIns="0" rIns="0" bIns="0" anchor="ctr"/>
          <a:lstStyle/>
          <a:p>
            <a:pPr algn="ctr"/>
            <a:r>
              <a:rPr lang="en-US" sz="850"/>
              <a:t>Security</a:t>
            </a:r>
          </a:p>
        </p:txBody>
      </p:sp>
      <p:sp>
        <p:nvSpPr>
          <p:cNvPr id="152" name="Left Brace 151">
            <a:extLst>
              <a:ext uri="{FF2B5EF4-FFF2-40B4-BE49-F238E27FC236}">
                <a16:creationId xmlns:a16="http://schemas.microsoft.com/office/drawing/2014/main" id="{0EC8852B-D3F8-B64E-941F-38A119C2014D}"/>
              </a:ext>
            </a:extLst>
          </p:cNvPr>
          <p:cNvSpPr/>
          <p:nvPr/>
        </p:nvSpPr>
        <p:spPr>
          <a:xfrm rot="16200000" flipV="1">
            <a:off x="5960673" y="3003483"/>
            <a:ext cx="216184" cy="5412579"/>
          </a:xfrm>
          <a:prstGeom prst="leftBrace">
            <a:avLst>
              <a:gd name="adj1" fmla="val 0"/>
              <a:gd name="adj2" fmla="val 50000"/>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a:t>﻿﻿</a:t>
            </a:r>
          </a:p>
        </p:txBody>
      </p:sp>
      <p:grpSp>
        <p:nvGrpSpPr>
          <p:cNvPr id="153" name="Group 152">
            <a:extLst>
              <a:ext uri="{FF2B5EF4-FFF2-40B4-BE49-F238E27FC236}">
                <a16:creationId xmlns:a16="http://schemas.microsoft.com/office/drawing/2014/main" id="{5A8D54B3-9639-7C42-9F54-951D2204788C}"/>
              </a:ext>
            </a:extLst>
          </p:cNvPr>
          <p:cNvGrpSpPr/>
          <p:nvPr/>
        </p:nvGrpSpPr>
        <p:grpSpPr>
          <a:xfrm>
            <a:off x="7063434" y="5858700"/>
            <a:ext cx="2162308" cy="798359"/>
            <a:chOff x="7213596" y="5272459"/>
            <a:chExt cx="2162308" cy="798359"/>
          </a:xfrm>
        </p:grpSpPr>
        <p:sp>
          <p:nvSpPr>
            <p:cNvPr id="154" name="TextBox 153">
              <a:extLst>
                <a:ext uri="{FF2B5EF4-FFF2-40B4-BE49-F238E27FC236}">
                  <a16:creationId xmlns:a16="http://schemas.microsoft.com/office/drawing/2014/main" id="{6476AF26-22A1-D44D-B743-67FA281E5A77}"/>
                </a:ext>
              </a:extLst>
            </p:cNvPr>
            <p:cNvSpPr txBox="1"/>
            <p:nvPr/>
          </p:nvSpPr>
          <p:spPr>
            <a:xfrm>
              <a:off x="7213596" y="5272459"/>
              <a:ext cx="2162308" cy="26353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Governance, Security Hardening</a:t>
              </a:r>
            </a:p>
          </p:txBody>
        </p:sp>
        <p:sp>
          <p:nvSpPr>
            <p:cNvPr id="155" name="TextBox 154">
              <a:extLst>
                <a:ext uri="{FF2B5EF4-FFF2-40B4-BE49-F238E27FC236}">
                  <a16:creationId xmlns:a16="http://schemas.microsoft.com/office/drawing/2014/main" id="{E8842245-9E96-4942-AD3F-F15C31A08794}"/>
                </a:ext>
              </a:extLst>
            </p:cNvPr>
            <p:cNvSpPr txBox="1"/>
            <p:nvPr/>
          </p:nvSpPr>
          <p:spPr>
            <a:xfrm>
              <a:off x="7302130" y="5457298"/>
              <a:ext cx="1985240"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Enterprise ready security and governance for data storage, usage, and compliance.</a:t>
              </a:r>
            </a:p>
          </p:txBody>
        </p:sp>
      </p:grpSp>
    </p:spTree>
    <p:extLst>
      <p:ext uri="{BB962C8B-B14F-4D97-AF65-F5344CB8AC3E}">
        <p14:creationId xmlns:p14="http://schemas.microsoft.com/office/powerpoint/2010/main" val="1997701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a:extLst>
              <a:ext uri="{FF2B5EF4-FFF2-40B4-BE49-F238E27FC236}">
                <a16:creationId xmlns:a16="http://schemas.microsoft.com/office/drawing/2014/main" id="{73A2C1FB-29AB-334D-AF26-90E302245B20}"/>
              </a:ext>
            </a:extLst>
          </p:cNvPr>
          <p:cNvSpPr/>
          <p:nvPr/>
        </p:nvSpPr>
        <p:spPr>
          <a:xfrm>
            <a:off x="7401092" y="3055252"/>
            <a:ext cx="1425514" cy="1115935"/>
          </a:xfrm>
          <a:prstGeom prst="rect">
            <a:avLst/>
          </a:prstGeom>
          <a:ln w="28575">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0070C0"/>
              </a:solidFill>
            </a:endParaRPr>
          </a:p>
        </p:txBody>
      </p:sp>
      <p:sp>
        <p:nvSpPr>
          <p:cNvPr id="119" name="Rectangle 118">
            <a:extLst>
              <a:ext uri="{FF2B5EF4-FFF2-40B4-BE49-F238E27FC236}">
                <a16:creationId xmlns:a16="http://schemas.microsoft.com/office/drawing/2014/main" id="{3E976D16-CF3F-4F42-8C28-854F0E1BF427}"/>
              </a:ext>
            </a:extLst>
          </p:cNvPr>
          <p:cNvSpPr/>
          <p:nvPr/>
        </p:nvSpPr>
        <p:spPr>
          <a:xfrm>
            <a:off x="7405108" y="4234632"/>
            <a:ext cx="1425514" cy="1115935"/>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BF644C12-42B7-0045-9345-AADF56401F20}"/>
              </a:ext>
            </a:extLst>
          </p:cNvPr>
          <p:cNvSpPr/>
          <p:nvPr/>
        </p:nvSpPr>
        <p:spPr>
          <a:xfrm>
            <a:off x="3170583" y="2141815"/>
            <a:ext cx="3981385" cy="3208752"/>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E4576F96-D6BB-DD40-AD3C-8C50B0DFF80B}"/>
              </a:ext>
            </a:extLst>
          </p:cNvPr>
          <p:cNvSpPr>
            <a:spLocks noGrp="1"/>
          </p:cNvSpPr>
          <p:nvPr>
            <p:ph type="title"/>
          </p:nvPr>
        </p:nvSpPr>
        <p:spPr/>
        <p:txBody>
          <a:bodyPr/>
          <a:lstStyle/>
          <a:p>
            <a:r>
              <a:rPr lang="en-US" sz="3600"/>
              <a:t>Future State: Phase 1</a:t>
            </a:r>
          </a:p>
        </p:txBody>
      </p:sp>
      <p:sp>
        <p:nvSpPr>
          <p:cNvPr id="3" name="Text Placeholder 2">
            <a:extLst>
              <a:ext uri="{FF2B5EF4-FFF2-40B4-BE49-F238E27FC236}">
                <a16:creationId xmlns:a16="http://schemas.microsoft.com/office/drawing/2014/main" id="{55A542F2-16B2-CA4B-B517-41841A0589DB}"/>
              </a:ext>
            </a:extLst>
          </p:cNvPr>
          <p:cNvSpPr>
            <a:spLocks noGrp="1"/>
          </p:cNvSpPr>
          <p:nvPr>
            <p:ph type="body" sz="quarter" idx="14"/>
          </p:nvPr>
        </p:nvSpPr>
        <p:spPr/>
        <p:txBody>
          <a:bodyPr/>
          <a:lstStyle/>
          <a:p>
            <a:r>
              <a:rPr lang="en-US"/>
              <a:t>Utilize cloud native services to enable scalable storage for diverse datasets and analytic capabilities. Leverage compute, catalog, search, and reporting/visualization services to accelerate to market</a:t>
            </a:r>
          </a:p>
        </p:txBody>
      </p:sp>
      <p:sp>
        <p:nvSpPr>
          <p:cNvPr id="4" name="Text Placeholder 3">
            <a:extLst>
              <a:ext uri="{FF2B5EF4-FFF2-40B4-BE49-F238E27FC236}">
                <a16:creationId xmlns:a16="http://schemas.microsoft.com/office/drawing/2014/main" id="{3C859B21-3D68-FF40-BEEF-C399A4528C43}"/>
              </a:ext>
            </a:extLst>
          </p:cNvPr>
          <p:cNvSpPr>
            <a:spLocks noGrp="1"/>
          </p:cNvSpPr>
          <p:nvPr>
            <p:ph type="body" sz="quarter" idx="15"/>
          </p:nvPr>
        </p:nvSpPr>
        <p:spPr/>
        <p:txBody>
          <a:bodyPr/>
          <a:lstStyle/>
          <a:p>
            <a:r>
              <a:rPr lang="en-US"/>
              <a:t>Key Goals</a:t>
            </a:r>
          </a:p>
        </p:txBody>
      </p:sp>
      <p:sp>
        <p:nvSpPr>
          <p:cNvPr id="27" name="Rectangle 26">
            <a:extLst>
              <a:ext uri="{FF2B5EF4-FFF2-40B4-BE49-F238E27FC236}">
                <a16:creationId xmlns:a16="http://schemas.microsoft.com/office/drawing/2014/main" id="{E49F03CE-6668-424E-9DE7-E6EC9AD65113}"/>
              </a:ext>
            </a:extLst>
          </p:cNvPr>
          <p:cNvSpPr/>
          <p:nvPr/>
        </p:nvSpPr>
        <p:spPr>
          <a:xfrm>
            <a:off x="3617746" y="4281404"/>
            <a:ext cx="1000752" cy="462977"/>
          </a:xfrm>
          <a:prstGeom prst="rect">
            <a:avLst/>
          </a:prstGeom>
          <a:noFill/>
          <a:ln w="6350" algn="ctr">
            <a:noFill/>
            <a:miter lim="800000"/>
            <a:headEnd type="none" w="sm" len="sm"/>
            <a:tailEnd type="none" w="sm" len="sm"/>
          </a:ln>
        </p:spPr>
        <p:txBody>
          <a:bodyPr wrap="square" lIns="0" tIns="0" rIns="0" bIns="0" anchor="ctr"/>
          <a:lstStyle/>
          <a:p>
            <a:pPr algn="ctr"/>
            <a:r>
              <a:rPr lang="en-US" sz="850"/>
              <a:t>Azure Data Factory</a:t>
            </a:r>
          </a:p>
        </p:txBody>
      </p:sp>
      <p:cxnSp>
        <p:nvCxnSpPr>
          <p:cNvPr id="28" name="Straight Connector 74">
            <a:extLst>
              <a:ext uri="{FF2B5EF4-FFF2-40B4-BE49-F238E27FC236}">
                <a16:creationId xmlns:a16="http://schemas.microsoft.com/office/drawing/2014/main" id="{E7D73830-D2AD-C343-9B41-8874A84525A6}"/>
              </a:ext>
            </a:extLst>
          </p:cNvPr>
          <p:cNvCxnSpPr>
            <a:cxnSpLocks/>
          </p:cNvCxnSpPr>
          <p:nvPr/>
        </p:nvCxnSpPr>
        <p:spPr>
          <a:xfrm flipV="1">
            <a:off x="2280038" y="3999818"/>
            <a:ext cx="1456571" cy="10353"/>
          </a:xfrm>
          <a:prstGeom prst="bentConnector3">
            <a:avLst>
              <a:gd name="adj1" fmla="val 50000"/>
            </a:avLst>
          </a:prstGeom>
          <a:noFill/>
          <a:ln w="22225" cmpd="sng">
            <a:solidFill>
              <a:srgbClr val="D6D6D6"/>
            </a:solidFill>
            <a:tailEnd type="triangle"/>
          </a:ln>
          <a:effectLst/>
        </p:spPr>
      </p:cxnSp>
      <p:cxnSp>
        <p:nvCxnSpPr>
          <p:cNvPr id="29" name="Straight Connector 74">
            <a:extLst>
              <a:ext uri="{FF2B5EF4-FFF2-40B4-BE49-F238E27FC236}">
                <a16:creationId xmlns:a16="http://schemas.microsoft.com/office/drawing/2014/main" id="{90ADB5BA-6AAD-9744-88E1-798097B04CE6}"/>
              </a:ext>
            </a:extLst>
          </p:cNvPr>
          <p:cNvCxnSpPr>
            <a:cxnSpLocks/>
          </p:cNvCxnSpPr>
          <p:nvPr/>
        </p:nvCxnSpPr>
        <p:spPr>
          <a:xfrm flipV="1">
            <a:off x="2299917" y="3997437"/>
            <a:ext cx="1438308" cy="884585"/>
          </a:xfrm>
          <a:prstGeom prst="bentConnector3">
            <a:avLst>
              <a:gd name="adj1" fmla="val 50000"/>
            </a:avLst>
          </a:prstGeom>
          <a:noFill/>
          <a:ln w="22225" cmpd="sng">
            <a:solidFill>
              <a:srgbClr val="D6D6D6"/>
            </a:solidFill>
            <a:tailEnd type="triangle"/>
          </a:ln>
          <a:effectLst/>
        </p:spPr>
      </p:cxnSp>
      <p:cxnSp>
        <p:nvCxnSpPr>
          <p:cNvPr id="30" name="Straight Connector 74">
            <a:extLst>
              <a:ext uri="{FF2B5EF4-FFF2-40B4-BE49-F238E27FC236}">
                <a16:creationId xmlns:a16="http://schemas.microsoft.com/office/drawing/2014/main" id="{CCA99453-FC98-F64B-8812-86DF19D25B23}"/>
              </a:ext>
            </a:extLst>
          </p:cNvPr>
          <p:cNvCxnSpPr>
            <a:cxnSpLocks/>
          </p:cNvCxnSpPr>
          <p:nvPr/>
        </p:nvCxnSpPr>
        <p:spPr>
          <a:xfrm>
            <a:off x="4368507" y="3996977"/>
            <a:ext cx="1352744" cy="564367"/>
          </a:xfrm>
          <a:prstGeom prst="bentConnector3">
            <a:avLst>
              <a:gd name="adj1" fmla="val 50000"/>
            </a:avLst>
          </a:prstGeom>
          <a:noFill/>
          <a:ln w="22225" cmpd="sng">
            <a:solidFill>
              <a:srgbClr val="D6D6D6"/>
            </a:solidFill>
            <a:tailEnd type="triangle"/>
          </a:ln>
          <a:effectLst/>
        </p:spPr>
      </p:cxnSp>
      <p:sp>
        <p:nvSpPr>
          <p:cNvPr id="31" name="Rectangle 30">
            <a:extLst>
              <a:ext uri="{FF2B5EF4-FFF2-40B4-BE49-F238E27FC236}">
                <a16:creationId xmlns:a16="http://schemas.microsoft.com/office/drawing/2014/main" id="{7A70AED6-ECE1-BC4F-998E-84AC3554F47A}"/>
              </a:ext>
            </a:extLst>
          </p:cNvPr>
          <p:cNvSpPr/>
          <p:nvPr/>
        </p:nvSpPr>
        <p:spPr>
          <a:xfrm>
            <a:off x="1511323" y="4250627"/>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Provider APIs</a:t>
            </a:r>
          </a:p>
        </p:txBody>
      </p:sp>
      <p:sp>
        <p:nvSpPr>
          <p:cNvPr id="32" name="Rectangle 31">
            <a:extLst>
              <a:ext uri="{FF2B5EF4-FFF2-40B4-BE49-F238E27FC236}">
                <a16:creationId xmlns:a16="http://schemas.microsoft.com/office/drawing/2014/main" id="{7C6E2905-E8DA-B34B-8CBD-B671DDCA5FAD}"/>
              </a:ext>
            </a:extLst>
          </p:cNvPr>
          <p:cNvSpPr/>
          <p:nvPr/>
        </p:nvSpPr>
        <p:spPr>
          <a:xfrm>
            <a:off x="1513115" y="5195380"/>
            <a:ext cx="914400" cy="155187"/>
          </a:xfrm>
          <a:prstGeom prst="rect">
            <a:avLst/>
          </a:prstGeom>
          <a:noFill/>
          <a:ln w="6350" algn="ctr">
            <a:noFill/>
            <a:miter lim="800000"/>
            <a:headEnd type="none" w="sm" len="sm"/>
            <a:tailEnd type="none" w="sm" len="sm"/>
          </a:ln>
        </p:spPr>
        <p:txBody>
          <a:bodyPr wrap="square" lIns="0" tIns="0" rIns="0" bIns="0" anchor="ctr"/>
          <a:lstStyle/>
          <a:p>
            <a:pPr algn="ctr"/>
            <a:r>
              <a:rPr lang="en-US" sz="850"/>
              <a:t>Batch</a:t>
            </a:r>
          </a:p>
        </p:txBody>
      </p:sp>
      <p:sp>
        <p:nvSpPr>
          <p:cNvPr id="33" name="Rectangle 32">
            <a:extLst>
              <a:ext uri="{FF2B5EF4-FFF2-40B4-BE49-F238E27FC236}">
                <a16:creationId xmlns:a16="http://schemas.microsoft.com/office/drawing/2014/main" id="{C0EFB6F1-DFB5-EE47-B2A0-6845C7A6923B}"/>
              </a:ext>
            </a:extLst>
          </p:cNvPr>
          <p:cNvSpPr/>
          <p:nvPr/>
        </p:nvSpPr>
        <p:spPr>
          <a:xfrm>
            <a:off x="1506815" y="3382049"/>
            <a:ext cx="914400" cy="184677"/>
          </a:xfrm>
          <a:prstGeom prst="rect">
            <a:avLst/>
          </a:prstGeom>
          <a:noFill/>
          <a:ln w="6350" algn="ctr">
            <a:noFill/>
            <a:miter lim="800000"/>
            <a:headEnd type="none" w="sm" len="sm"/>
            <a:tailEnd type="none" w="sm" len="sm"/>
          </a:ln>
        </p:spPr>
        <p:txBody>
          <a:bodyPr wrap="square" lIns="0" tIns="0" rIns="0" bIns="0" anchor="ctr"/>
          <a:lstStyle/>
          <a:p>
            <a:pPr algn="ctr"/>
            <a:r>
              <a:rPr lang="en-US" sz="850"/>
              <a:t>Stream Data</a:t>
            </a:r>
          </a:p>
        </p:txBody>
      </p:sp>
      <p:sp>
        <p:nvSpPr>
          <p:cNvPr id="34" name="Rectangle 33">
            <a:extLst>
              <a:ext uri="{FF2B5EF4-FFF2-40B4-BE49-F238E27FC236}">
                <a16:creationId xmlns:a16="http://schemas.microsoft.com/office/drawing/2014/main" id="{FBC804E9-8A3A-7F4E-B5A9-5332205D75C2}"/>
              </a:ext>
            </a:extLst>
          </p:cNvPr>
          <p:cNvSpPr/>
          <p:nvPr/>
        </p:nvSpPr>
        <p:spPr>
          <a:xfrm>
            <a:off x="5578633" y="4837100"/>
            <a:ext cx="914400" cy="176109"/>
          </a:xfrm>
          <a:prstGeom prst="rect">
            <a:avLst/>
          </a:prstGeom>
          <a:noFill/>
          <a:ln w="6350" algn="ctr">
            <a:noFill/>
            <a:miter lim="800000"/>
            <a:headEnd type="none" w="sm" len="sm"/>
            <a:tailEnd type="none" w="sm" len="sm"/>
          </a:ln>
        </p:spPr>
        <p:txBody>
          <a:bodyPr wrap="square" lIns="0" tIns="0" rIns="0" bIns="0" anchor="ctr"/>
          <a:lstStyle/>
          <a:p>
            <a:pPr algn="ctr"/>
            <a:r>
              <a:rPr lang="en-US" sz="850"/>
              <a:t>Azure Lake Gen Data2</a:t>
            </a:r>
          </a:p>
        </p:txBody>
      </p:sp>
      <p:sp>
        <p:nvSpPr>
          <p:cNvPr id="35" name="Rectangle 34">
            <a:extLst>
              <a:ext uri="{FF2B5EF4-FFF2-40B4-BE49-F238E27FC236}">
                <a16:creationId xmlns:a16="http://schemas.microsoft.com/office/drawing/2014/main" id="{18F1E03E-8F87-0942-A540-F5199939F3BB}"/>
              </a:ext>
            </a:extLst>
          </p:cNvPr>
          <p:cNvSpPr/>
          <p:nvPr/>
        </p:nvSpPr>
        <p:spPr>
          <a:xfrm>
            <a:off x="5594267" y="3896459"/>
            <a:ext cx="914400" cy="201307"/>
          </a:xfrm>
          <a:prstGeom prst="rect">
            <a:avLst/>
          </a:prstGeom>
          <a:noFill/>
          <a:ln w="6350" algn="ctr">
            <a:noFill/>
            <a:miter lim="800000"/>
            <a:headEnd type="none" w="sm" len="sm"/>
            <a:tailEnd type="none" w="sm" len="sm"/>
          </a:ln>
        </p:spPr>
        <p:txBody>
          <a:bodyPr wrap="square" lIns="0" tIns="0" rIns="0" bIns="0" anchor="ctr"/>
          <a:lstStyle/>
          <a:p>
            <a:pPr algn="ctr"/>
            <a:r>
              <a:rPr lang="en-US" sz="850"/>
              <a:t>Azure SQL Postgres</a:t>
            </a:r>
          </a:p>
        </p:txBody>
      </p:sp>
      <p:cxnSp>
        <p:nvCxnSpPr>
          <p:cNvPr id="37" name="Straight Connector 74">
            <a:extLst>
              <a:ext uri="{FF2B5EF4-FFF2-40B4-BE49-F238E27FC236}">
                <a16:creationId xmlns:a16="http://schemas.microsoft.com/office/drawing/2014/main" id="{2E9C1E03-089B-F94B-B6E9-99314F21BEBB}"/>
              </a:ext>
            </a:extLst>
          </p:cNvPr>
          <p:cNvCxnSpPr>
            <a:cxnSpLocks/>
          </p:cNvCxnSpPr>
          <p:nvPr/>
        </p:nvCxnSpPr>
        <p:spPr>
          <a:xfrm flipV="1">
            <a:off x="4368507" y="3607758"/>
            <a:ext cx="1348630" cy="389219"/>
          </a:xfrm>
          <a:prstGeom prst="bentConnector3">
            <a:avLst>
              <a:gd name="adj1" fmla="val 50000"/>
            </a:avLst>
          </a:prstGeom>
          <a:noFill/>
          <a:ln w="22225" cmpd="sng">
            <a:solidFill>
              <a:srgbClr val="D6D6D6"/>
            </a:solidFill>
            <a:tailEnd type="triangle"/>
          </a:ln>
          <a:effectLst/>
        </p:spPr>
      </p:cxnSp>
      <p:cxnSp>
        <p:nvCxnSpPr>
          <p:cNvPr id="38" name="Straight Connector 74">
            <a:extLst>
              <a:ext uri="{FF2B5EF4-FFF2-40B4-BE49-F238E27FC236}">
                <a16:creationId xmlns:a16="http://schemas.microsoft.com/office/drawing/2014/main" id="{A52ECCEE-C5F9-7849-A7ED-BF419FAF0937}"/>
              </a:ext>
            </a:extLst>
          </p:cNvPr>
          <p:cNvCxnSpPr>
            <a:cxnSpLocks/>
          </p:cNvCxnSpPr>
          <p:nvPr/>
        </p:nvCxnSpPr>
        <p:spPr>
          <a:xfrm>
            <a:off x="2280286" y="3087726"/>
            <a:ext cx="1456323" cy="909251"/>
          </a:xfrm>
          <a:prstGeom prst="bentConnector3">
            <a:avLst>
              <a:gd name="adj1" fmla="val 50000"/>
            </a:avLst>
          </a:prstGeom>
          <a:noFill/>
          <a:ln w="22225" cmpd="sng">
            <a:solidFill>
              <a:srgbClr val="D6D6D6"/>
            </a:solidFill>
            <a:tailEnd type="triangle"/>
          </a:ln>
          <a:effectLst/>
        </p:spPr>
      </p:cxnSp>
      <p:sp>
        <p:nvSpPr>
          <p:cNvPr id="39" name="Rectangle 38">
            <a:extLst>
              <a:ext uri="{FF2B5EF4-FFF2-40B4-BE49-F238E27FC236}">
                <a16:creationId xmlns:a16="http://schemas.microsoft.com/office/drawing/2014/main" id="{B5BB4F0D-D387-3340-BDD7-443EAA32B857}"/>
              </a:ext>
            </a:extLst>
          </p:cNvPr>
          <p:cNvSpPr/>
          <p:nvPr/>
        </p:nvSpPr>
        <p:spPr>
          <a:xfrm>
            <a:off x="7629934" y="4903963"/>
            <a:ext cx="914400" cy="316441"/>
          </a:xfrm>
          <a:prstGeom prst="rect">
            <a:avLst/>
          </a:prstGeom>
          <a:noFill/>
          <a:ln w="6350" algn="ctr">
            <a:noFill/>
            <a:miter lim="800000"/>
            <a:headEnd type="none" w="sm" len="sm"/>
            <a:tailEnd type="none" w="sm" len="sm"/>
          </a:ln>
        </p:spPr>
        <p:txBody>
          <a:bodyPr wrap="square" lIns="0" tIns="0" rIns="0" bIns="0" anchor="ctr"/>
          <a:lstStyle/>
          <a:p>
            <a:pPr algn="ctr"/>
            <a:r>
              <a:rPr lang="en-US" sz="850"/>
              <a:t>Data Insight Platform Tableau / Power BI</a:t>
            </a:r>
          </a:p>
        </p:txBody>
      </p:sp>
      <p:cxnSp>
        <p:nvCxnSpPr>
          <p:cNvPr id="40" name="Straight Connector 74">
            <a:extLst>
              <a:ext uri="{FF2B5EF4-FFF2-40B4-BE49-F238E27FC236}">
                <a16:creationId xmlns:a16="http://schemas.microsoft.com/office/drawing/2014/main" id="{AE58ACAE-3FFA-6446-ABD8-F1FB5F1A6A87}"/>
              </a:ext>
            </a:extLst>
          </p:cNvPr>
          <p:cNvCxnSpPr>
            <a:cxnSpLocks/>
          </p:cNvCxnSpPr>
          <p:nvPr/>
        </p:nvCxnSpPr>
        <p:spPr>
          <a:xfrm flipV="1">
            <a:off x="6415885" y="3577025"/>
            <a:ext cx="1168405" cy="9262"/>
          </a:xfrm>
          <a:prstGeom prst="bentConnector3">
            <a:avLst>
              <a:gd name="adj1" fmla="val 50000"/>
            </a:avLst>
          </a:prstGeom>
          <a:noFill/>
          <a:ln w="22225" cmpd="sng">
            <a:solidFill>
              <a:srgbClr val="D6D6D6"/>
            </a:solidFill>
            <a:tailEnd type="triangle"/>
          </a:ln>
          <a:effectLst/>
        </p:spPr>
      </p:cxnSp>
      <p:sp>
        <p:nvSpPr>
          <p:cNvPr id="42" name="Rectangle 41">
            <a:extLst>
              <a:ext uri="{FF2B5EF4-FFF2-40B4-BE49-F238E27FC236}">
                <a16:creationId xmlns:a16="http://schemas.microsoft.com/office/drawing/2014/main" id="{E8FB0E9D-0207-FE44-921D-3A04E3ACE183}"/>
              </a:ext>
            </a:extLst>
          </p:cNvPr>
          <p:cNvSpPr/>
          <p:nvPr/>
        </p:nvSpPr>
        <p:spPr>
          <a:xfrm>
            <a:off x="7615097" y="3841830"/>
            <a:ext cx="1159957" cy="389584"/>
          </a:xfrm>
          <a:prstGeom prst="rect">
            <a:avLst/>
          </a:prstGeom>
          <a:noFill/>
          <a:ln w="6350" algn="ctr">
            <a:noFill/>
            <a:miter lim="800000"/>
            <a:headEnd type="none" w="sm" len="sm"/>
            <a:tailEnd type="none" w="sm" len="sm"/>
          </a:ln>
        </p:spPr>
        <p:txBody>
          <a:bodyPr wrap="square" lIns="0" tIns="0" rIns="0" bIns="0" anchor="ctr"/>
          <a:lstStyle/>
          <a:p>
            <a:pPr algn="ctr"/>
            <a:r>
              <a:rPr lang="en-US" sz="850"/>
              <a:t>Data Insight Platform Custom Apps</a:t>
            </a:r>
          </a:p>
        </p:txBody>
      </p:sp>
      <p:cxnSp>
        <p:nvCxnSpPr>
          <p:cNvPr id="44" name="Straight Connector 74">
            <a:extLst>
              <a:ext uri="{FF2B5EF4-FFF2-40B4-BE49-F238E27FC236}">
                <a16:creationId xmlns:a16="http://schemas.microsoft.com/office/drawing/2014/main" id="{7CE34008-E192-7F46-BF25-65E836794896}"/>
              </a:ext>
            </a:extLst>
          </p:cNvPr>
          <p:cNvCxnSpPr>
            <a:cxnSpLocks/>
          </p:cNvCxnSpPr>
          <p:nvPr/>
        </p:nvCxnSpPr>
        <p:spPr>
          <a:xfrm rot="5400000" flipH="1" flipV="1">
            <a:off x="6040618" y="4205727"/>
            <a:ext cx="790890" cy="2671"/>
          </a:xfrm>
          <a:prstGeom prst="bentConnector3">
            <a:avLst>
              <a:gd name="adj1" fmla="val 50000"/>
            </a:avLst>
          </a:prstGeom>
          <a:noFill/>
          <a:ln w="22225" cmpd="sng">
            <a:solidFill>
              <a:srgbClr val="D6D6D6"/>
            </a:solidFill>
            <a:tailEnd type="triangle"/>
          </a:ln>
          <a:effectLst/>
        </p:spPr>
      </p:cxnSp>
      <p:grpSp>
        <p:nvGrpSpPr>
          <p:cNvPr id="48" name="Group 47">
            <a:extLst>
              <a:ext uri="{FF2B5EF4-FFF2-40B4-BE49-F238E27FC236}">
                <a16:creationId xmlns:a16="http://schemas.microsoft.com/office/drawing/2014/main" id="{BAA49E14-2961-DD4E-9D94-526C9BDB2AF9}"/>
              </a:ext>
            </a:extLst>
          </p:cNvPr>
          <p:cNvGrpSpPr/>
          <p:nvPr/>
        </p:nvGrpSpPr>
        <p:grpSpPr>
          <a:xfrm>
            <a:off x="996120" y="1962878"/>
            <a:ext cx="1921323" cy="665787"/>
            <a:chOff x="1030518" y="2007240"/>
            <a:chExt cx="1921323" cy="665787"/>
          </a:xfrm>
        </p:grpSpPr>
        <p:sp>
          <p:nvSpPr>
            <p:cNvPr id="49" name="TextBox 48">
              <a:extLst>
                <a:ext uri="{FF2B5EF4-FFF2-40B4-BE49-F238E27FC236}">
                  <a16:creationId xmlns:a16="http://schemas.microsoft.com/office/drawing/2014/main" id="{2C5DF9E8-0235-DD40-8628-4B68B69D36EC}"/>
                </a:ext>
              </a:extLst>
            </p:cNvPr>
            <p:cNvSpPr txBox="1"/>
            <p:nvPr/>
          </p:nvSpPr>
          <p:spPr>
            <a:xfrm>
              <a:off x="1310410" y="200724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ources</a:t>
              </a:r>
            </a:p>
          </p:txBody>
        </p:sp>
        <p:sp>
          <p:nvSpPr>
            <p:cNvPr id="51" name="TextBox 50">
              <a:extLst>
                <a:ext uri="{FF2B5EF4-FFF2-40B4-BE49-F238E27FC236}">
                  <a16:creationId xmlns:a16="http://schemas.microsoft.com/office/drawing/2014/main" id="{DFDCF980-74DC-7144-ADFB-3CF6AFCD6C5F}"/>
                </a:ext>
              </a:extLst>
            </p:cNvPr>
            <p:cNvSpPr txBox="1"/>
            <p:nvPr/>
          </p:nvSpPr>
          <p:spPr>
            <a:xfrm>
              <a:off x="1030518" y="2186177"/>
              <a:ext cx="1921323"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nstructured, Semi-structured, and Structured data ingested from internal/external sources</a:t>
              </a:r>
            </a:p>
          </p:txBody>
        </p:sp>
      </p:grpSp>
      <p:grpSp>
        <p:nvGrpSpPr>
          <p:cNvPr id="54" name="Group 53">
            <a:extLst>
              <a:ext uri="{FF2B5EF4-FFF2-40B4-BE49-F238E27FC236}">
                <a16:creationId xmlns:a16="http://schemas.microsoft.com/office/drawing/2014/main" id="{AECB0851-EF9D-D248-BAC4-53187CCD9F4C}"/>
              </a:ext>
            </a:extLst>
          </p:cNvPr>
          <p:cNvGrpSpPr/>
          <p:nvPr/>
        </p:nvGrpSpPr>
        <p:grpSpPr>
          <a:xfrm>
            <a:off x="3270714" y="2824605"/>
            <a:ext cx="1508920" cy="713958"/>
            <a:chOff x="3340968" y="2002841"/>
            <a:chExt cx="1508920" cy="713958"/>
          </a:xfrm>
        </p:grpSpPr>
        <p:sp>
          <p:nvSpPr>
            <p:cNvPr id="55" name="TextBox 54">
              <a:extLst>
                <a:ext uri="{FF2B5EF4-FFF2-40B4-BE49-F238E27FC236}">
                  <a16:creationId xmlns:a16="http://schemas.microsoft.com/office/drawing/2014/main" id="{D54FEAF5-7187-FF4B-9E16-FE440C3656F0}"/>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57" name="TextBox 56">
              <a:extLst>
                <a:ext uri="{FF2B5EF4-FFF2-40B4-BE49-F238E27FC236}">
                  <a16:creationId xmlns:a16="http://schemas.microsoft.com/office/drawing/2014/main" id="{83CED75F-2381-E24D-AE85-06D4442D0D5E}"/>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and manage data pipelines and ETL</a:t>
              </a:r>
            </a:p>
          </p:txBody>
        </p:sp>
      </p:grpSp>
      <p:grpSp>
        <p:nvGrpSpPr>
          <p:cNvPr id="58" name="Group 57">
            <a:extLst>
              <a:ext uri="{FF2B5EF4-FFF2-40B4-BE49-F238E27FC236}">
                <a16:creationId xmlns:a16="http://schemas.microsoft.com/office/drawing/2014/main" id="{08F3CE03-3553-D14F-9087-83CA63E5C39C}"/>
              </a:ext>
            </a:extLst>
          </p:cNvPr>
          <p:cNvGrpSpPr/>
          <p:nvPr/>
        </p:nvGrpSpPr>
        <p:grpSpPr>
          <a:xfrm>
            <a:off x="5152440" y="2431132"/>
            <a:ext cx="1756474" cy="751513"/>
            <a:chOff x="5302152" y="1990215"/>
            <a:chExt cx="1756474" cy="751513"/>
          </a:xfrm>
        </p:grpSpPr>
        <p:sp>
          <p:nvSpPr>
            <p:cNvPr id="59" name="TextBox 58">
              <a:extLst>
                <a:ext uri="{FF2B5EF4-FFF2-40B4-BE49-F238E27FC236}">
                  <a16:creationId xmlns:a16="http://schemas.microsoft.com/office/drawing/2014/main" id="{75DAEA0A-19CE-BC45-890C-755D8C94A926}"/>
                </a:ext>
              </a:extLst>
            </p:cNvPr>
            <p:cNvSpPr txBox="1"/>
            <p:nvPr/>
          </p:nvSpPr>
          <p:spPr>
            <a:xfrm>
              <a:off x="5396764" y="1990215"/>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torage</a:t>
              </a:r>
            </a:p>
          </p:txBody>
        </p:sp>
        <p:sp>
          <p:nvSpPr>
            <p:cNvPr id="60" name="TextBox 59">
              <a:extLst>
                <a:ext uri="{FF2B5EF4-FFF2-40B4-BE49-F238E27FC236}">
                  <a16:creationId xmlns:a16="http://schemas.microsoft.com/office/drawing/2014/main" id="{AFF67307-9D25-A648-A6AE-F4AC6B54EFE9}"/>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Highly scalable enterprise data warehouses for data mart or performant analytic usages</a:t>
              </a:r>
            </a:p>
          </p:txBody>
        </p:sp>
      </p:grpSp>
      <p:grpSp>
        <p:nvGrpSpPr>
          <p:cNvPr id="64" name="Group 63">
            <a:extLst>
              <a:ext uri="{FF2B5EF4-FFF2-40B4-BE49-F238E27FC236}">
                <a16:creationId xmlns:a16="http://schemas.microsoft.com/office/drawing/2014/main" id="{387D7E53-35FE-434B-B7E5-7C36F414E999}"/>
              </a:ext>
            </a:extLst>
          </p:cNvPr>
          <p:cNvGrpSpPr/>
          <p:nvPr/>
        </p:nvGrpSpPr>
        <p:grpSpPr>
          <a:xfrm>
            <a:off x="7316735" y="2293706"/>
            <a:ext cx="1761826" cy="728454"/>
            <a:chOff x="9478690" y="2325056"/>
            <a:chExt cx="1761826" cy="728454"/>
          </a:xfrm>
        </p:grpSpPr>
        <p:sp>
          <p:nvSpPr>
            <p:cNvPr id="68" name="TextBox 67">
              <a:extLst>
                <a:ext uri="{FF2B5EF4-FFF2-40B4-BE49-F238E27FC236}">
                  <a16:creationId xmlns:a16="http://schemas.microsoft.com/office/drawing/2014/main" id="{ADE6998C-5CF8-4A4F-BB2E-737B204DE5A4}"/>
                </a:ext>
              </a:extLst>
            </p:cNvPr>
            <p:cNvSpPr txBox="1"/>
            <p:nvPr/>
          </p:nvSpPr>
          <p:spPr>
            <a:xfrm>
              <a:off x="9478690" y="2325056"/>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ystems, Subscribers, Users</a:t>
              </a:r>
            </a:p>
          </p:txBody>
        </p:sp>
        <p:sp>
          <p:nvSpPr>
            <p:cNvPr id="69" name="TextBox 68">
              <a:extLst>
                <a:ext uri="{FF2B5EF4-FFF2-40B4-BE49-F238E27FC236}">
                  <a16:creationId xmlns:a16="http://schemas.microsoft.com/office/drawing/2014/main" id="{8AA5858D-DD07-4948-963A-4D0AEFAEABFC}"/>
                </a:ext>
              </a:extLst>
            </p:cNvPr>
            <p:cNvSpPr txBox="1"/>
            <p:nvPr/>
          </p:nvSpPr>
          <p:spPr>
            <a:xfrm>
              <a:off x="9484042" y="2521925"/>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ystems or reporting/visualization tools can  access data services or storage. </a:t>
              </a:r>
            </a:p>
          </p:txBody>
        </p:sp>
      </p:grpSp>
      <p:sp>
        <p:nvSpPr>
          <p:cNvPr id="70" name="Freeform 664">
            <a:extLst>
              <a:ext uri="{FF2B5EF4-FFF2-40B4-BE49-F238E27FC236}">
                <a16:creationId xmlns:a16="http://schemas.microsoft.com/office/drawing/2014/main" id="{817AFAAA-10F6-354F-AB20-6EB36CAC2D98}"/>
              </a:ext>
            </a:extLst>
          </p:cNvPr>
          <p:cNvSpPr>
            <a:spLocks/>
          </p:cNvSpPr>
          <p:nvPr/>
        </p:nvSpPr>
        <p:spPr bwMode="auto">
          <a:xfrm>
            <a:off x="3883506" y="3799755"/>
            <a:ext cx="309983" cy="334385"/>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1" name="Freeform 244">
            <a:extLst>
              <a:ext uri="{FF2B5EF4-FFF2-40B4-BE49-F238E27FC236}">
                <a16:creationId xmlns:a16="http://schemas.microsoft.com/office/drawing/2014/main" id="{A4C76D2D-8209-E14E-B2B9-1BD4DDF80162}"/>
              </a:ext>
            </a:extLst>
          </p:cNvPr>
          <p:cNvSpPr>
            <a:spLocks noEditPoints="1"/>
          </p:cNvSpPr>
          <p:nvPr/>
        </p:nvSpPr>
        <p:spPr bwMode="auto">
          <a:xfrm>
            <a:off x="3812492" y="370738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1"/>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72" name="Group 71">
            <a:extLst>
              <a:ext uri="{FF2B5EF4-FFF2-40B4-BE49-F238E27FC236}">
                <a16:creationId xmlns:a16="http://schemas.microsoft.com/office/drawing/2014/main" id="{C4DB9CD2-E2AB-CA4C-B5FA-F7B7C668067C}"/>
              </a:ext>
            </a:extLst>
          </p:cNvPr>
          <p:cNvGrpSpPr/>
          <p:nvPr/>
        </p:nvGrpSpPr>
        <p:grpSpPr>
          <a:xfrm>
            <a:off x="1719635" y="2834866"/>
            <a:ext cx="497776" cy="517982"/>
            <a:chOff x="914473" y="2835335"/>
            <a:chExt cx="497776" cy="517982"/>
          </a:xfrm>
        </p:grpSpPr>
        <p:grpSp>
          <p:nvGrpSpPr>
            <p:cNvPr id="73" name="Group 72">
              <a:extLst>
                <a:ext uri="{FF2B5EF4-FFF2-40B4-BE49-F238E27FC236}">
                  <a16:creationId xmlns:a16="http://schemas.microsoft.com/office/drawing/2014/main" id="{5E77FDC4-8D40-B34A-9891-227B7CFB622C}"/>
                </a:ext>
              </a:extLst>
            </p:cNvPr>
            <p:cNvGrpSpPr/>
            <p:nvPr/>
          </p:nvGrpSpPr>
          <p:grpSpPr>
            <a:xfrm>
              <a:off x="1047143" y="2923001"/>
              <a:ext cx="249436" cy="328107"/>
              <a:chOff x="3727450" y="5280026"/>
              <a:chExt cx="627063" cy="781050"/>
            </a:xfrm>
          </p:grpSpPr>
          <p:sp>
            <p:nvSpPr>
              <p:cNvPr id="75" name="Freeform 45">
                <a:extLst>
                  <a:ext uri="{FF2B5EF4-FFF2-40B4-BE49-F238E27FC236}">
                    <a16:creationId xmlns:a16="http://schemas.microsoft.com/office/drawing/2014/main" id="{C27E276C-6C15-3040-B11A-BEA631973DEC}"/>
                  </a:ext>
                </a:extLst>
              </p:cNvPr>
              <p:cNvSpPr>
                <a:spLocks/>
              </p:cNvSpPr>
              <p:nvPr/>
            </p:nvSpPr>
            <p:spPr bwMode="auto">
              <a:xfrm>
                <a:off x="3848100" y="5553076"/>
                <a:ext cx="71438" cy="177800"/>
              </a:xfrm>
              <a:custGeom>
                <a:avLst/>
                <a:gdLst>
                  <a:gd name="T0" fmla="*/ 6 w 17"/>
                  <a:gd name="T1" fmla="*/ 10 h 43"/>
                  <a:gd name="T2" fmla="*/ 9 w 17"/>
                  <a:gd name="T3" fmla="*/ 9 h 43"/>
                  <a:gd name="T4" fmla="*/ 9 w 17"/>
                  <a:gd name="T5" fmla="*/ 39 h 43"/>
                  <a:gd name="T6" fmla="*/ 13 w 17"/>
                  <a:gd name="T7" fmla="*/ 43 h 43"/>
                  <a:gd name="T8" fmla="*/ 17 w 17"/>
                  <a:gd name="T9" fmla="*/ 39 h 43"/>
                  <a:gd name="T10" fmla="*/ 17 w 17"/>
                  <a:gd name="T11" fmla="*/ 4 h 43"/>
                  <a:gd name="T12" fmla="*/ 13 w 17"/>
                  <a:gd name="T13" fmla="*/ 0 h 43"/>
                  <a:gd name="T14" fmla="*/ 10 w 17"/>
                  <a:gd name="T15" fmla="*/ 1 h 43"/>
                  <a:gd name="T16" fmla="*/ 3 w 17"/>
                  <a:gd name="T17" fmla="*/ 3 h 43"/>
                  <a:gd name="T18" fmla="*/ 0 w 17"/>
                  <a:gd name="T19" fmla="*/ 6 h 43"/>
                  <a:gd name="T20" fmla="*/ 6 w 17"/>
                  <a:gd name="T21"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3">
                    <a:moveTo>
                      <a:pt x="6" y="10"/>
                    </a:moveTo>
                    <a:cubicBezTo>
                      <a:pt x="9" y="9"/>
                      <a:pt x="9" y="9"/>
                      <a:pt x="9" y="9"/>
                    </a:cubicBezTo>
                    <a:cubicBezTo>
                      <a:pt x="9" y="39"/>
                      <a:pt x="9" y="39"/>
                      <a:pt x="9" y="39"/>
                    </a:cubicBezTo>
                    <a:cubicBezTo>
                      <a:pt x="9" y="41"/>
                      <a:pt x="10" y="43"/>
                      <a:pt x="13" y="43"/>
                    </a:cubicBezTo>
                    <a:cubicBezTo>
                      <a:pt x="15" y="43"/>
                      <a:pt x="17" y="41"/>
                      <a:pt x="17" y="39"/>
                    </a:cubicBezTo>
                    <a:cubicBezTo>
                      <a:pt x="17" y="4"/>
                      <a:pt x="17" y="4"/>
                      <a:pt x="17" y="4"/>
                    </a:cubicBezTo>
                    <a:cubicBezTo>
                      <a:pt x="17" y="2"/>
                      <a:pt x="15" y="0"/>
                      <a:pt x="13" y="0"/>
                    </a:cubicBezTo>
                    <a:cubicBezTo>
                      <a:pt x="12" y="0"/>
                      <a:pt x="11" y="0"/>
                      <a:pt x="10" y="1"/>
                    </a:cubicBezTo>
                    <a:cubicBezTo>
                      <a:pt x="3" y="3"/>
                      <a:pt x="3" y="3"/>
                      <a:pt x="3" y="3"/>
                    </a:cubicBezTo>
                    <a:cubicBezTo>
                      <a:pt x="1" y="3"/>
                      <a:pt x="0" y="5"/>
                      <a:pt x="0" y="6"/>
                    </a:cubicBezTo>
                    <a:cubicBezTo>
                      <a:pt x="0" y="9"/>
                      <a:pt x="3" y="11"/>
                      <a:pt x="6"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7" name="Freeform 46">
                <a:extLst>
                  <a:ext uri="{FF2B5EF4-FFF2-40B4-BE49-F238E27FC236}">
                    <a16:creationId xmlns:a16="http://schemas.microsoft.com/office/drawing/2014/main" id="{9A36BC43-EBE2-F945-95F2-E80056F88371}"/>
                  </a:ext>
                </a:extLst>
              </p:cNvPr>
              <p:cNvSpPr>
                <a:spLocks noEditPoints="1"/>
              </p:cNvSpPr>
              <p:nvPr/>
            </p:nvSpPr>
            <p:spPr bwMode="auto">
              <a:xfrm>
                <a:off x="3960813" y="5553076"/>
                <a:ext cx="149225" cy="177800"/>
              </a:xfrm>
              <a:custGeom>
                <a:avLst/>
                <a:gdLst>
                  <a:gd name="T0" fmla="*/ 18 w 36"/>
                  <a:gd name="T1" fmla="*/ 0 h 43"/>
                  <a:gd name="T2" fmla="*/ 0 w 36"/>
                  <a:gd name="T3" fmla="*/ 22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2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2"/>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2"/>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9" name="Freeform 47">
                <a:extLst>
                  <a:ext uri="{FF2B5EF4-FFF2-40B4-BE49-F238E27FC236}">
                    <a16:creationId xmlns:a16="http://schemas.microsoft.com/office/drawing/2014/main" id="{FFBB27A2-AD13-FF45-9ADC-9CA42D67517A}"/>
                  </a:ext>
                </a:extLst>
              </p:cNvPr>
              <p:cNvSpPr>
                <a:spLocks/>
              </p:cNvSpPr>
              <p:nvPr/>
            </p:nvSpPr>
            <p:spPr bwMode="auto">
              <a:xfrm>
                <a:off x="4138613" y="5553076"/>
                <a:ext cx="66675" cy="177800"/>
              </a:xfrm>
              <a:custGeom>
                <a:avLst/>
                <a:gdLst>
                  <a:gd name="T0" fmla="*/ 12 w 16"/>
                  <a:gd name="T1" fmla="*/ 0 h 43"/>
                  <a:gd name="T2" fmla="*/ 9 w 16"/>
                  <a:gd name="T3" fmla="*/ 1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1"/>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0" name="Freeform 48">
                <a:extLst>
                  <a:ext uri="{FF2B5EF4-FFF2-40B4-BE49-F238E27FC236}">
                    <a16:creationId xmlns:a16="http://schemas.microsoft.com/office/drawing/2014/main" id="{86A4771C-F0A9-104A-9CCC-0965867CFFA9}"/>
                  </a:ext>
                </a:extLst>
              </p:cNvPr>
              <p:cNvSpPr>
                <a:spLocks noEditPoints="1"/>
              </p:cNvSpPr>
              <p:nvPr/>
            </p:nvSpPr>
            <p:spPr bwMode="auto">
              <a:xfrm>
                <a:off x="3856038" y="5775326"/>
                <a:ext cx="150813" cy="177800"/>
              </a:xfrm>
              <a:custGeom>
                <a:avLst/>
                <a:gdLst>
                  <a:gd name="T0" fmla="*/ 18 w 36"/>
                  <a:gd name="T1" fmla="*/ 0 h 43"/>
                  <a:gd name="T2" fmla="*/ 0 w 36"/>
                  <a:gd name="T3" fmla="*/ 21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1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1"/>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1"/>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1" name="Freeform 49">
                <a:extLst>
                  <a:ext uri="{FF2B5EF4-FFF2-40B4-BE49-F238E27FC236}">
                    <a16:creationId xmlns:a16="http://schemas.microsoft.com/office/drawing/2014/main" id="{14E023AE-2777-9A4F-B809-25DFA45DDE65}"/>
                  </a:ext>
                </a:extLst>
              </p:cNvPr>
              <p:cNvSpPr>
                <a:spLocks/>
              </p:cNvSpPr>
              <p:nvPr/>
            </p:nvSpPr>
            <p:spPr bwMode="auto">
              <a:xfrm>
                <a:off x="4035425"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4" name="Freeform 50">
                <a:extLst>
                  <a:ext uri="{FF2B5EF4-FFF2-40B4-BE49-F238E27FC236}">
                    <a16:creationId xmlns:a16="http://schemas.microsoft.com/office/drawing/2014/main" id="{377F2A71-38E0-634A-B8DB-82573015580F}"/>
                  </a:ext>
                </a:extLst>
              </p:cNvPr>
              <p:cNvSpPr>
                <a:spLocks/>
              </p:cNvSpPr>
              <p:nvPr/>
            </p:nvSpPr>
            <p:spPr bwMode="auto">
              <a:xfrm>
                <a:off x="4138613"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5" name="Freeform 51">
                <a:extLst>
                  <a:ext uri="{FF2B5EF4-FFF2-40B4-BE49-F238E27FC236}">
                    <a16:creationId xmlns:a16="http://schemas.microsoft.com/office/drawing/2014/main" id="{04EE4410-074D-AF48-B381-09C2AE1D1692}"/>
                  </a:ext>
                </a:extLst>
              </p:cNvPr>
              <p:cNvSpPr>
                <a:spLocks noEditPoints="1"/>
              </p:cNvSpPr>
              <p:nvPr/>
            </p:nvSpPr>
            <p:spPr bwMode="auto">
              <a:xfrm>
                <a:off x="3727450" y="5280026"/>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7 h 189"/>
                  <a:gd name="T22" fmla="*/ 148 w 151"/>
                  <a:gd name="T23" fmla="*/ 29 h 189"/>
                  <a:gd name="T24" fmla="*/ 141 w 151"/>
                  <a:gd name="T25" fmla="*/ 33 h 189"/>
                  <a:gd name="T26" fmla="*/ 119 w 151"/>
                  <a:gd name="T27" fmla="*/ 33 h 189"/>
                  <a:gd name="T28" fmla="*/ 119 w 151"/>
                  <a:gd name="T29" fmla="*/ 11 h 189"/>
                  <a:gd name="T30" fmla="*/ 141 w 151"/>
                  <a:gd name="T31" fmla="*/ 33 h 189"/>
                  <a:gd name="T32" fmla="*/ 141 w 151"/>
                  <a:gd name="T33" fmla="*/ 182 h 189"/>
                  <a:gd name="T34" fmla="*/ 10 w 151"/>
                  <a:gd name="T35" fmla="*/ 182 h 189"/>
                  <a:gd name="T36" fmla="*/ 8 w 151"/>
                  <a:gd name="T37" fmla="*/ 179 h 189"/>
                  <a:gd name="T38" fmla="*/ 8 w 151"/>
                  <a:gd name="T39" fmla="*/ 10 h 189"/>
                  <a:gd name="T40" fmla="*/ 10 w 151"/>
                  <a:gd name="T41" fmla="*/ 8 h 189"/>
                  <a:gd name="T42" fmla="*/ 111 w 151"/>
                  <a:gd name="T43" fmla="*/ 8 h 189"/>
                  <a:gd name="T44" fmla="*/ 111 w 151"/>
                  <a:gd name="T45" fmla="*/ 37 h 189"/>
                  <a:gd name="T46" fmla="*/ 115 w 151"/>
                  <a:gd name="T47" fmla="*/ 40 h 189"/>
                  <a:gd name="T48" fmla="*/ 144 w 151"/>
                  <a:gd name="T49" fmla="*/ 40 h 189"/>
                  <a:gd name="T50" fmla="*/ 144 w 151"/>
                  <a:gd name="T51" fmla="*/ 179 h 189"/>
                  <a:gd name="T52" fmla="*/ 141 w 151"/>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5"/>
                      <a:pt x="0" y="10"/>
                    </a:cubicBezTo>
                    <a:cubicBezTo>
                      <a:pt x="0" y="179"/>
                      <a:pt x="0" y="179"/>
                      <a:pt x="0" y="179"/>
                    </a:cubicBezTo>
                    <a:cubicBezTo>
                      <a:pt x="0" y="185"/>
                      <a:pt x="4" y="189"/>
                      <a:pt x="10" y="189"/>
                    </a:cubicBezTo>
                    <a:cubicBezTo>
                      <a:pt x="141" y="189"/>
                      <a:pt x="141" y="189"/>
                      <a:pt x="141" y="189"/>
                    </a:cubicBezTo>
                    <a:cubicBezTo>
                      <a:pt x="147" y="189"/>
                      <a:pt x="151" y="185"/>
                      <a:pt x="151" y="179"/>
                    </a:cubicBezTo>
                    <a:cubicBezTo>
                      <a:pt x="151" y="37"/>
                      <a:pt x="151" y="37"/>
                      <a:pt x="151" y="37"/>
                    </a:cubicBezTo>
                    <a:cubicBezTo>
                      <a:pt x="151" y="34"/>
                      <a:pt x="150" y="31"/>
                      <a:pt x="148" y="29"/>
                    </a:cubicBezTo>
                    <a:close/>
                    <a:moveTo>
                      <a:pt x="141" y="33"/>
                    </a:moveTo>
                    <a:cubicBezTo>
                      <a:pt x="119" y="33"/>
                      <a:pt x="119" y="33"/>
                      <a:pt x="119" y="33"/>
                    </a:cubicBezTo>
                    <a:cubicBezTo>
                      <a:pt x="119" y="11"/>
                      <a:pt x="119" y="11"/>
                      <a:pt x="119" y="11"/>
                    </a:cubicBezTo>
                    <a:lnTo>
                      <a:pt x="141" y="33"/>
                    </a:lnTo>
                    <a:close/>
                    <a:moveTo>
                      <a:pt x="141" y="182"/>
                    </a:moveTo>
                    <a:cubicBezTo>
                      <a:pt x="10" y="182"/>
                      <a:pt x="10" y="182"/>
                      <a:pt x="10" y="182"/>
                    </a:cubicBezTo>
                    <a:cubicBezTo>
                      <a:pt x="9" y="182"/>
                      <a:pt x="8" y="181"/>
                      <a:pt x="8" y="179"/>
                    </a:cubicBezTo>
                    <a:cubicBezTo>
                      <a:pt x="8" y="10"/>
                      <a:pt x="8" y="10"/>
                      <a:pt x="8" y="10"/>
                    </a:cubicBezTo>
                    <a:cubicBezTo>
                      <a:pt x="8" y="9"/>
                      <a:pt x="9" y="8"/>
                      <a:pt x="10" y="8"/>
                    </a:cubicBezTo>
                    <a:cubicBezTo>
                      <a:pt x="111" y="8"/>
                      <a:pt x="111" y="8"/>
                      <a:pt x="111" y="8"/>
                    </a:cubicBezTo>
                    <a:cubicBezTo>
                      <a:pt x="111" y="37"/>
                      <a:pt x="111" y="37"/>
                      <a:pt x="111" y="37"/>
                    </a:cubicBezTo>
                    <a:cubicBezTo>
                      <a:pt x="111" y="39"/>
                      <a:pt x="113" y="40"/>
                      <a:pt x="115" y="40"/>
                    </a:cubicBezTo>
                    <a:cubicBezTo>
                      <a:pt x="144" y="40"/>
                      <a:pt x="144" y="40"/>
                      <a:pt x="144" y="40"/>
                    </a:cubicBezTo>
                    <a:cubicBezTo>
                      <a:pt x="144" y="179"/>
                      <a:pt x="144" y="179"/>
                      <a:pt x="144" y="179"/>
                    </a:cubicBezTo>
                    <a:cubicBezTo>
                      <a:pt x="144" y="181"/>
                      <a:pt x="143" y="182"/>
                      <a:pt x="141" y="1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74" name="Freeform 244">
              <a:extLst>
                <a:ext uri="{FF2B5EF4-FFF2-40B4-BE49-F238E27FC236}">
                  <a16:creationId xmlns:a16="http://schemas.microsoft.com/office/drawing/2014/main" id="{4C7B8478-D04B-4748-9D67-4E12DD9BC309}"/>
                </a:ext>
              </a:extLst>
            </p:cNvPr>
            <p:cNvSpPr>
              <a:spLocks noEditPoints="1"/>
            </p:cNvSpPr>
            <p:nvPr/>
          </p:nvSpPr>
          <p:spPr bwMode="auto">
            <a:xfrm>
              <a:off x="914473" y="283533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6" name="Group 85">
            <a:extLst>
              <a:ext uri="{FF2B5EF4-FFF2-40B4-BE49-F238E27FC236}">
                <a16:creationId xmlns:a16="http://schemas.microsoft.com/office/drawing/2014/main" id="{E54DB785-639E-6B4C-B735-FE26792999A8}"/>
              </a:ext>
            </a:extLst>
          </p:cNvPr>
          <p:cNvGrpSpPr/>
          <p:nvPr/>
        </p:nvGrpSpPr>
        <p:grpSpPr>
          <a:xfrm>
            <a:off x="1724819" y="4614849"/>
            <a:ext cx="497776" cy="517982"/>
            <a:chOff x="1763630" y="4431485"/>
            <a:chExt cx="497776" cy="517982"/>
          </a:xfrm>
        </p:grpSpPr>
        <p:grpSp>
          <p:nvGrpSpPr>
            <p:cNvPr id="92" name="Group 91">
              <a:extLst>
                <a:ext uri="{FF2B5EF4-FFF2-40B4-BE49-F238E27FC236}">
                  <a16:creationId xmlns:a16="http://schemas.microsoft.com/office/drawing/2014/main" id="{E2A7FF1B-179E-B540-A606-D78EF063FAE7}"/>
                </a:ext>
              </a:extLst>
            </p:cNvPr>
            <p:cNvGrpSpPr/>
            <p:nvPr/>
          </p:nvGrpSpPr>
          <p:grpSpPr>
            <a:xfrm>
              <a:off x="1841767" y="4550138"/>
              <a:ext cx="348246" cy="257618"/>
              <a:chOff x="1772296" y="1368566"/>
              <a:chExt cx="449558" cy="332565"/>
            </a:xfrm>
          </p:grpSpPr>
          <p:sp>
            <p:nvSpPr>
              <p:cNvPr id="95" name="Freeform 96">
                <a:extLst>
                  <a:ext uri="{FF2B5EF4-FFF2-40B4-BE49-F238E27FC236}">
                    <a16:creationId xmlns:a16="http://schemas.microsoft.com/office/drawing/2014/main" id="{F55B7A65-0845-E04C-BC83-8BB61C0F7B8D}"/>
                  </a:ext>
                </a:extLst>
              </p:cNvPr>
              <p:cNvSpPr>
                <a:spLocks noEditPoints="1"/>
              </p:cNvSpPr>
              <p:nvPr/>
            </p:nvSpPr>
            <p:spPr bwMode="auto">
              <a:xfrm>
                <a:off x="1772296" y="1368566"/>
                <a:ext cx="449558" cy="332565"/>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Freeform 97">
                <a:extLst>
                  <a:ext uri="{FF2B5EF4-FFF2-40B4-BE49-F238E27FC236}">
                    <a16:creationId xmlns:a16="http://schemas.microsoft.com/office/drawing/2014/main" id="{E13D9480-F45F-AA4F-AD09-960038581A12}"/>
                  </a:ext>
                </a:extLst>
              </p:cNvPr>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4" name="Freeform 244">
              <a:extLst>
                <a:ext uri="{FF2B5EF4-FFF2-40B4-BE49-F238E27FC236}">
                  <a16:creationId xmlns:a16="http://schemas.microsoft.com/office/drawing/2014/main" id="{E414EB29-B09D-2844-AABB-424BCB9BDDE1}"/>
                </a:ext>
              </a:extLst>
            </p:cNvPr>
            <p:cNvSpPr>
              <a:spLocks noEditPoints="1"/>
            </p:cNvSpPr>
            <p:nvPr/>
          </p:nvSpPr>
          <p:spPr bwMode="auto">
            <a:xfrm>
              <a:off x="1763630" y="443148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97" name="Group 96">
            <a:extLst>
              <a:ext uri="{FF2B5EF4-FFF2-40B4-BE49-F238E27FC236}">
                <a16:creationId xmlns:a16="http://schemas.microsoft.com/office/drawing/2014/main" id="{5594E0EE-E71C-1C43-B10F-66D95001208A}"/>
              </a:ext>
            </a:extLst>
          </p:cNvPr>
          <p:cNvGrpSpPr/>
          <p:nvPr/>
        </p:nvGrpSpPr>
        <p:grpSpPr>
          <a:xfrm>
            <a:off x="1723328" y="3708239"/>
            <a:ext cx="497776" cy="517982"/>
            <a:chOff x="1742992" y="3606769"/>
            <a:chExt cx="497776" cy="517982"/>
          </a:xfrm>
        </p:grpSpPr>
        <p:grpSp>
          <p:nvGrpSpPr>
            <p:cNvPr id="98" name="Group 97">
              <a:extLst>
                <a:ext uri="{FF2B5EF4-FFF2-40B4-BE49-F238E27FC236}">
                  <a16:creationId xmlns:a16="http://schemas.microsoft.com/office/drawing/2014/main" id="{175532A1-C4FC-0A4A-A905-A6937B8D19F8}"/>
                </a:ext>
              </a:extLst>
            </p:cNvPr>
            <p:cNvGrpSpPr/>
            <p:nvPr/>
          </p:nvGrpSpPr>
          <p:grpSpPr>
            <a:xfrm>
              <a:off x="1822814" y="3690402"/>
              <a:ext cx="350704" cy="350704"/>
              <a:chOff x="5562600" y="4875213"/>
              <a:chExt cx="790575" cy="790575"/>
            </a:xfrm>
          </p:grpSpPr>
          <p:sp>
            <p:nvSpPr>
              <p:cNvPr id="100" name="Freeform 55">
                <a:extLst>
                  <a:ext uri="{FF2B5EF4-FFF2-40B4-BE49-F238E27FC236}">
                    <a16:creationId xmlns:a16="http://schemas.microsoft.com/office/drawing/2014/main" id="{B3D9A4F8-2DA5-0B44-B256-64433BDF652D}"/>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56">
                <a:extLst>
                  <a:ext uri="{FF2B5EF4-FFF2-40B4-BE49-F238E27FC236}">
                    <a16:creationId xmlns:a16="http://schemas.microsoft.com/office/drawing/2014/main" id="{54D88537-16DB-B14A-8B7B-8485FA321976}"/>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9" name="Freeform 244">
              <a:extLst>
                <a:ext uri="{FF2B5EF4-FFF2-40B4-BE49-F238E27FC236}">
                  <a16:creationId xmlns:a16="http://schemas.microsoft.com/office/drawing/2014/main" id="{15E76E8C-9CEF-FC4F-B9CC-A5774F6E53CE}"/>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3" name="Group 102">
            <a:extLst>
              <a:ext uri="{FF2B5EF4-FFF2-40B4-BE49-F238E27FC236}">
                <a16:creationId xmlns:a16="http://schemas.microsoft.com/office/drawing/2014/main" id="{10298A58-15CC-5444-9806-5D0000234536}"/>
              </a:ext>
            </a:extLst>
          </p:cNvPr>
          <p:cNvGrpSpPr/>
          <p:nvPr/>
        </p:nvGrpSpPr>
        <p:grpSpPr>
          <a:xfrm>
            <a:off x="5817623" y="3325735"/>
            <a:ext cx="497776" cy="517982"/>
            <a:chOff x="1653952" y="5387312"/>
            <a:chExt cx="497776" cy="517982"/>
          </a:xfrm>
        </p:grpSpPr>
        <p:sp>
          <p:nvSpPr>
            <p:cNvPr id="104" name="Freeform 578">
              <a:extLst>
                <a:ext uri="{FF2B5EF4-FFF2-40B4-BE49-F238E27FC236}">
                  <a16:creationId xmlns:a16="http://schemas.microsoft.com/office/drawing/2014/main" id="{96CA0108-2348-EF49-8BEB-2E83B08B4CA8}"/>
                </a:ext>
              </a:extLst>
            </p:cNvPr>
            <p:cNvSpPr>
              <a:spLocks noEditPoints="1"/>
            </p:cNvSpPr>
            <p:nvPr/>
          </p:nvSpPr>
          <p:spPr bwMode="auto">
            <a:xfrm>
              <a:off x="1758537" y="5475243"/>
              <a:ext cx="273406" cy="327594"/>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244">
              <a:extLst>
                <a:ext uri="{FF2B5EF4-FFF2-40B4-BE49-F238E27FC236}">
                  <a16:creationId xmlns:a16="http://schemas.microsoft.com/office/drawing/2014/main" id="{69EA8DB5-A894-BC41-9173-8C44F57CBD1B}"/>
                </a:ext>
              </a:extLst>
            </p:cNvPr>
            <p:cNvSpPr>
              <a:spLocks noEditPoints="1"/>
            </p:cNvSpPr>
            <p:nvPr/>
          </p:nvSpPr>
          <p:spPr bwMode="auto">
            <a:xfrm>
              <a:off x="1653952" y="5387312"/>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6" name="Group 105">
            <a:extLst>
              <a:ext uri="{FF2B5EF4-FFF2-40B4-BE49-F238E27FC236}">
                <a16:creationId xmlns:a16="http://schemas.microsoft.com/office/drawing/2014/main" id="{EB7B1966-92F0-E643-8FC8-0043B9C72AEA}"/>
              </a:ext>
            </a:extLst>
          </p:cNvPr>
          <p:cNvGrpSpPr/>
          <p:nvPr/>
        </p:nvGrpSpPr>
        <p:grpSpPr>
          <a:xfrm>
            <a:off x="5815963" y="4255647"/>
            <a:ext cx="497776" cy="517982"/>
            <a:chOff x="2178324" y="5366456"/>
            <a:chExt cx="497776" cy="517982"/>
          </a:xfrm>
        </p:grpSpPr>
        <p:grpSp>
          <p:nvGrpSpPr>
            <p:cNvPr id="107" name="Group 106">
              <a:extLst>
                <a:ext uri="{FF2B5EF4-FFF2-40B4-BE49-F238E27FC236}">
                  <a16:creationId xmlns:a16="http://schemas.microsoft.com/office/drawing/2014/main" id="{F034A6CB-2F9D-DA42-A277-209D32D65BF0}"/>
                </a:ext>
              </a:extLst>
            </p:cNvPr>
            <p:cNvGrpSpPr/>
            <p:nvPr/>
          </p:nvGrpSpPr>
          <p:grpSpPr>
            <a:xfrm>
              <a:off x="2278654" y="5459540"/>
              <a:ext cx="286037" cy="337619"/>
              <a:chOff x="6145213" y="7040563"/>
              <a:chExt cx="484187" cy="571500"/>
            </a:xfrm>
          </p:grpSpPr>
          <p:sp>
            <p:nvSpPr>
              <p:cNvPr id="110" name="Freeform 365">
                <a:extLst>
                  <a:ext uri="{FF2B5EF4-FFF2-40B4-BE49-F238E27FC236}">
                    <a16:creationId xmlns:a16="http://schemas.microsoft.com/office/drawing/2014/main" id="{E0CCF3EA-02CF-254C-8D75-9936B8AA9B8E}"/>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366">
                <a:extLst>
                  <a:ext uri="{FF2B5EF4-FFF2-40B4-BE49-F238E27FC236}">
                    <a16:creationId xmlns:a16="http://schemas.microsoft.com/office/drawing/2014/main" id="{11F829C8-FCFC-EE4A-B674-4559543294E9}"/>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367">
                <a:extLst>
                  <a:ext uri="{FF2B5EF4-FFF2-40B4-BE49-F238E27FC236}">
                    <a16:creationId xmlns:a16="http://schemas.microsoft.com/office/drawing/2014/main" id="{530694C3-8D37-1541-AA32-948F88D6FF14}"/>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68">
                <a:extLst>
                  <a:ext uri="{FF2B5EF4-FFF2-40B4-BE49-F238E27FC236}">
                    <a16:creationId xmlns:a16="http://schemas.microsoft.com/office/drawing/2014/main" id="{3CF326F0-9932-2E44-AB75-48FC3B410887}"/>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69">
                <a:extLst>
                  <a:ext uri="{FF2B5EF4-FFF2-40B4-BE49-F238E27FC236}">
                    <a16:creationId xmlns:a16="http://schemas.microsoft.com/office/drawing/2014/main" id="{9D4E888B-6621-4D45-BAC0-C848A28BE5BD}"/>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70">
                <a:extLst>
                  <a:ext uri="{FF2B5EF4-FFF2-40B4-BE49-F238E27FC236}">
                    <a16:creationId xmlns:a16="http://schemas.microsoft.com/office/drawing/2014/main" id="{1648CE5C-7737-0040-9F51-192557E5D232}"/>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8" name="Freeform 244">
              <a:extLst>
                <a:ext uri="{FF2B5EF4-FFF2-40B4-BE49-F238E27FC236}">
                  <a16:creationId xmlns:a16="http://schemas.microsoft.com/office/drawing/2014/main" id="{EF517235-89FF-8549-B158-E35EAD93DB18}"/>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30" name="Group 129">
            <a:extLst>
              <a:ext uri="{FF2B5EF4-FFF2-40B4-BE49-F238E27FC236}">
                <a16:creationId xmlns:a16="http://schemas.microsoft.com/office/drawing/2014/main" id="{D1AA21A9-F33C-2A47-B748-32707F5146A1}"/>
              </a:ext>
            </a:extLst>
          </p:cNvPr>
          <p:cNvGrpSpPr/>
          <p:nvPr/>
        </p:nvGrpSpPr>
        <p:grpSpPr>
          <a:xfrm>
            <a:off x="7825073" y="4333845"/>
            <a:ext cx="497776" cy="517982"/>
            <a:chOff x="4395408" y="5366456"/>
            <a:chExt cx="497776" cy="517982"/>
          </a:xfrm>
        </p:grpSpPr>
        <p:grpSp>
          <p:nvGrpSpPr>
            <p:cNvPr id="131" name="Group 130">
              <a:extLst>
                <a:ext uri="{FF2B5EF4-FFF2-40B4-BE49-F238E27FC236}">
                  <a16:creationId xmlns:a16="http://schemas.microsoft.com/office/drawing/2014/main" id="{9CC9E650-3104-784D-AA33-E6035F71B1CE}"/>
                </a:ext>
              </a:extLst>
            </p:cNvPr>
            <p:cNvGrpSpPr/>
            <p:nvPr/>
          </p:nvGrpSpPr>
          <p:grpSpPr>
            <a:xfrm>
              <a:off x="4494925" y="5478085"/>
              <a:ext cx="307156" cy="307154"/>
              <a:chOff x="4648200" y="6919913"/>
              <a:chExt cx="611188" cy="611187"/>
            </a:xfrm>
          </p:grpSpPr>
          <p:sp>
            <p:nvSpPr>
              <p:cNvPr id="133" name="Freeform 285">
                <a:extLst>
                  <a:ext uri="{FF2B5EF4-FFF2-40B4-BE49-F238E27FC236}">
                    <a16:creationId xmlns:a16="http://schemas.microsoft.com/office/drawing/2014/main" id="{8631BF9E-86B7-6446-BF7F-9BA78A4E4720}"/>
                  </a:ext>
                </a:extLst>
              </p:cNvPr>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4" name="Freeform 286">
                <a:extLst>
                  <a:ext uri="{FF2B5EF4-FFF2-40B4-BE49-F238E27FC236}">
                    <a16:creationId xmlns:a16="http://schemas.microsoft.com/office/drawing/2014/main" id="{629EB143-703B-2248-AD4D-A0AC497C5E99}"/>
                  </a:ext>
                </a:extLst>
              </p:cNvPr>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5" name="Freeform 287">
                <a:extLst>
                  <a:ext uri="{FF2B5EF4-FFF2-40B4-BE49-F238E27FC236}">
                    <a16:creationId xmlns:a16="http://schemas.microsoft.com/office/drawing/2014/main" id="{B6107AF6-DFC3-9B4A-BF22-626094E5E4C2}"/>
                  </a:ext>
                </a:extLst>
              </p:cNvPr>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6" name="Freeform 288">
                <a:extLst>
                  <a:ext uri="{FF2B5EF4-FFF2-40B4-BE49-F238E27FC236}">
                    <a16:creationId xmlns:a16="http://schemas.microsoft.com/office/drawing/2014/main" id="{0CA1614E-773E-8942-8F0F-ED8E98BD197D}"/>
                  </a:ext>
                </a:extLst>
              </p:cNvPr>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7" name="Freeform 289">
                <a:extLst>
                  <a:ext uri="{FF2B5EF4-FFF2-40B4-BE49-F238E27FC236}">
                    <a16:creationId xmlns:a16="http://schemas.microsoft.com/office/drawing/2014/main" id="{D7C3A6E4-98F2-2A44-8D85-046D2C9E14AE}"/>
                  </a:ext>
                </a:extLst>
              </p:cNvPr>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8" name="Freeform 290">
                <a:extLst>
                  <a:ext uri="{FF2B5EF4-FFF2-40B4-BE49-F238E27FC236}">
                    <a16:creationId xmlns:a16="http://schemas.microsoft.com/office/drawing/2014/main" id="{790D1B7D-1519-6F4B-873E-9B7265805D43}"/>
                  </a:ext>
                </a:extLst>
              </p:cNvPr>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9" name="Freeform 291">
                <a:extLst>
                  <a:ext uri="{FF2B5EF4-FFF2-40B4-BE49-F238E27FC236}">
                    <a16:creationId xmlns:a16="http://schemas.microsoft.com/office/drawing/2014/main" id="{548A30D1-9861-AE4B-B7A8-5E795AFB7D19}"/>
                  </a:ext>
                </a:extLst>
              </p:cNvPr>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0" name="Freeform 292">
                <a:extLst>
                  <a:ext uri="{FF2B5EF4-FFF2-40B4-BE49-F238E27FC236}">
                    <a16:creationId xmlns:a16="http://schemas.microsoft.com/office/drawing/2014/main" id="{950AF691-A825-EB4F-B939-3E8C3F3AF4C6}"/>
                  </a:ext>
                </a:extLst>
              </p:cNvPr>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32" name="Freeform 244">
              <a:extLst>
                <a:ext uri="{FF2B5EF4-FFF2-40B4-BE49-F238E27FC236}">
                  <a16:creationId xmlns:a16="http://schemas.microsoft.com/office/drawing/2014/main" id="{A0833A06-47F7-DE4A-A8CC-86BCC5983302}"/>
                </a:ext>
              </a:extLst>
            </p:cNvPr>
            <p:cNvSpPr>
              <a:spLocks noEditPoints="1"/>
            </p:cNvSpPr>
            <p:nvPr/>
          </p:nvSpPr>
          <p:spPr bwMode="auto">
            <a:xfrm>
              <a:off x="4395408"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1" name="Group 140">
            <a:extLst>
              <a:ext uri="{FF2B5EF4-FFF2-40B4-BE49-F238E27FC236}">
                <a16:creationId xmlns:a16="http://schemas.microsoft.com/office/drawing/2014/main" id="{87E719C2-58C3-3A48-9E2C-9FC4EEA91294}"/>
              </a:ext>
            </a:extLst>
          </p:cNvPr>
          <p:cNvGrpSpPr/>
          <p:nvPr/>
        </p:nvGrpSpPr>
        <p:grpSpPr>
          <a:xfrm>
            <a:off x="7812039" y="3274886"/>
            <a:ext cx="497776" cy="517982"/>
            <a:chOff x="5302152" y="5598347"/>
            <a:chExt cx="497776" cy="517982"/>
          </a:xfrm>
        </p:grpSpPr>
        <p:sp>
          <p:nvSpPr>
            <p:cNvPr id="142" name="Freeform 244">
              <a:extLst>
                <a:ext uri="{FF2B5EF4-FFF2-40B4-BE49-F238E27FC236}">
                  <a16:creationId xmlns:a16="http://schemas.microsoft.com/office/drawing/2014/main" id="{916DC378-634B-5448-8132-D8A2DEB0007D}"/>
                </a:ext>
              </a:extLst>
            </p:cNvPr>
            <p:cNvSpPr>
              <a:spLocks noEditPoints="1"/>
            </p:cNvSpPr>
            <p:nvPr/>
          </p:nvSpPr>
          <p:spPr bwMode="auto">
            <a:xfrm>
              <a:off x="5302152" y="5598347"/>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43" name="Group 142">
              <a:extLst>
                <a:ext uri="{FF2B5EF4-FFF2-40B4-BE49-F238E27FC236}">
                  <a16:creationId xmlns:a16="http://schemas.microsoft.com/office/drawing/2014/main" id="{350178E9-9988-F64C-BCA3-16FDC4A55153}"/>
                </a:ext>
              </a:extLst>
            </p:cNvPr>
            <p:cNvGrpSpPr/>
            <p:nvPr/>
          </p:nvGrpSpPr>
          <p:grpSpPr>
            <a:xfrm>
              <a:off x="5393064" y="5718880"/>
              <a:ext cx="316110" cy="277561"/>
              <a:chOff x="1290638" y="5410200"/>
              <a:chExt cx="585787" cy="514350"/>
            </a:xfrm>
          </p:grpSpPr>
          <p:sp>
            <p:nvSpPr>
              <p:cNvPr id="144" name="Freeform 66">
                <a:extLst>
                  <a:ext uri="{FF2B5EF4-FFF2-40B4-BE49-F238E27FC236}">
                    <a16:creationId xmlns:a16="http://schemas.microsoft.com/office/drawing/2014/main" id="{9EC35BF1-F6DB-144A-ABED-5C32D34B8DEB}"/>
                  </a:ext>
                </a:extLst>
              </p:cNvPr>
              <p:cNvSpPr>
                <a:spLocks noEditPoints="1"/>
              </p:cNvSpPr>
              <p:nvPr/>
            </p:nvSpPr>
            <p:spPr bwMode="auto">
              <a:xfrm>
                <a:off x="1514475" y="5619750"/>
                <a:ext cx="161925" cy="231775"/>
              </a:xfrm>
              <a:custGeom>
                <a:avLst/>
                <a:gdLst>
                  <a:gd name="T0" fmla="*/ 7 w 66"/>
                  <a:gd name="T1" fmla="*/ 2 h 94"/>
                  <a:gd name="T2" fmla="*/ 2 w 66"/>
                  <a:gd name="T3" fmla="*/ 1 h 94"/>
                  <a:gd name="T4" fmla="*/ 0 w 66"/>
                  <a:gd name="T5" fmla="*/ 6 h 94"/>
                  <a:gd name="T6" fmla="*/ 10 w 66"/>
                  <a:gd name="T7" fmla="*/ 77 h 94"/>
                  <a:gd name="T8" fmla="*/ 13 w 66"/>
                  <a:gd name="T9" fmla="*/ 81 h 94"/>
                  <a:gd name="T10" fmla="*/ 17 w 66"/>
                  <a:gd name="T11" fmla="*/ 80 h 94"/>
                  <a:gd name="T12" fmla="*/ 30 w 66"/>
                  <a:gd name="T13" fmla="*/ 70 h 94"/>
                  <a:gd name="T14" fmla="*/ 41 w 66"/>
                  <a:gd name="T15" fmla="*/ 91 h 94"/>
                  <a:gd name="T16" fmla="*/ 44 w 66"/>
                  <a:gd name="T17" fmla="*/ 94 h 94"/>
                  <a:gd name="T18" fmla="*/ 46 w 66"/>
                  <a:gd name="T19" fmla="*/ 94 h 94"/>
                  <a:gd name="T20" fmla="*/ 48 w 66"/>
                  <a:gd name="T21" fmla="*/ 93 h 94"/>
                  <a:gd name="T22" fmla="*/ 62 w 66"/>
                  <a:gd name="T23" fmla="*/ 84 h 94"/>
                  <a:gd name="T24" fmla="*/ 64 w 66"/>
                  <a:gd name="T25" fmla="*/ 81 h 94"/>
                  <a:gd name="T26" fmla="*/ 63 w 66"/>
                  <a:gd name="T27" fmla="*/ 77 h 94"/>
                  <a:gd name="T28" fmla="*/ 49 w 66"/>
                  <a:gd name="T29" fmla="*/ 59 h 94"/>
                  <a:gd name="T30" fmla="*/ 63 w 66"/>
                  <a:gd name="T31" fmla="*/ 53 h 94"/>
                  <a:gd name="T32" fmla="*/ 66 w 66"/>
                  <a:gd name="T33" fmla="*/ 49 h 94"/>
                  <a:gd name="T34" fmla="*/ 64 w 66"/>
                  <a:gd name="T35" fmla="*/ 45 h 94"/>
                  <a:gd name="T36" fmla="*/ 7 w 66"/>
                  <a:gd name="T37" fmla="*/ 2 h 94"/>
                  <a:gd name="T38" fmla="*/ 39 w 66"/>
                  <a:gd name="T39" fmla="*/ 52 h 94"/>
                  <a:gd name="T40" fmla="*/ 36 w 66"/>
                  <a:gd name="T41" fmla="*/ 55 h 94"/>
                  <a:gd name="T42" fmla="*/ 37 w 66"/>
                  <a:gd name="T43" fmla="*/ 59 h 94"/>
                  <a:gd name="T44" fmla="*/ 52 w 66"/>
                  <a:gd name="T45" fmla="*/ 79 h 94"/>
                  <a:gd name="T46" fmla="*/ 47 w 66"/>
                  <a:gd name="T47" fmla="*/ 82 h 94"/>
                  <a:gd name="T48" fmla="*/ 35 w 66"/>
                  <a:gd name="T49" fmla="*/ 60 h 94"/>
                  <a:gd name="T50" fmla="*/ 32 w 66"/>
                  <a:gd name="T51" fmla="*/ 58 h 94"/>
                  <a:gd name="T52" fmla="*/ 31 w 66"/>
                  <a:gd name="T53" fmla="*/ 57 h 94"/>
                  <a:gd name="T54" fmla="*/ 28 w 66"/>
                  <a:gd name="T55" fmla="*/ 59 h 94"/>
                  <a:gd name="T56" fmla="*/ 18 w 66"/>
                  <a:gd name="T57" fmla="*/ 67 h 94"/>
                  <a:gd name="T58" fmla="*/ 11 w 66"/>
                  <a:gd name="T59" fmla="*/ 16 h 94"/>
                  <a:gd name="T60" fmla="*/ 51 w 66"/>
                  <a:gd name="T61" fmla="*/ 47 h 94"/>
                  <a:gd name="T62" fmla="*/ 39 w 66"/>
                  <a:gd name="T63"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94">
                    <a:moveTo>
                      <a:pt x="7" y="2"/>
                    </a:moveTo>
                    <a:cubicBezTo>
                      <a:pt x="6" y="0"/>
                      <a:pt x="4" y="0"/>
                      <a:pt x="2" y="1"/>
                    </a:cubicBezTo>
                    <a:cubicBezTo>
                      <a:pt x="0" y="2"/>
                      <a:pt x="0" y="4"/>
                      <a:pt x="0" y="6"/>
                    </a:cubicBezTo>
                    <a:cubicBezTo>
                      <a:pt x="10" y="77"/>
                      <a:pt x="10" y="77"/>
                      <a:pt x="10" y="77"/>
                    </a:cubicBezTo>
                    <a:cubicBezTo>
                      <a:pt x="10" y="79"/>
                      <a:pt x="11" y="81"/>
                      <a:pt x="13" y="81"/>
                    </a:cubicBezTo>
                    <a:cubicBezTo>
                      <a:pt x="14" y="82"/>
                      <a:pt x="16" y="81"/>
                      <a:pt x="17" y="80"/>
                    </a:cubicBezTo>
                    <a:cubicBezTo>
                      <a:pt x="30" y="70"/>
                      <a:pt x="30" y="70"/>
                      <a:pt x="30" y="70"/>
                    </a:cubicBezTo>
                    <a:cubicBezTo>
                      <a:pt x="41" y="91"/>
                      <a:pt x="41" y="91"/>
                      <a:pt x="41" y="91"/>
                    </a:cubicBezTo>
                    <a:cubicBezTo>
                      <a:pt x="42" y="93"/>
                      <a:pt x="43" y="94"/>
                      <a:pt x="44" y="94"/>
                    </a:cubicBezTo>
                    <a:cubicBezTo>
                      <a:pt x="45" y="94"/>
                      <a:pt x="45" y="94"/>
                      <a:pt x="46" y="94"/>
                    </a:cubicBezTo>
                    <a:cubicBezTo>
                      <a:pt x="47" y="94"/>
                      <a:pt x="47" y="94"/>
                      <a:pt x="48" y="93"/>
                    </a:cubicBezTo>
                    <a:cubicBezTo>
                      <a:pt x="62" y="84"/>
                      <a:pt x="62" y="84"/>
                      <a:pt x="62" y="84"/>
                    </a:cubicBezTo>
                    <a:cubicBezTo>
                      <a:pt x="63" y="83"/>
                      <a:pt x="64" y="82"/>
                      <a:pt x="64" y="81"/>
                    </a:cubicBezTo>
                    <a:cubicBezTo>
                      <a:pt x="64" y="80"/>
                      <a:pt x="64" y="78"/>
                      <a:pt x="63" y="77"/>
                    </a:cubicBezTo>
                    <a:cubicBezTo>
                      <a:pt x="49" y="59"/>
                      <a:pt x="49" y="59"/>
                      <a:pt x="49" y="59"/>
                    </a:cubicBezTo>
                    <a:cubicBezTo>
                      <a:pt x="63" y="53"/>
                      <a:pt x="63" y="53"/>
                      <a:pt x="63" y="53"/>
                    </a:cubicBezTo>
                    <a:cubicBezTo>
                      <a:pt x="64" y="52"/>
                      <a:pt x="65" y="51"/>
                      <a:pt x="66" y="49"/>
                    </a:cubicBezTo>
                    <a:cubicBezTo>
                      <a:pt x="66" y="48"/>
                      <a:pt x="65" y="46"/>
                      <a:pt x="64" y="45"/>
                    </a:cubicBezTo>
                    <a:lnTo>
                      <a:pt x="7" y="2"/>
                    </a:lnTo>
                    <a:close/>
                    <a:moveTo>
                      <a:pt x="39" y="52"/>
                    </a:moveTo>
                    <a:cubicBezTo>
                      <a:pt x="38" y="53"/>
                      <a:pt x="37" y="54"/>
                      <a:pt x="36" y="55"/>
                    </a:cubicBezTo>
                    <a:cubicBezTo>
                      <a:pt x="36" y="57"/>
                      <a:pt x="36" y="58"/>
                      <a:pt x="37" y="59"/>
                    </a:cubicBezTo>
                    <a:cubicBezTo>
                      <a:pt x="52" y="79"/>
                      <a:pt x="52" y="79"/>
                      <a:pt x="52" y="79"/>
                    </a:cubicBezTo>
                    <a:cubicBezTo>
                      <a:pt x="47" y="82"/>
                      <a:pt x="47" y="82"/>
                      <a:pt x="47" y="82"/>
                    </a:cubicBezTo>
                    <a:cubicBezTo>
                      <a:pt x="35" y="60"/>
                      <a:pt x="35" y="60"/>
                      <a:pt x="35" y="60"/>
                    </a:cubicBezTo>
                    <a:cubicBezTo>
                      <a:pt x="35" y="59"/>
                      <a:pt x="33" y="58"/>
                      <a:pt x="32" y="58"/>
                    </a:cubicBezTo>
                    <a:cubicBezTo>
                      <a:pt x="32" y="58"/>
                      <a:pt x="31" y="57"/>
                      <a:pt x="31" y="57"/>
                    </a:cubicBezTo>
                    <a:cubicBezTo>
                      <a:pt x="30" y="57"/>
                      <a:pt x="29" y="58"/>
                      <a:pt x="28" y="59"/>
                    </a:cubicBezTo>
                    <a:cubicBezTo>
                      <a:pt x="18" y="67"/>
                      <a:pt x="18" y="67"/>
                      <a:pt x="18" y="67"/>
                    </a:cubicBezTo>
                    <a:cubicBezTo>
                      <a:pt x="11" y="16"/>
                      <a:pt x="11" y="16"/>
                      <a:pt x="11" y="16"/>
                    </a:cubicBezTo>
                    <a:cubicBezTo>
                      <a:pt x="51" y="47"/>
                      <a:pt x="51" y="47"/>
                      <a:pt x="51" y="47"/>
                    </a:cubicBezTo>
                    <a:lnTo>
                      <a:pt x="39" y="5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5" name="Freeform 67">
                <a:extLst>
                  <a:ext uri="{FF2B5EF4-FFF2-40B4-BE49-F238E27FC236}">
                    <a16:creationId xmlns:a16="http://schemas.microsoft.com/office/drawing/2014/main" id="{2040F4FF-D3C0-C141-93F3-684A8484DD5A}"/>
                  </a:ext>
                </a:extLst>
              </p:cNvPr>
              <p:cNvSpPr>
                <a:spLocks noEditPoints="1"/>
              </p:cNvSpPr>
              <p:nvPr/>
            </p:nvSpPr>
            <p:spPr bwMode="auto">
              <a:xfrm>
                <a:off x="12906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10 w 238"/>
                  <a:gd name="T23" fmla="*/ 10 h 209"/>
                  <a:gd name="T24" fmla="*/ 228 w 238"/>
                  <a:gd name="T25" fmla="*/ 10 h 209"/>
                  <a:gd name="T26" fmla="*/ 228 w 238"/>
                  <a:gd name="T27" fmla="*/ 56 h 209"/>
                  <a:gd name="T28" fmla="*/ 10 w 238"/>
                  <a:gd name="T29" fmla="*/ 56 h 209"/>
                  <a:gd name="T30" fmla="*/ 10 w 238"/>
                  <a:gd name="T31" fmla="*/ 10 h 209"/>
                  <a:gd name="T32" fmla="*/ 10 w 238"/>
                  <a:gd name="T33" fmla="*/ 199 h 209"/>
                  <a:gd name="T34" fmla="*/ 10 w 238"/>
                  <a:gd name="T35" fmla="*/ 66 h 209"/>
                  <a:gd name="T36" fmla="*/ 228 w 238"/>
                  <a:gd name="T37" fmla="*/ 66 h 209"/>
                  <a:gd name="T38" fmla="*/ 228 w 238"/>
                  <a:gd name="T39" fmla="*/ 199 h 209"/>
                  <a:gd name="T40" fmla="*/ 10 w 238"/>
                  <a:gd name="T4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10" y="10"/>
                    </a:moveTo>
                    <a:cubicBezTo>
                      <a:pt x="228" y="10"/>
                      <a:pt x="228" y="10"/>
                      <a:pt x="228" y="10"/>
                    </a:cubicBezTo>
                    <a:cubicBezTo>
                      <a:pt x="228" y="56"/>
                      <a:pt x="228" y="56"/>
                      <a:pt x="228" y="56"/>
                    </a:cubicBezTo>
                    <a:cubicBezTo>
                      <a:pt x="10" y="56"/>
                      <a:pt x="10" y="56"/>
                      <a:pt x="10" y="56"/>
                    </a:cubicBezTo>
                    <a:lnTo>
                      <a:pt x="1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6" name="Freeform 68">
                <a:extLst>
                  <a:ext uri="{FF2B5EF4-FFF2-40B4-BE49-F238E27FC236}">
                    <a16:creationId xmlns:a16="http://schemas.microsoft.com/office/drawing/2014/main" id="{4F78B287-860C-1841-9EC9-F05DDB30980C}"/>
                  </a:ext>
                </a:extLst>
              </p:cNvPr>
              <p:cNvSpPr>
                <a:spLocks/>
              </p:cNvSpPr>
              <p:nvPr/>
            </p:nvSpPr>
            <p:spPr bwMode="auto">
              <a:xfrm>
                <a:off x="1520825" y="5503863"/>
                <a:ext cx="82550" cy="23813"/>
              </a:xfrm>
              <a:custGeom>
                <a:avLst/>
                <a:gdLst>
                  <a:gd name="T0" fmla="*/ 29 w 33"/>
                  <a:gd name="T1" fmla="*/ 0 h 10"/>
                  <a:gd name="T2" fmla="*/ 4 w 33"/>
                  <a:gd name="T3" fmla="*/ 0 h 10"/>
                  <a:gd name="T4" fmla="*/ 0 w 33"/>
                  <a:gd name="T5" fmla="*/ 5 h 10"/>
                  <a:gd name="T6" fmla="*/ 4 w 33"/>
                  <a:gd name="T7" fmla="*/ 10 h 10"/>
                  <a:gd name="T8" fmla="*/ 29 w 33"/>
                  <a:gd name="T9" fmla="*/ 10 h 10"/>
                  <a:gd name="T10" fmla="*/ 33 w 33"/>
                  <a:gd name="T11" fmla="*/ 5 h 10"/>
                  <a:gd name="T12" fmla="*/ 29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9" y="0"/>
                    </a:moveTo>
                    <a:cubicBezTo>
                      <a:pt x="4" y="0"/>
                      <a:pt x="4" y="0"/>
                      <a:pt x="4" y="0"/>
                    </a:cubicBezTo>
                    <a:cubicBezTo>
                      <a:pt x="2" y="0"/>
                      <a:pt x="0" y="3"/>
                      <a:pt x="0" y="5"/>
                    </a:cubicBezTo>
                    <a:cubicBezTo>
                      <a:pt x="0" y="8"/>
                      <a:pt x="2" y="10"/>
                      <a:pt x="4" y="10"/>
                    </a:cubicBezTo>
                    <a:cubicBezTo>
                      <a:pt x="29" y="10"/>
                      <a:pt x="29" y="10"/>
                      <a:pt x="29" y="10"/>
                    </a:cubicBezTo>
                    <a:cubicBezTo>
                      <a:pt x="31" y="10"/>
                      <a:pt x="33" y="8"/>
                      <a:pt x="33" y="5"/>
                    </a:cubicBezTo>
                    <a:cubicBezTo>
                      <a:pt x="33" y="3"/>
                      <a:pt x="31" y="0"/>
                      <a:pt x="2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7" name="Freeform 69">
                <a:extLst>
                  <a:ext uri="{FF2B5EF4-FFF2-40B4-BE49-F238E27FC236}">
                    <a16:creationId xmlns:a16="http://schemas.microsoft.com/office/drawing/2014/main" id="{C9F3CCE7-3ECD-F14E-823F-299D146DA793}"/>
                  </a:ext>
                </a:extLst>
              </p:cNvPr>
              <p:cNvSpPr>
                <a:spLocks/>
              </p:cNvSpPr>
              <p:nvPr/>
            </p:nvSpPr>
            <p:spPr bwMode="auto">
              <a:xfrm>
                <a:off x="1741488" y="5451475"/>
                <a:ext cx="76200" cy="76200"/>
              </a:xfrm>
              <a:custGeom>
                <a:avLst/>
                <a:gdLst>
                  <a:gd name="T0" fmla="*/ 29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6 w 31"/>
                  <a:gd name="T19" fmla="*/ 31 h 31"/>
                  <a:gd name="T20" fmla="*/ 9 w 31"/>
                  <a:gd name="T21" fmla="*/ 30 h 31"/>
                  <a:gd name="T22" fmla="*/ 16 w 31"/>
                  <a:gd name="T23" fmla="*/ 23 h 31"/>
                  <a:gd name="T24" fmla="*/ 23 w 31"/>
                  <a:gd name="T25" fmla="*/ 30 h 31"/>
                  <a:gd name="T26" fmla="*/ 26 w 31"/>
                  <a:gd name="T27" fmla="*/ 31 h 31"/>
                  <a:gd name="T28" fmla="*/ 29 w 31"/>
                  <a:gd name="T29" fmla="*/ 30 h 31"/>
                  <a:gd name="T30" fmla="*/ 29 w 31"/>
                  <a:gd name="T31" fmla="*/ 23 h 31"/>
                  <a:gd name="T32" fmla="*/ 23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0"/>
                      <a:pt x="4" y="31"/>
                      <a:pt x="6" y="31"/>
                    </a:cubicBezTo>
                    <a:cubicBezTo>
                      <a:pt x="7" y="31"/>
                      <a:pt x="8" y="30"/>
                      <a:pt x="9" y="30"/>
                    </a:cubicBezTo>
                    <a:cubicBezTo>
                      <a:pt x="16" y="23"/>
                      <a:pt x="16" y="23"/>
                      <a:pt x="16" y="23"/>
                    </a:cubicBezTo>
                    <a:cubicBezTo>
                      <a:pt x="23" y="30"/>
                      <a:pt x="23" y="30"/>
                      <a:pt x="23" y="30"/>
                    </a:cubicBezTo>
                    <a:cubicBezTo>
                      <a:pt x="24" y="30"/>
                      <a:pt x="25" y="31"/>
                      <a:pt x="26" y="31"/>
                    </a:cubicBezTo>
                    <a:cubicBezTo>
                      <a:pt x="27" y="31"/>
                      <a:pt x="29" y="30"/>
                      <a:pt x="29" y="30"/>
                    </a:cubicBezTo>
                    <a:cubicBezTo>
                      <a:pt x="31" y="28"/>
                      <a:pt x="31" y="25"/>
                      <a:pt x="29" y="23"/>
                    </a:cubicBezTo>
                    <a:cubicBezTo>
                      <a:pt x="23" y="16"/>
                      <a:pt x="23" y="16"/>
                      <a:pt x="23"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8" name="Freeform 70">
                <a:extLst>
                  <a:ext uri="{FF2B5EF4-FFF2-40B4-BE49-F238E27FC236}">
                    <a16:creationId xmlns:a16="http://schemas.microsoft.com/office/drawing/2014/main" id="{EA1FBCC4-9C81-CF49-AB5B-871833851D1B}"/>
                  </a:ext>
                </a:extLst>
              </p:cNvPr>
              <p:cNvSpPr>
                <a:spLocks noEditPoints="1"/>
              </p:cNvSpPr>
              <p:nvPr/>
            </p:nvSpPr>
            <p:spPr bwMode="auto">
              <a:xfrm>
                <a:off x="1631950" y="5456238"/>
                <a:ext cx="74612" cy="71438"/>
              </a:xfrm>
              <a:custGeom>
                <a:avLst/>
                <a:gdLst>
                  <a:gd name="T0" fmla="*/ 25 w 30"/>
                  <a:gd name="T1" fmla="*/ 0 h 29"/>
                  <a:gd name="T2" fmla="*/ 4 w 30"/>
                  <a:gd name="T3" fmla="*/ 0 h 29"/>
                  <a:gd name="T4" fmla="*/ 0 w 30"/>
                  <a:gd name="T5" fmla="*/ 5 h 29"/>
                  <a:gd name="T6" fmla="*/ 0 w 30"/>
                  <a:gd name="T7" fmla="*/ 24 h 29"/>
                  <a:gd name="T8" fmla="*/ 4 w 30"/>
                  <a:gd name="T9" fmla="*/ 29 h 29"/>
                  <a:gd name="T10" fmla="*/ 25 w 30"/>
                  <a:gd name="T11" fmla="*/ 29 h 29"/>
                  <a:gd name="T12" fmla="*/ 30 w 30"/>
                  <a:gd name="T13" fmla="*/ 24 h 29"/>
                  <a:gd name="T14" fmla="*/ 30 w 30"/>
                  <a:gd name="T15" fmla="*/ 5 h 29"/>
                  <a:gd name="T16" fmla="*/ 25 w 30"/>
                  <a:gd name="T17" fmla="*/ 0 h 29"/>
                  <a:gd name="T18" fmla="*/ 21 w 30"/>
                  <a:gd name="T19" fmla="*/ 19 h 29"/>
                  <a:gd name="T20" fmla="*/ 9 w 30"/>
                  <a:gd name="T21" fmla="*/ 19 h 29"/>
                  <a:gd name="T22" fmla="*/ 9 w 30"/>
                  <a:gd name="T23" fmla="*/ 9 h 29"/>
                  <a:gd name="T24" fmla="*/ 21 w 30"/>
                  <a:gd name="T25" fmla="*/ 9 h 29"/>
                  <a:gd name="T26" fmla="*/ 21 w 30"/>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9">
                    <a:moveTo>
                      <a:pt x="25" y="0"/>
                    </a:moveTo>
                    <a:cubicBezTo>
                      <a:pt x="4" y="0"/>
                      <a:pt x="4" y="0"/>
                      <a:pt x="4" y="0"/>
                    </a:cubicBezTo>
                    <a:cubicBezTo>
                      <a:pt x="2" y="0"/>
                      <a:pt x="0" y="2"/>
                      <a:pt x="0" y="5"/>
                    </a:cubicBezTo>
                    <a:cubicBezTo>
                      <a:pt x="0" y="24"/>
                      <a:pt x="0" y="24"/>
                      <a:pt x="0" y="24"/>
                    </a:cubicBezTo>
                    <a:cubicBezTo>
                      <a:pt x="0" y="27"/>
                      <a:pt x="2" y="29"/>
                      <a:pt x="4" y="29"/>
                    </a:cubicBezTo>
                    <a:cubicBezTo>
                      <a:pt x="25" y="29"/>
                      <a:pt x="25" y="29"/>
                      <a:pt x="25" y="29"/>
                    </a:cubicBezTo>
                    <a:cubicBezTo>
                      <a:pt x="28" y="29"/>
                      <a:pt x="30" y="27"/>
                      <a:pt x="30" y="24"/>
                    </a:cubicBezTo>
                    <a:cubicBezTo>
                      <a:pt x="30" y="5"/>
                      <a:pt x="30" y="5"/>
                      <a:pt x="30" y="5"/>
                    </a:cubicBezTo>
                    <a:cubicBezTo>
                      <a:pt x="30" y="2"/>
                      <a:pt x="28" y="0"/>
                      <a:pt x="25"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sp>
        <p:nvSpPr>
          <p:cNvPr id="150" name="Rectangle 149">
            <a:extLst>
              <a:ext uri="{FF2B5EF4-FFF2-40B4-BE49-F238E27FC236}">
                <a16:creationId xmlns:a16="http://schemas.microsoft.com/office/drawing/2014/main" id="{B437FECE-073C-D748-B6B9-8994CAEF2DD1}"/>
              </a:ext>
            </a:extLst>
          </p:cNvPr>
          <p:cNvSpPr/>
          <p:nvPr/>
        </p:nvSpPr>
        <p:spPr>
          <a:xfrm>
            <a:off x="5107386" y="5891368"/>
            <a:ext cx="914400" cy="273455"/>
          </a:xfrm>
          <a:prstGeom prst="rect">
            <a:avLst/>
          </a:prstGeom>
          <a:solidFill>
            <a:schemeClr val="bg1"/>
          </a:solidFill>
          <a:ln w="12700" algn="ctr">
            <a:solidFill>
              <a:schemeClr val="accent1"/>
            </a:solidFill>
            <a:miter lim="800000"/>
            <a:headEnd type="none" w="sm" len="sm"/>
            <a:tailEnd type="none" w="sm" len="sm"/>
          </a:ln>
        </p:spPr>
        <p:txBody>
          <a:bodyPr wrap="square" lIns="0" tIns="0" rIns="0" bIns="0" anchor="ctr"/>
          <a:lstStyle/>
          <a:p>
            <a:pPr algn="ctr"/>
            <a:r>
              <a:rPr lang="en-US" sz="850"/>
              <a:t>Governance</a:t>
            </a:r>
          </a:p>
        </p:txBody>
      </p:sp>
      <p:sp>
        <p:nvSpPr>
          <p:cNvPr id="151" name="Rectangle 150">
            <a:extLst>
              <a:ext uri="{FF2B5EF4-FFF2-40B4-BE49-F238E27FC236}">
                <a16:creationId xmlns:a16="http://schemas.microsoft.com/office/drawing/2014/main" id="{40FFBCA8-7A96-2B47-B6CD-FF3D28CF322C}"/>
              </a:ext>
            </a:extLst>
          </p:cNvPr>
          <p:cNvSpPr/>
          <p:nvPr/>
        </p:nvSpPr>
        <p:spPr>
          <a:xfrm>
            <a:off x="6129677" y="5889967"/>
            <a:ext cx="914400" cy="276257"/>
          </a:xfrm>
          <a:prstGeom prst="rect">
            <a:avLst/>
          </a:prstGeom>
          <a:solidFill>
            <a:schemeClr val="bg1"/>
          </a:solidFill>
          <a:ln w="12700" algn="ctr">
            <a:solidFill>
              <a:schemeClr val="accent1"/>
            </a:solidFill>
            <a:miter lim="800000"/>
            <a:headEnd type="none" w="sm" len="sm"/>
            <a:tailEnd type="none" w="sm" len="sm"/>
          </a:ln>
        </p:spPr>
        <p:txBody>
          <a:bodyPr wrap="square" lIns="0" tIns="0" rIns="0" bIns="0" anchor="ctr"/>
          <a:lstStyle/>
          <a:p>
            <a:pPr algn="ctr"/>
            <a:r>
              <a:rPr lang="en-US" sz="850"/>
              <a:t>Security</a:t>
            </a:r>
          </a:p>
        </p:txBody>
      </p:sp>
      <p:sp>
        <p:nvSpPr>
          <p:cNvPr id="152" name="Left Brace 151">
            <a:extLst>
              <a:ext uri="{FF2B5EF4-FFF2-40B4-BE49-F238E27FC236}">
                <a16:creationId xmlns:a16="http://schemas.microsoft.com/office/drawing/2014/main" id="{0EC8852B-D3F8-B64E-941F-38A119C2014D}"/>
              </a:ext>
            </a:extLst>
          </p:cNvPr>
          <p:cNvSpPr/>
          <p:nvPr/>
        </p:nvSpPr>
        <p:spPr>
          <a:xfrm rot="16200000" flipV="1">
            <a:off x="5960673" y="3003483"/>
            <a:ext cx="216184" cy="5412579"/>
          </a:xfrm>
          <a:prstGeom prst="leftBrace">
            <a:avLst>
              <a:gd name="adj1" fmla="val 0"/>
              <a:gd name="adj2" fmla="val 50000"/>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a:t>﻿﻿</a:t>
            </a:r>
          </a:p>
        </p:txBody>
      </p:sp>
      <p:grpSp>
        <p:nvGrpSpPr>
          <p:cNvPr id="153" name="Group 152">
            <a:extLst>
              <a:ext uri="{FF2B5EF4-FFF2-40B4-BE49-F238E27FC236}">
                <a16:creationId xmlns:a16="http://schemas.microsoft.com/office/drawing/2014/main" id="{5A8D54B3-9639-7C42-9F54-951D2204788C}"/>
              </a:ext>
            </a:extLst>
          </p:cNvPr>
          <p:cNvGrpSpPr/>
          <p:nvPr/>
        </p:nvGrpSpPr>
        <p:grpSpPr>
          <a:xfrm>
            <a:off x="7063434" y="5858700"/>
            <a:ext cx="2162308" cy="798359"/>
            <a:chOff x="7213596" y="5272459"/>
            <a:chExt cx="2162308" cy="798359"/>
          </a:xfrm>
        </p:grpSpPr>
        <p:sp>
          <p:nvSpPr>
            <p:cNvPr id="154" name="TextBox 153">
              <a:extLst>
                <a:ext uri="{FF2B5EF4-FFF2-40B4-BE49-F238E27FC236}">
                  <a16:creationId xmlns:a16="http://schemas.microsoft.com/office/drawing/2014/main" id="{6476AF26-22A1-D44D-B743-67FA281E5A77}"/>
                </a:ext>
              </a:extLst>
            </p:cNvPr>
            <p:cNvSpPr txBox="1"/>
            <p:nvPr/>
          </p:nvSpPr>
          <p:spPr>
            <a:xfrm>
              <a:off x="7213596" y="5272459"/>
              <a:ext cx="2162308" cy="26353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Governance, Security Hardening</a:t>
              </a:r>
            </a:p>
          </p:txBody>
        </p:sp>
        <p:sp>
          <p:nvSpPr>
            <p:cNvPr id="155" name="TextBox 154">
              <a:extLst>
                <a:ext uri="{FF2B5EF4-FFF2-40B4-BE49-F238E27FC236}">
                  <a16:creationId xmlns:a16="http://schemas.microsoft.com/office/drawing/2014/main" id="{E8842245-9E96-4942-AD3F-F15C31A08794}"/>
                </a:ext>
              </a:extLst>
            </p:cNvPr>
            <p:cNvSpPr txBox="1"/>
            <p:nvPr/>
          </p:nvSpPr>
          <p:spPr>
            <a:xfrm>
              <a:off x="7302130" y="5457298"/>
              <a:ext cx="1985240"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Enterprise ready security and governance for data storage, usage, and compliance.</a:t>
              </a:r>
            </a:p>
          </p:txBody>
        </p:sp>
      </p:grpSp>
      <p:cxnSp>
        <p:nvCxnSpPr>
          <p:cNvPr id="118" name="Straight Connector 74">
            <a:extLst>
              <a:ext uri="{FF2B5EF4-FFF2-40B4-BE49-F238E27FC236}">
                <a16:creationId xmlns:a16="http://schemas.microsoft.com/office/drawing/2014/main" id="{0FE8ED28-68C7-1345-AACB-DA8E4507B406}"/>
              </a:ext>
            </a:extLst>
          </p:cNvPr>
          <p:cNvCxnSpPr>
            <a:cxnSpLocks/>
          </p:cNvCxnSpPr>
          <p:nvPr/>
        </p:nvCxnSpPr>
        <p:spPr>
          <a:xfrm>
            <a:off x="6633043" y="4522154"/>
            <a:ext cx="938431" cy="12700"/>
          </a:xfrm>
          <a:prstGeom prst="bentConnector3">
            <a:avLst>
              <a:gd name="adj1" fmla="val 50000"/>
            </a:avLst>
          </a:prstGeom>
          <a:noFill/>
          <a:ln w="22225" cmpd="sng">
            <a:solidFill>
              <a:srgbClr val="D6D6D6"/>
            </a:solidFill>
            <a:tailEnd type="triangle"/>
          </a:ln>
          <a:effectLst/>
        </p:spPr>
      </p:cxnSp>
      <p:sp>
        <p:nvSpPr>
          <p:cNvPr id="157" name="TextBox 156">
            <a:extLst>
              <a:ext uri="{FF2B5EF4-FFF2-40B4-BE49-F238E27FC236}">
                <a16:creationId xmlns:a16="http://schemas.microsoft.com/office/drawing/2014/main" id="{4AF849C0-4D67-0D40-8F9A-046F645AD847}"/>
              </a:ext>
            </a:extLst>
          </p:cNvPr>
          <p:cNvSpPr txBox="1"/>
          <p:nvPr/>
        </p:nvSpPr>
        <p:spPr>
          <a:xfrm>
            <a:off x="2590956" y="1878519"/>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C00000"/>
                </a:solidFill>
                <a:latin typeface="+mn-lt"/>
              </a:rPr>
              <a:t>EDAV</a:t>
            </a:r>
          </a:p>
        </p:txBody>
      </p:sp>
      <p:sp>
        <p:nvSpPr>
          <p:cNvPr id="160" name="TextBox 159">
            <a:extLst>
              <a:ext uri="{FF2B5EF4-FFF2-40B4-BE49-F238E27FC236}">
                <a16:creationId xmlns:a16="http://schemas.microsoft.com/office/drawing/2014/main" id="{F4C50FA6-CAEF-6A45-A73D-6A52596D0E72}"/>
              </a:ext>
            </a:extLst>
          </p:cNvPr>
          <p:cNvSpPr txBox="1"/>
          <p:nvPr/>
        </p:nvSpPr>
        <p:spPr>
          <a:xfrm>
            <a:off x="8264383" y="3104320"/>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0070C0"/>
                </a:solidFill>
                <a:latin typeface="+mn-lt"/>
              </a:rPr>
              <a:t>ECPaaS</a:t>
            </a:r>
          </a:p>
        </p:txBody>
      </p:sp>
    </p:spTree>
    <p:extLst>
      <p:ext uri="{BB962C8B-B14F-4D97-AF65-F5344CB8AC3E}">
        <p14:creationId xmlns:p14="http://schemas.microsoft.com/office/powerpoint/2010/main" val="2523633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a:extLst>
              <a:ext uri="{FF2B5EF4-FFF2-40B4-BE49-F238E27FC236}">
                <a16:creationId xmlns:a16="http://schemas.microsoft.com/office/drawing/2014/main" id="{73A2C1FB-29AB-334D-AF26-90E302245B20}"/>
              </a:ext>
            </a:extLst>
          </p:cNvPr>
          <p:cNvSpPr/>
          <p:nvPr/>
        </p:nvSpPr>
        <p:spPr>
          <a:xfrm>
            <a:off x="7401092" y="3055252"/>
            <a:ext cx="1425514" cy="1115935"/>
          </a:xfrm>
          <a:prstGeom prst="rect">
            <a:avLst/>
          </a:prstGeom>
          <a:ln w="28575">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0070C0"/>
              </a:solidFill>
            </a:endParaRPr>
          </a:p>
        </p:txBody>
      </p:sp>
      <p:sp>
        <p:nvSpPr>
          <p:cNvPr id="119" name="Rectangle 118">
            <a:extLst>
              <a:ext uri="{FF2B5EF4-FFF2-40B4-BE49-F238E27FC236}">
                <a16:creationId xmlns:a16="http://schemas.microsoft.com/office/drawing/2014/main" id="{3E976D16-CF3F-4F42-8C28-854F0E1BF427}"/>
              </a:ext>
            </a:extLst>
          </p:cNvPr>
          <p:cNvSpPr/>
          <p:nvPr/>
        </p:nvSpPr>
        <p:spPr>
          <a:xfrm>
            <a:off x="7405108" y="4234632"/>
            <a:ext cx="1430321" cy="1115935"/>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BF644C12-42B7-0045-9345-AADF56401F20}"/>
              </a:ext>
            </a:extLst>
          </p:cNvPr>
          <p:cNvSpPr/>
          <p:nvPr/>
        </p:nvSpPr>
        <p:spPr>
          <a:xfrm>
            <a:off x="3170583" y="1678582"/>
            <a:ext cx="3981385" cy="3671985"/>
          </a:xfrm>
          <a:prstGeom prst="rect">
            <a:avLst/>
          </a:prstGeom>
          <a:ln w="28575">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E4576F96-D6BB-DD40-AD3C-8C50B0DFF80B}"/>
              </a:ext>
            </a:extLst>
          </p:cNvPr>
          <p:cNvSpPr>
            <a:spLocks noGrp="1"/>
          </p:cNvSpPr>
          <p:nvPr>
            <p:ph type="title"/>
          </p:nvPr>
        </p:nvSpPr>
        <p:spPr/>
        <p:txBody>
          <a:bodyPr/>
          <a:lstStyle/>
          <a:p>
            <a:r>
              <a:rPr lang="en-US" sz="3600"/>
              <a:t>Future State: Phase 2</a:t>
            </a:r>
          </a:p>
        </p:txBody>
      </p:sp>
      <p:sp>
        <p:nvSpPr>
          <p:cNvPr id="4" name="Text Placeholder 3">
            <a:extLst>
              <a:ext uri="{FF2B5EF4-FFF2-40B4-BE49-F238E27FC236}">
                <a16:creationId xmlns:a16="http://schemas.microsoft.com/office/drawing/2014/main" id="{3C859B21-3D68-FF40-BEEF-C399A4528C43}"/>
              </a:ext>
            </a:extLst>
          </p:cNvPr>
          <p:cNvSpPr>
            <a:spLocks noGrp="1"/>
          </p:cNvSpPr>
          <p:nvPr>
            <p:ph type="body" sz="quarter" idx="15"/>
          </p:nvPr>
        </p:nvSpPr>
        <p:spPr/>
        <p:txBody>
          <a:bodyPr/>
          <a:lstStyle/>
          <a:p>
            <a:r>
              <a:rPr lang="en-US"/>
              <a:t>Key Goals</a:t>
            </a:r>
          </a:p>
        </p:txBody>
      </p:sp>
      <p:sp>
        <p:nvSpPr>
          <p:cNvPr id="27" name="Rectangle 26">
            <a:extLst>
              <a:ext uri="{FF2B5EF4-FFF2-40B4-BE49-F238E27FC236}">
                <a16:creationId xmlns:a16="http://schemas.microsoft.com/office/drawing/2014/main" id="{E49F03CE-6668-424E-9DE7-E6EC9AD65113}"/>
              </a:ext>
            </a:extLst>
          </p:cNvPr>
          <p:cNvSpPr/>
          <p:nvPr/>
        </p:nvSpPr>
        <p:spPr>
          <a:xfrm>
            <a:off x="3617746" y="4281404"/>
            <a:ext cx="1000752" cy="462977"/>
          </a:xfrm>
          <a:prstGeom prst="rect">
            <a:avLst/>
          </a:prstGeom>
          <a:noFill/>
          <a:ln w="6350" algn="ctr">
            <a:noFill/>
            <a:miter lim="800000"/>
            <a:headEnd type="none" w="sm" len="sm"/>
            <a:tailEnd type="none" w="sm" len="sm"/>
          </a:ln>
        </p:spPr>
        <p:txBody>
          <a:bodyPr wrap="square" lIns="0" tIns="0" rIns="0" bIns="0" anchor="ctr"/>
          <a:lstStyle/>
          <a:p>
            <a:pPr algn="ctr"/>
            <a:r>
              <a:rPr lang="en-US" sz="850"/>
              <a:t>Azure Data Factory</a:t>
            </a:r>
          </a:p>
        </p:txBody>
      </p:sp>
      <p:cxnSp>
        <p:nvCxnSpPr>
          <p:cNvPr id="28" name="Straight Connector 74">
            <a:extLst>
              <a:ext uri="{FF2B5EF4-FFF2-40B4-BE49-F238E27FC236}">
                <a16:creationId xmlns:a16="http://schemas.microsoft.com/office/drawing/2014/main" id="{E7D73830-D2AD-C343-9B41-8874A84525A6}"/>
              </a:ext>
            </a:extLst>
          </p:cNvPr>
          <p:cNvCxnSpPr>
            <a:cxnSpLocks/>
          </p:cNvCxnSpPr>
          <p:nvPr/>
        </p:nvCxnSpPr>
        <p:spPr>
          <a:xfrm flipV="1">
            <a:off x="2280038" y="3999818"/>
            <a:ext cx="1456571" cy="10353"/>
          </a:xfrm>
          <a:prstGeom prst="bentConnector3">
            <a:avLst>
              <a:gd name="adj1" fmla="val 50000"/>
            </a:avLst>
          </a:prstGeom>
          <a:noFill/>
          <a:ln w="22225" cmpd="sng">
            <a:solidFill>
              <a:srgbClr val="D6D6D6"/>
            </a:solidFill>
            <a:tailEnd type="triangle"/>
          </a:ln>
          <a:effectLst/>
        </p:spPr>
      </p:cxnSp>
      <p:cxnSp>
        <p:nvCxnSpPr>
          <p:cNvPr id="29" name="Straight Connector 74">
            <a:extLst>
              <a:ext uri="{FF2B5EF4-FFF2-40B4-BE49-F238E27FC236}">
                <a16:creationId xmlns:a16="http://schemas.microsoft.com/office/drawing/2014/main" id="{90ADB5BA-6AAD-9744-88E1-798097B04CE6}"/>
              </a:ext>
            </a:extLst>
          </p:cNvPr>
          <p:cNvCxnSpPr>
            <a:cxnSpLocks/>
          </p:cNvCxnSpPr>
          <p:nvPr/>
        </p:nvCxnSpPr>
        <p:spPr>
          <a:xfrm flipV="1">
            <a:off x="2299917" y="3997437"/>
            <a:ext cx="1438308" cy="884585"/>
          </a:xfrm>
          <a:prstGeom prst="bentConnector3">
            <a:avLst>
              <a:gd name="adj1" fmla="val 50000"/>
            </a:avLst>
          </a:prstGeom>
          <a:noFill/>
          <a:ln w="22225" cmpd="sng">
            <a:solidFill>
              <a:srgbClr val="D6D6D6"/>
            </a:solidFill>
            <a:tailEnd type="triangle"/>
          </a:ln>
          <a:effectLst/>
        </p:spPr>
      </p:cxnSp>
      <p:cxnSp>
        <p:nvCxnSpPr>
          <p:cNvPr id="30" name="Straight Connector 74">
            <a:extLst>
              <a:ext uri="{FF2B5EF4-FFF2-40B4-BE49-F238E27FC236}">
                <a16:creationId xmlns:a16="http://schemas.microsoft.com/office/drawing/2014/main" id="{CCA99453-FC98-F64B-8812-86DF19D25B23}"/>
              </a:ext>
            </a:extLst>
          </p:cNvPr>
          <p:cNvCxnSpPr>
            <a:cxnSpLocks/>
          </p:cNvCxnSpPr>
          <p:nvPr/>
        </p:nvCxnSpPr>
        <p:spPr>
          <a:xfrm>
            <a:off x="4368507" y="3996977"/>
            <a:ext cx="1352744" cy="564367"/>
          </a:xfrm>
          <a:prstGeom prst="bentConnector3">
            <a:avLst>
              <a:gd name="adj1" fmla="val 50000"/>
            </a:avLst>
          </a:prstGeom>
          <a:noFill/>
          <a:ln w="22225" cmpd="sng">
            <a:solidFill>
              <a:srgbClr val="D6D6D6"/>
            </a:solidFill>
            <a:tailEnd type="triangle"/>
          </a:ln>
          <a:effectLst/>
        </p:spPr>
      </p:cxnSp>
      <p:sp>
        <p:nvSpPr>
          <p:cNvPr id="31" name="Rectangle 30">
            <a:extLst>
              <a:ext uri="{FF2B5EF4-FFF2-40B4-BE49-F238E27FC236}">
                <a16:creationId xmlns:a16="http://schemas.microsoft.com/office/drawing/2014/main" id="{7A70AED6-ECE1-BC4F-998E-84AC3554F47A}"/>
              </a:ext>
            </a:extLst>
          </p:cNvPr>
          <p:cNvSpPr/>
          <p:nvPr/>
        </p:nvSpPr>
        <p:spPr>
          <a:xfrm>
            <a:off x="1511323" y="4250627"/>
            <a:ext cx="914400" cy="170603"/>
          </a:xfrm>
          <a:prstGeom prst="rect">
            <a:avLst/>
          </a:prstGeom>
          <a:noFill/>
          <a:ln w="6350" algn="ctr">
            <a:noFill/>
            <a:miter lim="800000"/>
            <a:headEnd type="none" w="sm" len="sm"/>
            <a:tailEnd type="none" w="sm" len="sm"/>
          </a:ln>
        </p:spPr>
        <p:txBody>
          <a:bodyPr wrap="square" lIns="0" tIns="0" rIns="0" bIns="0" anchor="ctr"/>
          <a:lstStyle/>
          <a:p>
            <a:pPr algn="ctr"/>
            <a:r>
              <a:rPr lang="en-US" sz="850"/>
              <a:t>Provider APIs</a:t>
            </a:r>
          </a:p>
        </p:txBody>
      </p:sp>
      <p:sp>
        <p:nvSpPr>
          <p:cNvPr id="32" name="Rectangle 31">
            <a:extLst>
              <a:ext uri="{FF2B5EF4-FFF2-40B4-BE49-F238E27FC236}">
                <a16:creationId xmlns:a16="http://schemas.microsoft.com/office/drawing/2014/main" id="{7C6E2905-E8DA-B34B-8CBD-B671DDCA5FAD}"/>
              </a:ext>
            </a:extLst>
          </p:cNvPr>
          <p:cNvSpPr/>
          <p:nvPr/>
        </p:nvSpPr>
        <p:spPr>
          <a:xfrm>
            <a:off x="1513115" y="5195380"/>
            <a:ext cx="914400" cy="155187"/>
          </a:xfrm>
          <a:prstGeom prst="rect">
            <a:avLst/>
          </a:prstGeom>
          <a:noFill/>
          <a:ln w="6350" algn="ctr">
            <a:noFill/>
            <a:miter lim="800000"/>
            <a:headEnd type="none" w="sm" len="sm"/>
            <a:tailEnd type="none" w="sm" len="sm"/>
          </a:ln>
        </p:spPr>
        <p:txBody>
          <a:bodyPr wrap="square" lIns="0" tIns="0" rIns="0" bIns="0" anchor="ctr"/>
          <a:lstStyle/>
          <a:p>
            <a:pPr algn="ctr"/>
            <a:r>
              <a:rPr lang="en-US" sz="850"/>
              <a:t>Batch</a:t>
            </a:r>
          </a:p>
        </p:txBody>
      </p:sp>
      <p:sp>
        <p:nvSpPr>
          <p:cNvPr id="33" name="Rectangle 32">
            <a:extLst>
              <a:ext uri="{FF2B5EF4-FFF2-40B4-BE49-F238E27FC236}">
                <a16:creationId xmlns:a16="http://schemas.microsoft.com/office/drawing/2014/main" id="{C0EFB6F1-DFB5-EE47-B2A0-6845C7A6923B}"/>
              </a:ext>
            </a:extLst>
          </p:cNvPr>
          <p:cNvSpPr/>
          <p:nvPr/>
        </p:nvSpPr>
        <p:spPr>
          <a:xfrm>
            <a:off x="1506815" y="3382049"/>
            <a:ext cx="914400" cy="184677"/>
          </a:xfrm>
          <a:prstGeom prst="rect">
            <a:avLst/>
          </a:prstGeom>
          <a:noFill/>
          <a:ln w="6350" algn="ctr">
            <a:noFill/>
            <a:miter lim="800000"/>
            <a:headEnd type="none" w="sm" len="sm"/>
            <a:tailEnd type="none" w="sm" len="sm"/>
          </a:ln>
        </p:spPr>
        <p:txBody>
          <a:bodyPr wrap="square" lIns="0" tIns="0" rIns="0" bIns="0" anchor="ctr"/>
          <a:lstStyle/>
          <a:p>
            <a:pPr algn="ctr"/>
            <a:r>
              <a:rPr lang="en-US" sz="850"/>
              <a:t>Stream Data</a:t>
            </a:r>
          </a:p>
        </p:txBody>
      </p:sp>
      <p:sp>
        <p:nvSpPr>
          <p:cNvPr id="34" name="Rectangle 33">
            <a:extLst>
              <a:ext uri="{FF2B5EF4-FFF2-40B4-BE49-F238E27FC236}">
                <a16:creationId xmlns:a16="http://schemas.microsoft.com/office/drawing/2014/main" id="{FBC804E9-8A3A-7F4E-B5A9-5332205D75C2}"/>
              </a:ext>
            </a:extLst>
          </p:cNvPr>
          <p:cNvSpPr/>
          <p:nvPr/>
        </p:nvSpPr>
        <p:spPr>
          <a:xfrm>
            <a:off x="5578633" y="4837100"/>
            <a:ext cx="914400" cy="176109"/>
          </a:xfrm>
          <a:prstGeom prst="rect">
            <a:avLst/>
          </a:prstGeom>
          <a:noFill/>
          <a:ln w="6350" algn="ctr">
            <a:noFill/>
            <a:miter lim="800000"/>
            <a:headEnd type="none" w="sm" len="sm"/>
            <a:tailEnd type="none" w="sm" len="sm"/>
          </a:ln>
        </p:spPr>
        <p:txBody>
          <a:bodyPr wrap="square" lIns="0" tIns="0" rIns="0" bIns="0" anchor="ctr"/>
          <a:lstStyle/>
          <a:p>
            <a:pPr algn="ctr"/>
            <a:r>
              <a:rPr lang="en-US" sz="850"/>
              <a:t>Azure Lake Gen Data2</a:t>
            </a:r>
          </a:p>
        </p:txBody>
      </p:sp>
      <p:sp>
        <p:nvSpPr>
          <p:cNvPr id="35" name="Rectangle 34">
            <a:extLst>
              <a:ext uri="{FF2B5EF4-FFF2-40B4-BE49-F238E27FC236}">
                <a16:creationId xmlns:a16="http://schemas.microsoft.com/office/drawing/2014/main" id="{18F1E03E-8F87-0942-A540-F5199939F3BB}"/>
              </a:ext>
            </a:extLst>
          </p:cNvPr>
          <p:cNvSpPr/>
          <p:nvPr/>
        </p:nvSpPr>
        <p:spPr>
          <a:xfrm>
            <a:off x="5594267" y="3896459"/>
            <a:ext cx="914400" cy="201307"/>
          </a:xfrm>
          <a:prstGeom prst="rect">
            <a:avLst/>
          </a:prstGeom>
          <a:noFill/>
          <a:ln w="6350" algn="ctr">
            <a:noFill/>
            <a:miter lim="800000"/>
            <a:headEnd type="none" w="sm" len="sm"/>
            <a:tailEnd type="none" w="sm" len="sm"/>
          </a:ln>
        </p:spPr>
        <p:txBody>
          <a:bodyPr wrap="square" lIns="0" tIns="0" rIns="0" bIns="0" anchor="ctr"/>
          <a:lstStyle/>
          <a:p>
            <a:pPr algn="ctr"/>
            <a:r>
              <a:rPr lang="en-US" sz="850"/>
              <a:t>Azure SQL Postgres</a:t>
            </a:r>
          </a:p>
        </p:txBody>
      </p:sp>
      <p:cxnSp>
        <p:nvCxnSpPr>
          <p:cNvPr id="37" name="Straight Connector 74">
            <a:extLst>
              <a:ext uri="{FF2B5EF4-FFF2-40B4-BE49-F238E27FC236}">
                <a16:creationId xmlns:a16="http://schemas.microsoft.com/office/drawing/2014/main" id="{2E9C1E03-089B-F94B-B6E9-99314F21BEBB}"/>
              </a:ext>
            </a:extLst>
          </p:cNvPr>
          <p:cNvCxnSpPr>
            <a:cxnSpLocks/>
          </p:cNvCxnSpPr>
          <p:nvPr/>
        </p:nvCxnSpPr>
        <p:spPr>
          <a:xfrm flipV="1">
            <a:off x="4368507" y="3607758"/>
            <a:ext cx="1348630" cy="389219"/>
          </a:xfrm>
          <a:prstGeom prst="bentConnector3">
            <a:avLst>
              <a:gd name="adj1" fmla="val 50000"/>
            </a:avLst>
          </a:prstGeom>
          <a:noFill/>
          <a:ln w="22225" cmpd="sng">
            <a:solidFill>
              <a:srgbClr val="D6D6D6"/>
            </a:solidFill>
            <a:tailEnd type="triangle"/>
          </a:ln>
          <a:effectLst/>
        </p:spPr>
      </p:cxnSp>
      <p:cxnSp>
        <p:nvCxnSpPr>
          <p:cNvPr id="38" name="Straight Connector 74">
            <a:extLst>
              <a:ext uri="{FF2B5EF4-FFF2-40B4-BE49-F238E27FC236}">
                <a16:creationId xmlns:a16="http://schemas.microsoft.com/office/drawing/2014/main" id="{A52ECCEE-C5F9-7849-A7ED-BF419FAF0937}"/>
              </a:ext>
            </a:extLst>
          </p:cNvPr>
          <p:cNvCxnSpPr>
            <a:cxnSpLocks/>
          </p:cNvCxnSpPr>
          <p:nvPr/>
        </p:nvCxnSpPr>
        <p:spPr>
          <a:xfrm>
            <a:off x="2280286" y="3087726"/>
            <a:ext cx="1456323" cy="909251"/>
          </a:xfrm>
          <a:prstGeom prst="bentConnector3">
            <a:avLst>
              <a:gd name="adj1" fmla="val 50000"/>
            </a:avLst>
          </a:prstGeom>
          <a:noFill/>
          <a:ln w="22225" cmpd="sng">
            <a:solidFill>
              <a:srgbClr val="D6D6D6"/>
            </a:solidFill>
            <a:tailEnd type="triangle"/>
          </a:ln>
          <a:effectLst/>
        </p:spPr>
      </p:cxnSp>
      <p:sp>
        <p:nvSpPr>
          <p:cNvPr id="39" name="Rectangle 38">
            <a:extLst>
              <a:ext uri="{FF2B5EF4-FFF2-40B4-BE49-F238E27FC236}">
                <a16:creationId xmlns:a16="http://schemas.microsoft.com/office/drawing/2014/main" id="{B5BB4F0D-D387-3340-BDD7-443EAA32B857}"/>
              </a:ext>
            </a:extLst>
          </p:cNvPr>
          <p:cNvSpPr/>
          <p:nvPr/>
        </p:nvSpPr>
        <p:spPr>
          <a:xfrm>
            <a:off x="7629934" y="4903963"/>
            <a:ext cx="914400" cy="316441"/>
          </a:xfrm>
          <a:prstGeom prst="rect">
            <a:avLst/>
          </a:prstGeom>
          <a:noFill/>
          <a:ln w="6350" algn="ctr">
            <a:noFill/>
            <a:miter lim="800000"/>
            <a:headEnd type="none" w="sm" len="sm"/>
            <a:tailEnd type="none" w="sm" len="sm"/>
          </a:ln>
        </p:spPr>
        <p:txBody>
          <a:bodyPr wrap="square" lIns="0" tIns="0" rIns="0" bIns="0" anchor="ctr"/>
          <a:lstStyle/>
          <a:p>
            <a:pPr algn="ctr"/>
            <a:r>
              <a:rPr lang="en-US" sz="850"/>
              <a:t>Data Insight Platform Tableau / Power BI</a:t>
            </a:r>
          </a:p>
        </p:txBody>
      </p:sp>
      <p:cxnSp>
        <p:nvCxnSpPr>
          <p:cNvPr id="40" name="Straight Connector 74">
            <a:extLst>
              <a:ext uri="{FF2B5EF4-FFF2-40B4-BE49-F238E27FC236}">
                <a16:creationId xmlns:a16="http://schemas.microsoft.com/office/drawing/2014/main" id="{AE58ACAE-3FFA-6446-ABD8-F1FB5F1A6A87}"/>
              </a:ext>
            </a:extLst>
          </p:cNvPr>
          <p:cNvCxnSpPr>
            <a:cxnSpLocks/>
          </p:cNvCxnSpPr>
          <p:nvPr/>
        </p:nvCxnSpPr>
        <p:spPr>
          <a:xfrm flipV="1">
            <a:off x="6415885" y="3577025"/>
            <a:ext cx="1168405" cy="9262"/>
          </a:xfrm>
          <a:prstGeom prst="bentConnector3">
            <a:avLst>
              <a:gd name="adj1" fmla="val 50000"/>
            </a:avLst>
          </a:prstGeom>
          <a:noFill/>
          <a:ln w="22225" cmpd="sng">
            <a:solidFill>
              <a:srgbClr val="D6D6D6"/>
            </a:solidFill>
            <a:tailEnd type="triangle"/>
          </a:ln>
          <a:effectLst/>
        </p:spPr>
      </p:cxnSp>
      <p:sp>
        <p:nvSpPr>
          <p:cNvPr id="42" name="Rectangle 41">
            <a:extLst>
              <a:ext uri="{FF2B5EF4-FFF2-40B4-BE49-F238E27FC236}">
                <a16:creationId xmlns:a16="http://schemas.microsoft.com/office/drawing/2014/main" id="{E8FB0E9D-0207-FE44-921D-3A04E3ACE183}"/>
              </a:ext>
            </a:extLst>
          </p:cNvPr>
          <p:cNvSpPr/>
          <p:nvPr/>
        </p:nvSpPr>
        <p:spPr>
          <a:xfrm>
            <a:off x="7615097" y="3841830"/>
            <a:ext cx="1159957" cy="389584"/>
          </a:xfrm>
          <a:prstGeom prst="rect">
            <a:avLst/>
          </a:prstGeom>
          <a:noFill/>
          <a:ln w="6350" algn="ctr">
            <a:noFill/>
            <a:miter lim="800000"/>
            <a:headEnd type="none" w="sm" len="sm"/>
            <a:tailEnd type="none" w="sm" len="sm"/>
          </a:ln>
        </p:spPr>
        <p:txBody>
          <a:bodyPr wrap="square" lIns="0" tIns="0" rIns="0" bIns="0" anchor="ctr"/>
          <a:lstStyle/>
          <a:p>
            <a:pPr algn="ctr"/>
            <a:r>
              <a:rPr lang="en-US" sz="850"/>
              <a:t>Data Insight Platform Custom Apps</a:t>
            </a:r>
          </a:p>
        </p:txBody>
      </p:sp>
      <p:cxnSp>
        <p:nvCxnSpPr>
          <p:cNvPr id="44" name="Straight Connector 74">
            <a:extLst>
              <a:ext uri="{FF2B5EF4-FFF2-40B4-BE49-F238E27FC236}">
                <a16:creationId xmlns:a16="http://schemas.microsoft.com/office/drawing/2014/main" id="{7CE34008-E192-7F46-BF25-65E836794896}"/>
              </a:ext>
            </a:extLst>
          </p:cNvPr>
          <p:cNvCxnSpPr>
            <a:cxnSpLocks/>
          </p:cNvCxnSpPr>
          <p:nvPr/>
        </p:nvCxnSpPr>
        <p:spPr>
          <a:xfrm rot="5400000" flipH="1" flipV="1">
            <a:off x="6040618" y="4205727"/>
            <a:ext cx="790890" cy="2671"/>
          </a:xfrm>
          <a:prstGeom prst="bentConnector3">
            <a:avLst>
              <a:gd name="adj1" fmla="val 50000"/>
            </a:avLst>
          </a:prstGeom>
          <a:noFill/>
          <a:ln w="22225" cmpd="sng">
            <a:solidFill>
              <a:srgbClr val="D6D6D6"/>
            </a:solidFill>
            <a:tailEnd type="triangle"/>
          </a:ln>
          <a:effectLst/>
        </p:spPr>
      </p:cxnSp>
      <p:grpSp>
        <p:nvGrpSpPr>
          <p:cNvPr id="48" name="Group 47">
            <a:extLst>
              <a:ext uri="{FF2B5EF4-FFF2-40B4-BE49-F238E27FC236}">
                <a16:creationId xmlns:a16="http://schemas.microsoft.com/office/drawing/2014/main" id="{BAA49E14-2961-DD4E-9D94-526C9BDB2AF9}"/>
              </a:ext>
            </a:extLst>
          </p:cNvPr>
          <p:cNvGrpSpPr/>
          <p:nvPr/>
        </p:nvGrpSpPr>
        <p:grpSpPr>
          <a:xfrm>
            <a:off x="996120" y="1962878"/>
            <a:ext cx="1921323" cy="665787"/>
            <a:chOff x="1030518" y="2007240"/>
            <a:chExt cx="1921323" cy="665787"/>
          </a:xfrm>
        </p:grpSpPr>
        <p:sp>
          <p:nvSpPr>
            <p:cNvPr id="49" name="TextBox 48">
              <a:extLst>
                <a:ext uri="{FF2B5EF4-FFF2-40B4-BE49-F238E27FC236}">
                  <a16:creationId xmlns:a16="http://schemas.microsoft.com/office/drawing/2014/main" id="{2C5DF9E8-0235-DD40-8628-4B68B69D36EC}"/>
                </a:ext>
              </a:extLst>
            </p:cNvPr>
            <p:cNvSpPr txBox="1"/>
            <p:nvPr/>
          </p:nvSpPr>
          <p:spPr>
            <a:xfrm>
              <a:off x="1310410" y="200724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ources</a:t>
              </a:r>
            </a:p>
          </p:txBody>
        </p:sp>
        <p:sp>
          <p:nvSpPr>
            <p:cNvPr id="51" name="TextBox 50">
              <a:extLst>
                <a:ext uri="{FF2B5EF4-FFF2-40B4-BE49-F238E27FC236}">
                  <a16:creationId xmlns:a16="http://schemas.microsoft.com/office/drawing/2014/main" id="{DFDCF980-74DC-7144-ADFB-3CF6AFCD6C5F}"/>
                </a:ext>
              </a:extLst>
            </p:cNvPr>
            <p:cNvSpPr txBox="1"/>
            <p:nvPr/>
          </p:nvSpPr>
          <p:spPr>
            <a:xfrm>
              <a:off x="1030518" y="2186177"/>
              <a:ext cx="1921323"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nstructured, Semi-structured, and Structured data ingested from internal/external sources</a:t>
              </a:r>
            </a:p>
          </p:txBody>
        </p:sp>
      </p:grpSp>
      <p:grpSp>
        <p:nvGrpSpPr>
          <p:cNvPr id="54" name="Group 53">
            <a:extLst>
              <a:ext uri="{FF2B5EF4-FFF2-40B4-BE49-F238E27FC236}">
                <a16:creationId xmlns:a16="http://schemas.microsoft.com/office/drawing/2014/main" id="{AECB0851-EF9D-D248-BAC4-53187CCD9F4C}"/>
              </a:ext>
            </a:extLst>
          </p:cNvPr>
          <p:cNvGrpSpPr/>
          <p:nvPr/>
        </p:nvGrpSpPr>
        <p:grpSpPr>
          <a:xfrm>
            <a:off x="3270714" y="2824605"/>
            <a:ext cx="1508920" cy="713958"/>
            <a:chOff x="3340968" y="2002841"/>
            <a:chExt cx="1508920" cy="713958"/>
          </a:xfrm>
        </p:grpSpPr>
        <p:sp>
          <p:nvSpPr>
            <p:cNvPr id="55" name="TextBox 54">
              <a:extLst>
                <a:ext uri="{FF2B5EF4-FFF2-40B4-BE49-F238E27FC236}">
                  <a16:creationId xmlns:a16="http://schemas.microsoft.com/office/drawing/2014/main" id="{D54FEAF5-7187-FF4B-9E16-FE440C3656F0}"/>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57" name="TextBox 56">
              <a:extLst>
                <a:ext uri="{FF2B5EF4-FFF2-40B4-BE49-F238E27FC236}">
                  <a16:creationId xmlns:a16="http://schemas.microsoft.com/office/drawing/2014/main" id="{83CED75F-2381-E24D-AE85-06D4442D0D5E}"/>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and manage data pipelines and ETL</a:t>
              </a:r>
            </a:p>
          </p:txBody>
        </p:sp>
      </p:grpSp>
      <p:grpSp>
        <p:nvGrpSpPr>
          <p:cNvPr id="58" name="Group 57">
            <a:extLst>
              <a:ext uri="{FF2B5EF4-FFF2-40B4-BE49-F238E27FC236}">
                <a16:creationId xmlns:a16="http://schemas.microsoft.com/office/drawing/2014/main" id="{08F3CE03-3553-D14F-9087-83CA63E5C39C}"/>
              </a:ext>
            </a:extLst>
          </p:cNvPr>
          <p:cNvGrpSpPr/>
          <p:nvPr/>
        </p:nvGrpSpPr>
        <p:grpSpPr>
          <a:xfrm>
            <a:off x="5202176" y="1828799"/>
            <a:ext cx="1756474" cy="751513"/>
            <a:chOff x="5302152" y="1990215"/>
            <a:chExt cx="1756474" cy="751513"/>
          </a:xfrm>
        </p:grpSpPr>
        <p:sp>
          <p:nvSpPr>
            <p:cNvPr id="59" name="TextBox 58">
              <a:extLst>
                <a:ext uri="{FF2B5EF4-FFF2-40B4-BE49-F238E27FC236}">
                  <a16:creationId xmlns:a16="http://schemas.microsoft.com/office/drawing/2014/main" id="{75DAEA0A-19CE-BC45-890C-755D8C94A926}"/>
                </a:ext>
              </a:extLst>
            </p:cNvPr>
            <p:cNvSpPr txBox="1"/>
            <p:nvPr/>
          </p:nvSpPr>
          <p:spPr>
            <a:xfrm>
              <a:off x="5396764" y="1990215"/>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torage</a:t>
              </a:r>
            </a:p>
          </p:txBody>
        </p:sp>
        <p:sp>
          <p:nvSpPr>
            <p:cNvPr id="60" name="TextBox 59">
              <a:extLst>
                <a:ext uri="{FF2B5EF4-FFF2-40B4-BE49-F238E27FC236}">
                  <a16:creationId xmlns:a16="http://schemas.microsoft.com/office/drawing/2014/main" id="{AFF67307-9D25-A648-A6AE-F4AC6B54EFE9}"/>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Highly scalable enterprise data warehouses for data mart or performant analytic usages</a:t>
              </a:r>
            </a:p>
          </p:txBody>
        </p:sp>
      </p:grpSp>
      <p:grpSp>
        <p:nvGrpSpPr>
          <p:cNvPr id="64" name="Group 63">
            <a:extLst>
              <a:ext uri="{FF2B5EF4-FFF2-40B4-BE49-F238E27FC236}">
                <a16:creationId xmlns:a16="http://schemas.microsoft.com/office/drawing/2014/main" id="{387D7E53-35FE-434B-B7E5-7C36F414E999}"/>
              </a:ext>
            </a:extLst>
          </p:cNvPr>
          <p:cNvGrpSpPr/>
          <p:nvPr/>
        </p:nvGrpSpPr>
        <p:grpSpPr>
          <a:xfrm>
            <a:off x="7316735" y="2293706"/>
            <a:ext cx="1761826" cy="728454"/>
            <a:chOff x="9478690" y="2325056"/>
            <a:chExt cx="1761826" cy="728454"/>
          </a:xfrm>
        </p:grpSpPr>
        <p:sp>
          <p:nvSpPr>
            <p:cNvPr id="68" name="TextBox 67">
              <a:extLst>
                <a:ext uri="{FF2B5EF4-FFF2-40B4-BE49-F238E27FC236}">
                  <a16:creationId xmlns:a16="http://schemas.microsoft.com/office/drawing/2014/main" id="{ADE6998C-5CF8-4A4F-BB2E-737B204DE5A4}"/>
                </a:ext>
              </a:extLst>
            </p:cNvPr>
            <p:cNvSpPr txBox="1"/>
            <p:nvPr/>
          </p:nvSpPr>
          <p:spPr>
            <a:xfrm>
              <a:off x="9478690" y="2325056"/>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ystems, Subscribers, Users</a:t>
              </a:r>
            </a:p>
          </p:txBody>
        </p:sp>
        <p:sp>
          <p:nvSpPr>
            <p:cNvPr id="69" name="TextBox 68">
              <a:extLst>
                <a:ext uri="{FF2B5EF4-FFF2-40B4-BE49-F238E27FC236}">
                  <a16:creationId xmlns:a16="http://schemas.microsoft.com/office/drawing/2014/main" id="{8AA5858D-DD07-4948-963A-4D0AEFAEABFC}"/>
                </a:ext>
              </a:extLst>
            </p:cNvPr>
            <p:cNvSpPr txBox="1"/>
            <p:nvPr/>
          </p:nvSpPr>
          <p:spPr>
            <a:xfrm>
              <a:off x="9484042" y="2521925"/>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ystems or reporting/visualization tools can  access data services or storage. </a:t>
              </a:r>
            </a:p>
          </p:txBody>
        </p:sp>
      </p:grpSp>
      <p:sp>
        <p:nvSpPr>
          <p:cNvPr id="70" name="Freeform 664">
            <a:extLst>
              <a:ext uri="{FF2B5EF4-FFF2-40B4-BE49-F238E27FC236}">
                <a16:creationId xmlns:a16="http://schemas.microsoft.com/office/drawing/2014/main" id="{817AFAAA-10F6-354F-AB20-6EB36CAC2D98}"/>
              </a:ext>
            </a:extLst>
          </p:cNvPr>
          <p:cNvSpPr>
            <a:spLocks/>
          </p:cNvSpPr>
          <p:nvPr/>
        </p:nvSpPr>
        <p:spPr bwMode="auto">
          <a:xfrm>
            <a:off x="3883506" y="3799755"/>
            <a:ext cx="309983" cy="334385"/>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1" name="Freeform 244">
            <a:extLst>
              <a:ext uri="{FF2B5EF4-FFF2-40B4-BE49-F238E27FC236}">
                <a16:creationId xmlns:a16="http://schemas.microsoft.com/office/drawing/2014/main" id="{A4C76D2D-8209-E14E-B2B9-1BD4DDF80162}"/>
              </a:ext>
            </a:extLst>
          </p:cNvPr>
          <p:cNvSpPr>
            <a:spLocks noEditPoints="1"/>
          </p:cNvSpPr>
          <p:nvPr/>
        </p:nvSpPr>
        <p:spPr bwMode="auto">
          <a:xfrm>
            <a:off x="3812492" y="370738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1"/>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72" name="Group 71">
            <a:extLst>
              <a:ext uri="{FF2B5EF4-FFF2-40B4-BE49-F238E27FC236}">
                <a16:creationId xmlns:a16="http://schemas.microsoft.com/office/drawing/2014/main" id="{C4DB9CD2-E2AB-CA4C-B5FA-F7B7C668067C}"/>
              </a:ext>
            </a:extLst>
          </p:cNvPr>
          <p:cNvGrpSpPr/>
          <p:nvPr/>
        </p:nvGrpSpPr>
        <p:grpSpPr>
          <a:xfrm>
            <a:off x="1719635" y="2834866"/>
            <a:ext cx="497776" cy="517982"/>
            <a:chOff x="914473" y="2835335"/>
            <a:chExt cx="497776" cy="517982"/>
          </a:xfrm>
        </p:grpSpPr>
        <p:grpSp>
          <p:nvGrpSpPr>
            <p:cNvPr id="73" name="Group 72">
              <a:extLst>
                <a:ext uri="{FF2B5EF4-FFF2-40B4-BE49-F238E27FC236}">
                  <a16:creationId xmlns:a16="http://schemas.microsoft.com/office/drawing/2014/main" id="{5E77FDC4-8D40-B34A-9891-227B7CFB622C}"/>
                </a:ext>
              </a:extLst>
            </p:cNvPr>
            <p:cNvGrpSpPr/>
            <p:nvPr/>
          </p:nvGrpSpPr>
          <p:grpSpPr>
            <a:xfrm>
              <a:off x="1047143" y="2923001"/>
              <a:ext cx="249436" cy="328107"/>
              <a:chOff x="3727450" y="5280026"/>
              <a:chExt cx="627063" cy="781050"/>
            </a:xfrm>
          </p:grpSpPr>
          <p:sp>
            <p:nvSpPr>
              <p:cNvPr id="75" name="Freeform 45">
                <a:extLst>
                  <a:ext uri="{FF2B5EF4-FFF2-40B4-BE49-F238E27FC236}">
                    <a16:creationId xmlns:a16="http://schemas.microsoft.com/office/drawing/2014/main" id="{C27E276C-6C15-3040-B11A-BEA631973DEC}"/>
                  </a:ext>
                </a:extLst>
              </p:cNvPr>
              <p:cNvSpPr>
                <a:spLocks/>
              </p:cNvSpPr>
              <p:nvPr/>
            </p:nvSpPr>
            <p:spPr bwMode="auto">
              <a:xfrm>
                <a:off x="3848100" y="5553076"/>
                <a:ext cx="71438" cy="177800"/>
              </a:xfrm>
              <a:custGeom>
                <a:avLst/>
                <a:gdLst>
                  <a:gd name="T0" fmla="*/ 6 w 17"/>
                  <a:gd name="T1" fmla="*/ 10 h 43"/>
                  <a:gd name="T2" fmla="*/ 9 w 17"/>
                  <a:gd name="T3" fmla="*/ 9 h 43"/>
                  <a:gd name="T4" fmla="*/ 9 w 17"/>
                  <a:gd name="T5" fmla="*/ 39 h 43"/>
                  <a:gd name="T6" fmla="*/ 13 w 17"/>
                  <a:gd name="T7" fmla="*/ 43 h 43"/>
                  <a:gd name="T8" fmla="*/ 17 w 17"/>
                  <a:gd name="T9" fmla="*/ 39 h 43"/>
                  <a:gd name="T10" fmla="*/ 17 w 17"/>
                  <a:gd name="T11" fmla="*/ 4 h 43"/>
                  <a:gd name="T12" fmla="*/ 13 w 17"/>
                  <a:gd name="T13" fmla="*/ 0 h 43"/>
                  <a:gd name="T14" fmla="*/ 10 w 17"/>
                  <a:gd name="T15" fmla="*/ 1 h 43"/>
                  <a:gd name="T16" fmla="*/ 3 w 17"/>
                  <a:gd name="T17" fmla="*/ 3 h 43"/>
                  <a:gd name="T18" fmla="*/ 0 w 17"/>
                  <a:gd name="T19" fmla="*/ 6 h 43"/>
                  <a:gd name="T20" fmla="*/ 6 w 17"/>
                  <a:gd name="T21"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3">
                    <a:moveTo>
                      <a:pt x="6" y="10"/>
                    </a:moveTo>
                    <a:cubicBezTo>
                      <a:pt x="9" y="9"/>
                      <a:pt x="9" y="9"/>
                      <a:pt x="9" y="9"/>
                    </a:cubicBezTo>
                    <a:cubicBezTo>
                      <a:pt x="9" y="39"/>
                      <a:pt x="9" y="39"/>
                      <a:pt x="9" y="39"/>
                    </a:cubicBezTo>
                    <a:cubicBezTo>
                      <a:pt x="9" y="41"/>
                      <a:pt x="10" y="43"/>
                      <a:pt x="13" y="43"/>
                    </a:cubicBezTo>
                    <a:cubicBezTo>
                      <a:pt x="15" y="43"/>
                      <a:pt x="17" y="41"/>
                      <a:pt x="17" y="39"/>
                    </a:cubicBezTo>
                    <a:cubicBezTo>
                      <a:pt x="17" y="4"/>
                      <a:pt x="17" y="4"/>
                      <a:pt x="17" y="4"/>
                    </a:cubicBezTo>
                    <a:cubicBezTo>
                      <a:pt x="17" y="2"/>
                      <a:pt x="15" y="0"/>
                      <a:pt x="13" y="0"/>
                    </a:cubicBezTo>
                    <a:cubicBezTo>
                      <a:pt x="12" y="0"/>
                      <a:pt x="11" y="0"/>
                      <a:pt x="10" y="1"/>
                    </a:cubicBezTo>
                    <a:cubicBezTo>
                      <a:pt x="3" y="3"/>
                      <a:pt x="3" y="3"/>
                      <a:pt x="3" y="3"/>
                    </a:cubicBezTo>
                    <a:cubicBezTo>
                      <a:pt x="1" y="3"/>
                      <a:pt x="0" y="5"/>
                      <a:pt x="0" y="6"/>
                    </a:cubicBezTo>
                    <a:cubicBezTo>
                      <a:pt x="0" y="9"/>
                      <a:pt x="3" y="11"/>
                      <a:pt x="6"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7" name="Freeform 46">
                <a:extLst>
                  <a:ext uri="{FF2B5EF4-FFF2-40B4-BE49-F238E27FC236}">
                    <a16:creationId xmlns:a16="http://schemas.microsoft.com/office/drawing/2014/main" id="{9A36BC43-EBE2-F945-95F2-E80056F88371}"/>
                  </a:ext>
                </a:extLst>
              </p:cNvPr>
              <p:cNvSpPr>
                <a:spLocks noEditPoints="1"/>
              </p:cNvSpPr>
              <p:nvPr/>
            </p:nvSpPr>
            <p:spPr bwMode="auto">
              <a:xfrm>
                <a:off x="3960813" y="5553076"/>
                <a:ext cx="149225" cy="177800"/>
              </a:xfrm>
              <a:custGeom>
                <a:avLst/>
                <a:gdLst>
                  <a:gd name="T0" fmla="*/ 18 w 36"/>
                  <a:gd name="T1" fmla="*/ 0 h 43"/>
                  <a:gd name="T2" fmla="*/ 0 w 36"/>
                  <a:gd name="T3" fmla="*/ 22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2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2"/>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2"/>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9" name="Freeform 47">
                <a:extLst>
                  <a:ext uri="{FF2B5EF4-FFF2-40B4-BE49-F238E27FC236}">
                    <a16:creationId xmlns:a16="http://schemas.microsoft.com/office/drawing/2014/main" id="{FFBB27A2-AD13-FF45-9ADC-9CA42D67517A}"/>
                  </a:ext>
                </a:extLst>
              </p:cNvPr>
              <p:cNvSpPr>
                <a:spLocks/>
              </p:cNvSpPr>
              <p:nvPr/>
            </p:nvSpPr>
            <p:spPr bwMode="auto">
              <a:xfrm>
                <a:off x="4138613" y="5553076"/>
                <a:ext cx="66675" cy="177800"/>
              </a:xfrm>
              <a:custGeom>
                <a:avLst/>
                <a:gdLst>
                  <a:gd name="T0" fmla="*/ 12 w 16"/>
                  <a:gd name="T1" fmla="*/ 0 h 43"/>
                  <a:gd name="T2" fmla="*/ 9 w 16"/>
                  <a:gd name="T3" fmla="*/ 1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1"/>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0" name="Freeform 48">
                <a:extLst>
                  <a:ext uri="{FF2B5EF4-FFF2-40B4-BE49-F238E27FC236}">
                    <a16:creationId xmlns:a16="http://schemas.microsoft.com/office/drawing/2014/main" id="{86A4771C-F0A9-104A-9CCC-0965867CFFA9}"/>
                  </a:ext>
                </a:extLst>
              </p:cNvPr>
              <p:cNvSpPr>
                <a:spLocks noEditPoints="1"/>
              </p:cNvSpPr>
              <p:nvPr/>
            </p:nvSpPr>
            <p:spPr bwMode="auto">
              <a:xfrm>
                <a:off x="3856038" y="5775326"/>
                <a:ext cx="150813" cy="177800"/>
              </a:xfrm>
              <a:custGeom>
                <a:avLst/>
                <a:gdLst>
                  <a:gd name="T0" fmla="*/ 18 w 36"/>
                  <a:gd name="T1" fmla="*/ 0 h 43"/>
                  <a:gd name="T2" fmla="*/ 0 w 36"/>
                  <a:gd name="T3" fmla="*/ 21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1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1"/>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1"/>
                    </a:cubicBezTo>
                    <a:cubicBezTo>
                      <a:pt x="28" y="28"/>
                      <a:pt x="25" y="35"/>
                      <a:pt x="18"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1" name="Freeform 49">
                <a:extLst>
                  <a:ext uri="{FF2B5EF4-FFF2-40B4-BE49-F238E27FC236}">
                    <a16:creationId xmlns:a16="http://schemas.microsoft.com/office/drawing/2014/main" id="{14E023AE-2777-9A4F-B809-25DFA45DDE65}"/>
                  </a:ext>
                </a:extLst>
              </p:cNvPr>
              <p:cNvSpPr>
                <a:spLocks/>
              </p:cNvSpPr>
              <p:nvPr/>
            </p:nvSpPr>
            <p:spPr bwMode="auto">
              <a:xfrm>
                <a:off x="4035425"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4" name="Freeform 50">
                <a:extLst>
                  <a:ext uri="{FF2B5EF4-FFF2-40B4-BE49-F238E27FC236}">
                    <a16:creationId xmlns:a16="http://schemas.microsoft.com/office/drawing/2014/main" id="{377F2A71-38E0-634A-B8DB-82573015580F}"/>
                  </a:ext>
                </a:extLst>
              </p:cNvPr>
              <p:cNvSpPr>
                <a:spLocks/>
              </p:cNvSpPr>
              <p:nvPr/>
            </p:nvSpPr>
            <p:spPr bwMode="auto">
              <a:xfrm>
                <a:off x="4138613"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5" name="Freeform 51">
                <a:extLst>
                  <a:ext uri="{FF2B5EF4-FFF2-40B4-BE49-F238E27FC236}">
                    <a16:creationId xmlns:a16="http://schemas.microsoft.com/office/drawing/2014/main" id="{04EE4410-074D-AF48-B381-09C2AE1D1692}"/>
                  </a:ext>
                </a:extLst>
              </p:cNvPr>
              <p:cNvSpPr>
                <a:spLocks noEditPoints="1"/>
              </p:cNvSpPr>
              <p:nvPr/>
            </p:nvSpPr>
            <p:spPr bwMode="auto">
              <a:xfrm>
                <a:off x="3727450" y="5280026"/>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7 h 189"/>
                  <a:gd name="T22" fmla="*/ 148 w 151"/>
                  <a:gd name="T23" fmla="*/ 29 h 189"/>
                  <a:gd name="T24" fmla="*/ 141 w 151"/>
                  <a:gd name="T25" fmla="*/ 33 h 189"/>
                  <a:gd name="T26" fmla="*/ 119 w 151"/>
                  <a:gd name="T27" fmla="*/ 33 h 189"/>
                  <a:gd name="T28" fmla="*/ 119 w 151"/>
                  <a:gd name="T29" fmla="*/ 11 h 189"/>
                  <a:gd name="T30" fmla="*/ 141 w 151"/>
                  <a:gd name="T31" fmla="*/ 33 h 189"/>
                  <a:gd name="T32" fmla="*/ 141 w 151"/>
                  <a:gd name="T33" fmla="*/ 182 h 189"/>
                  <a:gd name="T34" fmla="*/ 10 w 151"/>
                  <a:gd name="T35" fmla="*/ 182 h 189"/>
                  <a:gd name="T36" fmla="*/ 8 w 151"/>
                  <a:gd name="T37" fmla="*/ 179 h 189"/>
                  <a:gd name="T38" fmla="*/ 8 w 151"/>
                  <a:gd name="T39" fmla="*/ 10 h 189"/>
                  <a:gd name="T40" fmla="*/ 10 w 151"/>
                  <a:gd name="T41" fmla="*/ 8 h 189"/>
                  <a:gd name="T42" fmla="*/ 111 w 151"/>
                  <a:gd name="T43" fmla="*/ 8 h 189"/>
                  <a:gd name="T44" fmla="*/ 111 w 151"/>
                  <a:gd name="T45" fmla="*/ 37 h 189"/>
                  <a:gd name="T46" fmla="*/ 115 w 151"/>
                  <a:gd name="T47" fmla="*/ 40 h 189"/>
                  <a:gd name="T48" fmla="*/ 144 w 151"/>
                  <a:gd name="T49" fmla="*/ 40 h 189"/>
                  <a:gd name="T50" fmla="*/ 144 w 151"/>
                  <a:gd name="T51" fmla="*/ 179 h 189"/>
                  <a:gd name="T52" fmla="*/ 141 w 151"/>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5"/>
                      <a:pt x="0" y="10"/>
                    </a:cubicBezTo>
                    <a:cubicBezTo>
                      <a:pt x="0" y="179"/>
                      <a:pt x="0" y="179"/>
                      <a:pt x="0" y="179"/>
                    </a:cubicBezTo>
                    <a:cubicBezTo>
                      <a:pt x="0" y="185"/>
                      <a:pt x="4" y="189"/>
                      <a:pt x="10" y="189"/>
                    </a:cubicBezTo>
                    <a:cubicBezTo>
                      <a:pt x="141" y="189"/>
                      <a:pt x="141" y="189"/>
                      <a:pt x="141" y="189"/>
                    </a:cubicBezTo>
                    <a:cubicBezTo>
                      <a:pt x="147" y="189"/>
                      <a:pt x="151" y="185"/>
                      <a:pt x="151" y="179"/>
                    </a:cubicBezTo>
                    <a:cubicBezTo>
                      <a:pt x="151" y="37"/>
                      <a:pt x="151" y="37"/>
                      <a:pt x="151" y="37"/>
                    </a:cubicBezTo>
                    <a:cubicBezTo>
                      <a:pt x="151" y="34"/>
                      <a:pt x="150" y="31"/>
                      <a:pt x="148" y="29"/>
                    </a:cubicBezTo>
                    <a:close/>
                    <a:moveTo>
                      <a:pt x="141" y="33"/>
                    </a:moveTo>
                    <a:cubicBezTo>
                      <a:pt x="119" y="33"/>
                      <a:pt x="119" y="33"/>
                      <a:pt x="119" y="33"/>
                    </a:cubicBezTo>
                    <a:cubicBezTo>
                      <a:pt x="119" y="11"/>
                      <a:pt x="119" y="11"/>
                      <a:pt x="119" y="11"/>
                    </a:cubicBezTo>
                    <a:lnTo>
                      <a:pt x="141" y="33"/>
                    </a:lnTo>
                    <a:close/>
                    <a:moveTo>
                      <a:pt x="141" y="182"/>
                    </a:moveTo>
                    <a:cubicBezTo>
                      <a:pt x="10" y="182"/>
                      <a:pt x="10" y="182"/>
                      <a:pt x="10" y="182"/>
                    </a:cubicBezTo>
                    <a:cubicBezTo>
                      <a:pt x="9" y="182"/>
                      <a:pt x="8" y="181"/>
                      <a:pt x="8" y="179"/>
                    </a:cubicBezTo>
                    <a:cubicBezTo>
                      <a:pt x="8" y="10"/>
                      <a:pt x="8" y="10"/>
                      <a:pt x="8" y="10"/>
                    </a:cubicBezTo>
                    <a:cubicBezTo>
                      <a:pt x="8" y="9"/>
                      <a:pt x="9" y="8"/>
                      <a:pt x="10" y="8"/>
                    </a:cubicBezTo>
                    <a:cubicBezTo>
                      <a:pt x="111" y="8"/>
                      <a:pt x="111" y="8"/>
                      <a:pt x="111" y="8"/>
                    </a:cubicBezTo>
                    <a:cubicBezTo>
                      <a:pt x="111" y="37"/>
                      <a:pt x="111" y="37"/>
                      <a:pt x="111" y="37"/>
                    </a:cubicBezTo>
                    <a:cubicBezTo>
                      <a:pt x="111" y="39"/>
                      <a:pt x="113" y="40"/>
                      <a:pt x="115" y="40"/>
                    </a:cubicBezTo>
                    <a:cubicBezTo>
                      <a:pt x="144" y="40"/>
                      <a:pt x="144" y="40"/>
                      <a:pt x="144" y="40"/>
                    </a:cubicBezTo>
                    <a:cubicBezTo>
                      <a:pt x="144" y="179"/>
                      <a:pt x="144" y="179"/>
                      <a:pt x="144" y="179"/>
                    </a:cubicBezTo>
                    <a:cubicBezTo>
                      <a:pt x="144" y="181"/>
                      <a:pt x="143" y="182"/>
                      <a:pt x="141" y="1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74" name="Freeform 244">
              <a:extLst>
                <a:ext uri="{FF2B5EF4-FFF2-40B4-BE49-F238E27FC236}">
                  <a16:creationId xmlns:a16="http://schemas.microsoft.com/office/drawing/2014/main" id="{4C7B8478-D04B-4748-9D67-4E12DD9BC309}"/>
                </a:ext>
              </a:extLst>
            </p:cNvPr>
            <p:cNvSpPr>
              <a:spLocks noEditPoints="1"/>
            </p:cNvSpPr>
            <p:nvPr/>
          </p:nvSpPr>
          <p:spPr bwMode="auto">
            <a:xfrm>
              <a:off x="914473" y="283533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6" name="Group 85">
            <a:extLst>
              <a:ext uri="{FF2B5EF4-FFF2-40B4-BE49-F238E27FC236}">
                <a16:creationId xmlns:a16="http://schemas.microsoft.com/office/drawing/2014/main" id="{E54DB785-639E-6B4C-B735-FE26792999A8}"/>
              </a:ext>
            </a:extLst>
          </p:cNvPr>
          <p:cNvGrpSpPr/>
          <p:nvPr/>
        </p:nvGrpSpPr>
        <p:grpSpPr>
          <a:xfrm>
            <a:off x="1724819" y="4614849"/>
            <a:ext cx="497776" cy="517982"/>
            <a:chOff x="1763630" y="4431485"/>
            <a:chExt cx="497776" cy="517982"/>
          </a:xfrm>
        </p:grpSpPr>
        <p:grpSp>
          <p:nvGrpSpPr>
            <p:cNvPr id="92" name="Group 91">
              <a:extLst>
                <a:ext uri="{FF2B5EF4-FFF2-40B4-BE49-F238E27FC236}">
                  <a16:creationId xmlns:a16="http://schemas.microsoft.com/office/drawing/2014/main" id="{E2A7FF1B-179E-B540-A606-D78EF063FAE7}"/>
                </a:ext>
              </a:extLst>
            </p:cNvPr>
            <p:cNvGrpSpPr/>
            <p:nvPr/>
          </p:nvGrpSpPr>
          <p:grpSpPr>
            <a:xfrm>
              <a:off x="1841767" y="4550138"/>
              <a:ext cx="348246" cy="257618"/>
              <a:chOff x="1772296" y="1368566"/>
              <a:chExt cx="449558" cy="332565"/>
            </a:xfrm>
          </p:grpSpPr>
          <p:sp>
            <p:nvSpPr>
              <p:cNvPr id="95" name="Freeform 96">
                <a:extLst>
                  <a:ext uri="{FF2B5EF4-FFF2-40B4-BE49-F238E27FC236}">
                    <a16:creationId xmlns:a16="http://schemas.microsoft.com/office/drawing/2014/main" id="{F55B7A65-0845-E04C-BC83-8BB61C0F7B8D}"/>
                  </a:ext>
                </a:extLst>
              </p:cNvPr>
              <p:cNvSpPr>
                <a:spLocks noEditPoints="1"/>
              </p:cNvSpPr>
              <p:nvPr/>
            </p:nvSpPr>
            <p:spPr bwMode="auto">
              <a:xfrm>
                <a:off x="1772296" y="1368566"/>
                <a:ext cx="449558" cy="332565"/>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Freeform 97">
                <a:extLst>
                  <a:ext uri="{FF2B5EF4-FFF2-40B4-BE49-F238E27FC236}">
                    <a16:creationId xmlns:a16="http://schemas.microsoft.com/office/drawing/2014/main" id="{E13D9480-F45F-AA4F-AD09-960038581A12}"/>
                  </a:ext>
                </a:extLst>
              </p:cNvPr>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4" name="Freeform 244">
              <a:extLst>
                <a:ext uri="{FF2B5EF4-FFF2-40B4-BE49-F238E27FC236}">
                  <a16:creationId xmlns:a16="http://schemas.microsoft.com/office/drawing/2014/main" id="{E414EB29-B09D-2844-AABB-424BCB9BDDE1}"/>
                </a:ext>
              </a:extLst>
            </p:cNvPr>
            <p:cNvSpPr>
              <a:spLocks noEditPoints="1"/>
            </p:cNvSpPr>
            <p:nvPr/>
          </p:nvSpPr>
          <p:spPr bwMode="auto">
            <a:xfrm>
              <a:off x="1763630" y="4431485"/>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97" name="Group 96">
            <a:extLst>
              <a:ext uri="{FF2B5EF4-FFF2-40B4-BE49-F238E27FC236}">
                <a16:creationId xmlns:a16="http://schemas.microsoft.com/office/drawing/2014/main" id="{5594E0EE-E71C-1C43-B10F-66D95001208A}"/>
              </a:ext>
            </a:extLst>
          </p:cNvPr>
          <p:cNvGrpSpPr/>
          <p:nvPr/>
        </p:nvGrpSpPr>
        <p:grpSpPr>
          <a:xfrm>
            <a:off x="1723328" y="3708239"/>
            <a:ext cx="497776" cy="517982"/>
            <a:chOff x="1742992" y="3606769"/>
            <a:chExt cx="497776" cy="517982"/>
          </a:xfrm>
        </p:grpSpPr>
        <p:grpSp>
          <p:nvGrpSpPr>
            <p:cNvPr id="98" name="Group 97">
              <a:extLst>
                <a:ext uri="{FF2B5EF4-FFF2-40B4-BE49-F238E27FC236}">
                  <a16:creationId xmlns:a16="http://schemas.microsoft.com/office/drawing/2014/main" id="{175532A1-C4FC-0A4A-A905-A6937B8D19F8}"/>
                </a:ext>
              </a:extLst>
            </p:cNvPr>
            <p:cNvGrpSpPr/>
            <p:nvPr/>
          </p:nvGrpSpPr>
          <p:grpSpPr>
            <a:xfrm>
              <a:off x="1822814" y="3690402"/>
              <a:ext cx="350704" cy="350704"/>
              <a:chOff x="5562600" y="4875213"/>
              <a:chExt cx="790575" cy="790575"/>
            </a:xfrm>
          </p:grpSpPr>
          <p:sp>
            <p:nvSpPr>
              <p:cNvPr id="100" name="Freeform 55">
                <a:extLst>
                  <a:ext uri="{FF2B5EF4-FFF2-40B4-BE49-F238E27FC236}">
                    <a16:creationId xmlns:a16="http://schemas.microsoft.com/office/drawing/2014/main" id="{B3D9A4F8-2DA5-0B44-B256-64433BDF652D}"/>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56">
                <a:extLst>
                  <a:ext uri="{FF2B5EF4-FFF2-40B4-BE49-F238E27FC236}">
                    <a16:creationId xmlns:a16="http://schemas.microsoft.com/office/drawing/2014/main" id="{54D88537-16DB-B14A-8B7B-8485FA321976}"/>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99" name="Freeform 244">
              <a:extLst>
                <a:ext uri="{FF2B5EF4-FFF2-40B4-BE49-F238E27FC236}">
                  <a16:creationId xmlns:a16="http://schemas.microsoft.com/office/drawing/2014/main" id="{15E76E8C-9CEF-FC4F-B9CC-A5774F6E53CE}"/>
                </a:ext>
              </a:extLst>
            </p:cNvPr>
            <p:cNvSpPr>
              <a:spLocks noEditPoints="1"/>
            </p:cNvSpPr>
            <p:nvPr/>
          </p:nvSpPr>
          <p:spPr bwMode="auto">
            <a:xfrm>
              <a:off x="1742992" y="360676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3" name="Group 102">
            <a:extLst>
              <a:ext uri="{FF2B5EF4-FFF2-40B4-BE49-F238E27FC236}">
                <a16:creationId xmlns:a16="http://schemas.microsoft.com/office/drawing/2014/main" id="{10298A58-15CC-5444-9806-5D0000234536}"/>
              </a:ext>
            </a:extLst>
          </p:cNvPr>
          <p:cNvGrpSpPr/>
          <p:nvPr/>
        </p:nvGrpSpPr>
        <p:grpSpPr>
          <a:xfrm>
            <a:off x="5817623" y="3325735"/>
            <a:ext cx="497776" cy="517982"/>
            <a:chOff x="1653952" y="5387312"/>
            <a:chExt cx="497776" cy="517982"/>
          </a:xfrm>
        </p:grpSpPr>
        <p:sp>
          <p:nvSpPr>
            <p:cNvPr id="104" name="Freeform 578">
              <a:extLst>
                <a:ext uri="{FF2B5EF4-FFF2-40B4-BE49-F238E27FC236}">
                  <a16:creationId xmlns:a16="http://schemas.microsoft.com/office/drawing/2014/main" id="{96CA0108-2348-EF49-8BEB-2E83B08B4CA8}"/>
                </a:ext>
              </a:extLst>
            </p:cNvPr>
            <p:cNvSpPr>
              <a:spLocks noEditPoints="1"/>
            </p:cNvSpPr>
            <p:nvPr/>
          </p:nvSpPr>
          <p:spPr bwMode="auto">
            <a:xfrm>
              <a:off x="1758537" y="5475243"/>
              <a:ext cx="273406" cy="327594"/>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244">
              <a:extLst>
                <a:ext uri="{FF2B5EF4-FFF2-40B4-BE49-F238E27FC236}">
                  <a16:creationId xmlns:a16="http://schemas.microsoft.com/office/drawing/2014/main" id="{69EA8DB5-A894-BC41-9173-8C44F57CBD1B}"/>
                </a:ext>
              </a:extLst>
            </p:cNvPr>
            <p:cNvSpPr>
              <a:spLocks noEditPoints="1"/>
            </p:cNvSpPr>
            <p:nvPr/>
          </p:nvSpPr>
          <p:spPr bwMode="auto">
            <a:xfrm>
              <a:off x="1653952" y="5387312"/>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6" name="Group 105">
            <a:extLst>
              <a:ext uri="{FF2B5EF4-FFF2-40B4-BE49-F238E27FC236}">
                <a16:creationId xmlns:a16="http://schemas.microsoft.com/office/drawing/2014/main" id="{EB7B1966-92F0-E643-8FC8-0043B9C72AEA}"/>
              </a:ext>
            </a:extLst>
          </p:cNvPr>
          <p:cNvGrpSpPr/>
          <p:nvPr/>
        </p:nvGrpSpPr>
        <p:grpSpPr>
          <a:xfrm>
            <a:off x="5815963" y="4255647"/>
            <a:ext cx="497776" cy="517982"/>
            <a:chOff x="2178324" y="5366456"/>
            <a:chExt cx="497776" cy="517982"/>
          </a:xfrm>
        </p:grpSpPr>
        <p:grpSp>
          <p:nvGrpSpPr>
            <p:cNvPr id="107" name="Group 106">
              <a:extLst>
                <a:ext uri="{FF2B5EF4-FFF2-40B4-BE49-F238E27FC236}">
                  <a16:creationId xmlns:a16="http://schemas.microsoft.com/office/drawing/2014/main" id="{F034A6CB-2F9D-DA42-A277-209D32D65BF0}"/>
                </a:ext>
              </a:extLst>
            </p:cNvPr>
            <p:cNvGrpSpPr/>
            <p:nvPr/>
          </p:nvGrpSpPr>
          <p:grpSpPr>
            <a:xfrm>
              <a:off x="2278654" y="5459540"/>
              <a:ext cx="286037" cy="337619"/>
              <a:chOff x="6145213" y="7040563"/>
              <a:chExt cx="484187" cy="571500"/>
            </a:xfrm>
          </p:grpSpPr>
          <p:sp>
            <p:nvSpPr>
              <p:cNvPr id="110" name="Freeform 365">
                <a:extLst>
                  <a:ext uri="{FF2B5EF4-FFF2-40B4-BE49-F238E27FC236}">
                    <a16:creationId xmlns:a16="http://schemas.microsoft.com/office/drawing/2014/main" id="{E0CCF3EA-02CF-254C-8D75-9936B8AA9B8E}"/>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366">
                <a:extLst>
                  <a:ext uri="{FF2B5EF4-FFF2-40B4-BE49-F238E27FC236}">
                    <a16:creationId xmlns:a16="http://schemas.microsoft.com/office/drawing/2014/main" id="{11F829C8-FCFC-EE4A-B674-4559543294E9}"/>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367">
                <a:extLst>
                  <a:ext uri="{FF2B5EF4-FFF2-40B4-BE49-F238E27FC236}">
                    <a16:creationId xmlns:a16="http://schemas.microsoft.com/office/drawing/2014/main" id="{530694C3-8D37-1541-AA32-948F88D6FF14}"/>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68">
                <a:extLst>
                  <a:ext uri="{FF2B5EF4-FFF2-40B4-BE49-F238E27FC236}">
                    <a16:creationId xmlns:a16="http://schemas.microsoft.com/office/drawing/2014/main" id="{3CF326F0-9932-2E44-AB75-48FC3B410887}"/>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69">
                <a:extLst>
                  <a:ext uri="{FF2B5EF4-FFF2-40B4-BE49-F238E27FC236}">
                    <a16:creationId xmlns:a16="http://schemas.microsoft.com/office/drawing/2014/main" id="{9D4E888B-6621-4D45-BAC0-C848A28BE5BD}"/>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70">
                <a:extLst>
                  <a:ext uri="{FF2B5EF4-FFF2-40B4-BE49-F238E27FC236}">
                    <a16:creationId xmlns:a16="http://schemas.microsoft.com/office/drawing/2014/main" id="{1648CE5C-7737-0040-9F51-192557E5D232}"/>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8" name="Freeform 244">
              <a:extLst>
                <a:ext uri="{FF2B5EF4-FFF2-40B4-BE49-F238E27FC236}">
                  <a16:creationId xmlns:a16="http://schemas.microsoft.com/office/drawing/2014/main" id="{EF517235-89FF-8549-B158-E35EAD93DB18}"/>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30" name="Group 129">
            <a:extLst>
              <a:ext uri="{FF2B5EF4-FFF2-40B4-BE49-F238E27FC236}">
                <a16:creationId xmlns:a16="http://schemas.microsoft.com/office/drawing/2014/main" id="{D1AA21A9-F33C-2A47-B748-32707F5146A1}"/>
              </a:ext>
            </a:extLst>
          </p:cNvPr>
          <p:cNvGrpSpPr/>
          <p:nvPr/>
        </p:nvGrpSpPr>
        <p:grpSpPr>
          <a:xfrm>
            <a:off x="7825073" y="4333845"/>
            <a:ext cx="497776" cy="517982"/>
            <a:chOff x="4395408" y="5366456"/>
            <a:chExt cx="497776" cy="517982"/>
          </a:xfrm>
        </p:grpSpPr>
        <p:grpSp>
          <p:nvGrpSpPr>
            <p:cNvPr id="131" name="Group 130">
              <a:extLst>
                <a:ext uri="{FF2B5EF4-FFF2-40B4-BE49-F238E27FC236}">
                  <a16:creationId xmlns:a16="http://schemas.microsoft.com/office/drawing/2014/main" id="{9CC9E650-3104-784D-AA33-E6035F71B1CE}"/>
                </a:ext>
              </a:extLst>
            </p:cNvPr>
            <p:cNvGrpSpPr/>
            <p:nvPr/>
          </p:nvGrpSpPr>
          <p:grpSpPr>
            <a:xfrm>
              <a:off x="4494925" y="5478085"/>
              <a:ext cx="307156" cy="307154"/>
              <a:chOff x="4648200" y="6919913"/>
              <a:chExt cx="611188" cy="611187"/>
            </a:xfrm>
          </p:grpSpPr>
          <p:sp>
            <p:nvSpPr>
              <p:cNvPr id="133" name="Freeform 285">
                <a:extLst>
                  <a:ext uri="{FF2B5EF4-FFF2-40B4-BE49-F238E27FC236}">
                    <a16:creationId xmlns:a16="http://schemas.microsoft.com/office/drawing/2014/main" id="{8631BF9E-86B7-6446-BF7F-9BA78A4E4720}"/>
                  </a:ext>
                </a:extLst>
              </p:cNvPr>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4" name="Freeform 286">
                <a:extLst>
                  <a:ext uri="{FF2B5EF4-FFF2-40B4-BE49-F238E27FC236}">
                    <a16:creationId xmlns:a16="http://schemas.microsoft.com/office/drawing/2014/main" id="{629EB143-703B-2248-AD4D-A0AC497C5E99}"/>
                  </a:ext>
                </a:extLst>
              </p:cNvPr>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5" name="Freeform 287">
                <a:extLst>
                  <a:ext uri="{FF2B5EF4-FFF2-40B4-BE49-F238E27FC236}">
                    <a16:creationId xmlns:a16="http://schemas.microsoft.com/office/drawing/2014/main" id="{B6107AF6-DFC3-9B4A-BF22-626094E5E4C2}"/>
                  </a:ext>
                </a:extLst>
              </p:cNvPr>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6" name="Freeform 288">
                <a:extLst>
                  <a:ext uri="{FF2B5EF4-FFF2-40B4-BE49-F238E27FC236}">
                    <a16:creationId xmlns:a16="http://schemas.microsoft.com/office/drawing/2014/main" id="{0CA1614E-773E-8942-8F0F-ED8E98BD197D}"/>
                  </a:ext>
                </a:extLst>
              </p:cNvPr>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7" name="Freeform 289">
                <a:extLst>
                  <a:ext uri="{FF2B5EF4-FFF2-40B4-BE49-F238E27FC236}">
                    <a16:creationId xmlns:a16="http://schemas.microsoft.com/office/drawing/2014/main" id="{D7C3A6E4-98F2-2A44-8D85-046D2C9E14AE}"/>
                  </a:ext>
                </a:extLst>
              </p:cNvPr>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8" name="Freeform 290">
                <a:extLst>
                  <a:ext uri="{FF2B5EF4-FFF2-40B4-BE49-F238E27FC236}">
                    <a16:creationId xmlns:a16="http://schemas.microsoft.com/office/drawing/2014/main" id="{790D1B7D-1519-6F4B-873E-9B7265805D43}"/>
                  </a:ext>
                </a:extLst>
              </p:cNvPr>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9" name="Freeform 291">
                <a:extLst>
                  <a:ext uri="{FF2B5EF4-FFF2-40B4-BE49-F238E27FC236}">
                    <a16:creationId xmlns:a16="http://schemas.microsoft.com/office/drawing/2014/main" id="{548A30D1-9861-AE4B-B7A8-5E795AFB7D19}"/>
                  </a:ext>
                </a:extLst>
              </p:cNvPr>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0" name="Freeform 292">
                <a:extLst>
                  <a:ext uri="{FF2B5EF4-FFF2-40B4-BE49-F238E27FC236}">
                    <a16:creationId xmlns:a16="http://schemas.microsoft.com/office/drawing/2014/main" id="{950AF691-A825-EB4F-B939-3E8C3F3AF4C6}"/>
                  </a:ext>
                </a:extLst>
              </p:cNvPr>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32" name="Freeform 244">
              <a:extLst>
                <a:ext uri="{FF2B5EF4-FFF2-40B4-BE49-F238E27FC236}">
                  <a16:creationId xmlns:a16="http://schemas.microsoft.com/office/drawing/2014/main" id="{A0833A06-47F7-DE4A-A8CC-86BCC5983302}"/>
                </a:ext>
              </a:extLst>
            </p:cNvPr>
            <p:cNvSpPr>
              <a:spLocks noEditPoints="1"/>
            </p:cNvSpPr>
            <p:nvPr/>
          </p:nvSpPr>
          <p:spPr bwMode="auto">
            <a:xfrm>
              <a:off x="4395408"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1" name="Group 140">
            <a:extLst>
              <a:ext uri="{FF2B5EF4-FFF2-40B4-BE49-F238E27FC236}">
                <a16:creationId xmlns:a16="http://schemas.microsoft.com/office/drawing/2014/main" id="{87E719C2-58C3-3A48-9E2C-9FC4EEA91294}"/>
              </a:ext>
            </a:extLst>
          </p:cNvPr>
          <p:cNvGrpSpPr/>
          <p:nvPr/>
        </p:nvGrpSpPr>
        <p:grpSpPr>
          <a:xfrm>
            <a:off x="7812039" y="3274886"/>
            <a:ext cx="497776" cy="517982"/>
            <a:chOff x="5302152" y="5598347"/>
            <a:chExt cx="497776" cy="517982"/>
          </a:xfrm>
        </p:grpSpPr>
        <p:sp>
          <p:nvSpPr>
            <p:cNvPr id="142" name="Freeform 244">
              <a:extLst>
                <a:ext uri="{FF2B5EF4-FFF2-40B4-BE49-F238E27FC236}">
                  <a16:creationId xmlns:a16="http://schemas.microsoft.com/office/drawing/2014/main" id="{916DC378-634B-5448-8132-D8A2DEB0007D}"/>
                </a:ext>
              </a:extLst>
            </p:cNvPr>
            <p:cNvSpPr>
              <a:spLocks noEditPoints="1"/>
            </p:cNvSpPr>
            <p:nvPr/>
          </p:nvSpPr>
          <p:spPr bwMode="auto">
            <a:xfrm>
              <a:off x="5302152" y="5598347"/>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rgbClr val="40404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43" name="Group 142">
              <a:extLst>
                <a:ext uri="{FF2B5EF4-FFF2-40B4-BE49-F238E27FC236}">
                  <a16:creationId xmlns:a16="http://schemas.microsoft.com/office/drawing/2014/main" id="{350178E9-9988-F64C-BCA3-16FDC4A55153}"/>
                </a:ext>
              </a:extLst>
            </p:cNvPr>
            <p:cNvGrpSpPr/>
            <p:nvPr/>
          </p:nvGrpSpPr>
          <p:grpSpPr>
            <a:xfrm>
              <a:off x="5393064" y="5718880"/>
              <a:ext cx="316110" cy="277561"/>
              <a:chOff x="1290638" y="5410200"/>
              <a:chExt cx="585787" cy="514350"/>
            </a:xfrm>
          </p:grpSpPr>
          <p:sp>
            <p:nvSpPr>
              <p:cNvPr id="144" name="Freeform 66">
                <a:extLst>
                  <a:ext uri="{FF2B5EF4-FFF2-40B4-BE49-F238E27FC236}">
                    <a16:creationId xmlns:a16="http://schemas.microsoft.com/office/drawing/2014/main" id="{9EC35BF1-F6DB-144A-ABED-5C32D34B8DEB}"/>
                  </a:ext>
                </a:extLst>
              </p:cNvPr>
              <p:cNvSpPr>
                <a:spLocks noEditPoints="1"/>
              </p:cNvSpPr>
              <p:nvPr/>
            </p:nvSpPr>
            <p:spPr bwMode="auto">
              <a:xfrm>
                <a:off x="1514475" y="5619750"/>
                <a:ext cx="161925" cy="231775"/>
              </a:xfrm>
              <a:custGeom>
                <a:avLst/>
                <a:gdLst>
                  <a:gd name="T0" fmla="*/ 7 w 66"/>
                  <a:gd name="T1" fmla="*/ 2 h 94"/>
                  <a:gd name="T2" fmla="*/ 2 w 66"/>
                  <a:gd name="T3" fmla="*/ 1 h 94"/>
                  <a:gd name="T4" fmla="*/ 0 w 66"/>
                  <a:gd name="T5" fmla="*/ 6 h 94"/>
                  <a:gd name="T6" fmla="*/ 10 w 66"/>
                  <a:gd name="T7" fmla="*/ 77 h 94"/>
                  <a:gd name="T8" fmla="*/ 13 w 66"/>
                  <a:gd name="T9" fmla="*/ 81 h 94"/>
                  <a:gd name="T10" fmla="*/ 17 w 66"/>
                  <a:gd name="T11" fmla="*/ 80 h 94"/>
                  <a:gd name="T12" fmla="*/ 30 w 66"/>
                  <a:gd name="T13" fmla="*/ 70 h 94"/>
                  <a:gd name="T14" fmla="*/ 41 w 66"/>
                  <a:gd name="T15" fmla="*/ 91 h 94"/>
                  <a:gd name="T16" fmla="*/ 44 w 66"/>
                  <a:gd name="T17" fmla="*/ 94 h 94"/>
                  <a:gd name="T18" fmla="*/ 46 w 66"/>
                  <a:gd name="T19" fmla="*/ 94 h 94"/>
                  <a:gd name="T20" fmla="*/ 48 w 66"/>
                  <a:gd name="T21" fmla="*/ 93 h 94"/>
                  <a:gd name="T22" fmla="*/ 62 w 66"/>
                  <a:gd name="T23" fmla="*/ 84 h 94"/>
                  <a:gd name="T24" fmla="*/ 64 w 66"/>
                  <a:gd name="T25" fmla="*/ 81 h 94"/>
                  <a:gd name="T26" fmla="*/ 63 w 66"/>
                  <a:gd name="T27" fmla="*/ 77 h 94"/>
                  <a:gd name="T28" fmla="*/ 49 w 66"/>
                  <a:gd name="T29" fmla="*/ 59 h 94"/>
                  <a:gd name="T30" fmla="*/ 63 w 66"/>
                  <a:gd name="T31" fmla="*/ 53 h 94"/>
                  <a:gd name="T32" fmla="*/ 66 w 66"/>
                  <a:gd name="T33" fmla="*/ 49 h 94"/>
                  <a:gd name="T34" fmla="*/ 64 w 66"/>
                  <a:gd name="T35" fmla="*/ 45 h 94"/>
                  <a:gd name="T36" fmla="*/ 7 w 66"/>
                  <a:gd name="T37" fmla="*/ 2 h 94"/>
                  <a:gd name="T38" fmla="*/ 39 w 66"/>
                  <a:gd name="T39" fmla="*/ 52 h 94"/>
                  <a:gd name="T40" fmla="*/ 36 w 66"/>
                  <a:gd name="T41" fmla="*/ 55 h 94"/>
                  <a:gd name="T42" fmla="*/ 37 w 66"/>
                  <a:gd name="T43" fmla="*/ 59 h 94"/>
                  <a:gd name="T44" fmla="*/ 52 w 66"/>
                  <a:gd name="T45" fmla="*/ 79 h 94"/>
                  <a:gd name="T46" fmla="*/ 47 w 66"/>
                  <a:gd name="T47" fmla="*/ 82 h 94"/>
                  <a:gd name="T48" fmla="*/ 35 w 66"/>
                  <a:gd name="T49" fmla="*/ 60 h 94"/>
                  <a:gd name="T50" fmla="*/ 32 w 66"/>
                  <a:gd name="T51" fmla="*/ 58 h 94"/>
                  <a:gd name="T52" fmla="*/ 31 w 66"/>
                  <a:gd name="T53" fmla="*/ 57 h 94"/>
                  <a:gd name="T54" fmla="*/ 28 w 66"/>
                  <a:gd name="T55" fmla="*/ 59 h 94"/>
                  <a:gd name="T56" fmla="*/ 18 w 66"/>
                  <a:gd name="T57" fmla="*/ 67 h 94"/>
                  <a:gd name="T58" fmla="*/ 11 w 66"/>
                  <a:gd name="T59" fmla="*/ 16 h 94"/>
                  <a:gd name="T60" fmla="*/ 51 w 66"/>
                  <a:gd name="T61" fmla="*/ 47 h 94"/>
                  <a:gd name="T62" fmla="*/ 39 w 66"/>
                  <a:gd name="T63"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94">
                    <a:moveTo>
                      <a:pt x="7" y="2"/>
                    </a:moveTo>
                    <a:cubicBezTo>
                      <a:pt x="6" y="0"/>
                      <a:pt x="4" y="0"/>
                      <a:pt x="2" y="1"/>
                    </a:cubicBezTo>
                    <a:cubicBezTo>
                      <a:pt x="0" y="2"/>
                      <a:pt x="0" y="4"/>
                      <a:pt x="0" y="6"/>
                    </a:cubicBezTo>
                    <a:cubicBezTo>
                      <a:pt x="10" y="77"/>
                      <a:pt x="10" y="77"/>
                      <a:pt x="10" y="77"/>
                    </a:cubicBezTo>
                    <a:cubicBezTo>
                      <a:pt x="10" y="79"/>
                      <a:pt x="11" y="81"/>
                      <a:pt x="13" y="81"/>
                    </a:cubicBezTo>
                    <a:cubicBezTo>
                      <a:pt x="14" y="82"/>
                      <a:pt x="16" y="81"/>
                      <a:pt x="17" y="80"/>
                    </a:cubicBezTo>
                    <a:cubicBezTo>
                      <a:pt x="30" y="70"/>
                      <a:pt x="30" y="70"/>
                      <a:pt x="30" y="70"/>
                    </a:cubicBezTo>
                    <a:cubicBezTo>
                      <a:pt x="41" y="91"/>
                      <a:pt x="41" y="91"/>
                      <a:pt x="41" y="91"/>
                    </a:cubicBezTo>
                    <a:cubicBezTo>
                      <a:pt x="42" y="93"/>
                      <a:pt x="43" y="94"/>
                      <a:pt x="44" y="94"/>
                    </a:cubicBezTo>
                    <a:cubicBezTo>
                      <a:pt x="45" y="94"/>
                      <a:pt x="45" y="94"/>
                      <a:pt x="46" y="94"/>
                    </a:cubicBezTo>
                    <a:cubicBezTo>
                      <a:pt x="47" y="94"/>
                      <a:pt x="47" y="94"/>
                      <a:pt x="48" y="93"/>
                    </a:cubicBezTo>
                    <a:cubicBezTo>
                      <a:pt x="62" y="84"/>
                      <a:pt x="62" y="84"/>
                      <a:pt x="62" y="84"/>
                    </a:cubicBezTo>
                    <a:cubicBezTo>
                      <a:pt x="63" y="83"/>
                      <a:pt x="64" y="82"/>
                      <a:pt x="64" y="81"/>
                    </a:cubicBezTo>
                    <a:cubicBezTo>
                      <a:pt x="64" y="80"/>
                      <a:pt x="64" y="78"/>
                      <a:pt x="63" y="77"/>
                    </a:cubicBezTo>
                    <a:cubicBezTo>
                      <a:pt x="49" y="59"/>
                      <a:pt x="49" y="59"/>
                      <a:pt x="49" y="59"/>
                    </a:cubicBezTo>
                    <a:cubicBezTo>
                      <a:pt x="63" y="53"/>
                      <a:pt x="63" y="53"/>
                      <a:pt x="63" y="53"/>
                    </a:cubicBezTo>
                    <a:cubicBezTo>
                      <a:pt x="64" y="52"/>
                      <a:pt x="65" y="51"/>
                      <a:pt x="66" y="49"/>
                    </a:cubicBezTo>
                    <a:cubicBezTo>
                      <a:pt x="66" y="48"/>
                      <a:pt x="65" y="46"/>
                      <a:pt x="64" y="45"/>
                    </a:cubicBezTo>
                    <a:lnTo>
                      <a:pt x="7" y="2"/>
                    </a:lnTo>
                    <a:close/>
                    <a:moveTo>
                      <a:pt x="39" y="52"/>
                    </a:moveTo>
                    <a:cubicBezTo>
                      <a:pt x="38" y="53"/>
                      <a:pt x="37" y="54"/>
                      <a:pt x="36" y="55"/>
                    </a:cubicBezTo>
                    <a:cubicBezTo>
                      <a:pt x="36" y="57"/>
                      <a:pt x="36" y="58"/>
                      <a:pt x="37" y="59"/>
                    </a:cubicBezTo>
                    <a:cubicBezTo>
                      <a:pt x="52" y="79"/>
                      <a:pt x="52" y="79"/>
                      <a:pt x="52" y="79"/>
                    </a:cubicBezTo>
                    <a:cubicBezTo>
                      <a:pt x="47" y="82"/>
                      <a:pt x="47" y="82"/>
                      <a:pt x="47" y="82"/>
                    </a:cubicBezTo>
                    <a:cubicBezTo>
                      <a:pt x="35" y="60"/>
                      <a:pt x="35" y="60"/>
                      <a:pt x="35" y="60"/>
                    </a:cubicBezTo>
                    <a:cubicBezTo>
                      <a:pt x="35" y="59"/>
                      <a:pt x="33" y="58"/>
                      <a:pt x="32" y="58"/>
                    </a:cubicBezTo>
                    <a:cubicBezTo>
                      <a:pt x="32" y="58"/>
                      <a:pt x="31" y="57"/>
                      <a:pt x="31" y="57"/>
                    </a:cubicBezTo>
                    <a:cubicBezTo>
                      <a:pt x="30" y="57"/>
                      <a:pt x="29" y="58"/>
                      <a:pt x="28" y="59"/>
                    </a:cubicBezTo>
                    <a:cubicBezTo>
                      <a:pt x="18" y="67"/>
                      <a:pt x="18" y="67"/>
                      <a:pt x="18" y="67"/>
                    </a:cubicBezTo>
                    <a:cubicBezTo>
                      <a:pt x="11" y="16"/>
                      <a:pt x="11" y="16"/>
                      <a:pt x="11" y="16"/>
                    </a:cubicBezTo>
                    <a:cubicBezTo>
                      <a:pt x="51" y="47"/>
                      <a:pt x="51" y="47"/>
                      <a:pt x="51" y="47"/>
                    </a:cubicBezTo>
                    <a:lnTo>
                      <a:pt x="39" y="5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5" name="Freeform 67">
                <a:extLst>
                  <a:ext uri="{FF2B5EF4-FFF2-40B4-BE49-F238E27FC236}">
                    <a16:creationId xmlns:a16="http://schemas.microsoft.com/office/drawing/2014/main" id="{2040F4FF-D3C0-C141-93F3-684A8484DD5A}"/>
                  </a:ext>
                </a:extLst>
              </p:cNvPr>
              <p:cNvSpPr>
                <a:spLocks noEditPoints="1"/>
              </p:cNvSpPr>
              <p:nvPr/>
            </p:nvSpPr>
            <p:spPr bwMode="auto">
              <a:xfrm>
                <a:off x="12906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10 w 238"/>
                  <a:gd name="T23" fmla="*/ 10 h 209"/>
                  <a:gd name="T24" fmla="*/ 228 w 238"/>
                  <a:gd name="T25" fmla="*/ 10 h 209"/>
                  <a:gd name="T26" fmla="*/ 228 w 238"/>
                  <a:gd name="T27" fmla="*/ 56 h 209"/>
                  <a:gd name="T28" fmla="*/ 10 w 238"/>
                  <a:gd name="T29" fmla="*/ 56 h 209"/>
                  <a:gd name="T30" fmla="*/ 10 w 238"/>
                  <a:gd name="T31" fmla="*/ 10 h 209"/>
                  <a:gd name="T32" fmla="*/ 10 w 238"/>
                  <a:gd name="T33" fmla="*/ 199 h 209"/>
                  <a:gd name="T34" fmla="*/ 10 w 238"/>
                  <a:gd name="T35" fmla="*/ 66 h 209"/>
                  <a:gd name="T36" fmla="*/ 228 w 238"/>
                  <a:gd name="T37" fmla="*/ 66 h 209"/>
                  <a:gd name="T38" fmla="*/ 228 w 238"/>
                  <a:gd name="T39" fmla="*/ 199 h 209"/>
                  <a:gd name="T40" fmla="*/ 10 w 238"/>
                  <a:gd name="T4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10" y="10"/>
                    </a:moveTo>
                    <a:cubicBezTo>
                      <a:pt x="228" y="10"/>
                      <a:pt x="228" y="10"/>
                      <a:pt x="228" y="10"/>
                    </a:cubicBezTo>
                    <a:cubicBezTo>
                      <a:pt x="228" y="56"/>
                      <a:pt x="228" y="56"/>
                      <a:pt x="228" y="56"/>
                    </a:cubicBezTo>
                    <a:cubicBezTo>
                      <a:pt x="10" y="56"/>
                      <a:pt x="10" y="56"/>
                      <a:pt x="10" y="56"/>
                    </a:cubicBezTo>
                    <a:lnTo>
                      <a:pt x="1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6" name="Freeform 68">
                <a:extLst>
                  <a:ext uri="{FF2B5EF4-FFF2-40B4-BE49-F238E27FC236}">
                    <a16:creationId xmlns:a16="http://schemas.microsoft.com/office/drawing/2014/main" id="{4F78B287-860C-1841-9EC9-F05DDB30980C}"/>
                  </a:ext>
                </a:extLst>
              </p:cNvPr>
              <p:cNvSpPr>
                <a:spLocks/>
              </p:cNvSpPr>
              <p:nvPr/>
            </p:nvSpPr>
            <p:spPr bwMode="auto">
              <a:xfrm>
                <a:off x="1520825" y="5503863"/>
                <a:ext cx="82550" cy="23813"/>
              </a:xfrm>
              <a:custGeom>
                <a:avLst/>
                <a:gdLst>
                  <a:gd name="T0" fmla="*/ 29 w 33"/>
                  <a:gd name="T1" fmla="*/ 0 h 10"/>
                  <a:gd name="T2" fmla="*/ 4 w 33"/>
                  <a:gd name="T3" fmla="*/ 0 h 10"/>
                  <a:gd name="T4" fmla="*/ 0 w 33"/>
                  <a:gd name="T5" fmla="*/ 5 h 10"/>
                  <a:gd name="T6" fmla="*/ 4 w 33"/>
                  <a:gd name="T7" fmla="*/ 10 h 10"/>
                  <a:gd name="T8" fmla="*/ 29 w 33"/>
                  <a:gd name="T9" fmla="*/ 10 h 10"/>
                  <a:gd name="T10" fmla="*/ 33 w 33"/>
                  <a:gd name="T11" fmla="*/ 5 h 10"/>
                  <a:gd name="T12" fmla="*/ 29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9" y="0"/>
                    </a:moveTo>
                    <a:cubicBezTo>
                      <a:pt x="4" y="0"/>
                      <a:pt x="4" y="0"/>
                      <a:pt x="4" y="0"/>
                    </a:cubicBezTo>
                    <a:cubicBezTo>
                      <a:pt x="2" y="0"/>
                      <a:pt x="0" y="3"/>
                      <a:pt x="0" y="5"/>
                    </a:cubicBezTo>
                    <a:cubicBezTo>
                      <a:pt x="0" y="8"/>
                      <a:pt x="2" y="10"/>
                      <a:pt x="4" y="10"/>
                    </a:cubicBezTo>
                    <a:cubicBezTo>
                      <a:pt x="29" y="10"/>
                      <a:pt x="29" y="10"/>
                      <a:pt x="29" y="10"/>
                    </a:cubicBezTo>
                    <a:cubicBezTo>
                      <a:pt x="31" y="10"/>
                      <a:pt x="33" y="8"/>
                      <a:pt x="33" y="5"/>
                    </a:cubicBezTo>
                    <a:cubicBezTo>
                      <a:pt x="33" y="3"/>
                      <a:pt x="31" y="0"/>
                      <a:pt x="2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7" name="Freeform 69">
                <a:extLst>
                  <a:ext uri="{FF2B5EF4-FFF2-40B4-BE49-F238E27FC236}">
                    <a16:creationId xmlns:a16="http://schemas.microsoft.com/office/drawing/2014/main" id="{C9F3CCE7-3ECD-F14E-823F-299D146DA793}"/>
                  </a:ext>
                </a:extLst>
              </p:cNvPr>
              <p:cNvSpPr>
                <a:spLocks/>
              </p:cNvSpPr>
              <p:nvPr/>
            </p:nvSpPr>
            <p:spPr bwMode="auto">
              <a:xfrm>
                <a:off x="1741488" y="5451475"/>
                <a:ext cx="76200" cy="76200"/>
              </a:xfrm>
              <a:custGeom>
                <a:avLst/>
                <a:gdLst>
                  <a:gd name="T0" fmla="*/ 29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6 w 31"/>
                  <a:gd name="T19" fmla="*/ 31 h 31"/>
                  <a:gd name="T20" fmla="*/ 9 w 31"/>
                  <a:gd name="T21" fmla="*/ 30 h 31"/>
                  <a:gd name="T22" fmla="*/ 16 w 31"/>
                  <a:gd name="T23" fmla="*/ 23 h 31"/>
                  <a:gd name="T24" fmla="*/ 23 w 31"/>
                  <a:gd name="T25" fmla="*/ 30 h 31"/>
                  <a:gd name="T26" fmla="*/ 26 w 31"/>
                  <a:gd name="T27" fmla="*/ 31 h 31"/>
                  <a:gd name="T28" fmla="*/ 29 w 31"/>
                  <a:gd name="T29" fmla="*/ 30 h 31"/>
                  <a:gd name="T30" fmla="*/ 29 w 31"/>
                  <a:gd name="T31" fmla="*/ 23 h 31"/>
                  <a:gd name="T32" fmla="*/ 23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0"/>
                      <a:pt x="4" y="31"/>
                      <a:pt x="6" y="31"/>
                    </a:cubicBezTo>
                    <a:cubicBezTo>
                      <a:pt x="7" y="31"/>
                      <a:pt x="8" y="30"/>
                      <a:pt x="9" y="30"/>
                    </a:cubicBezTo>
                    <a:cubicBezTo>
                      <a:pt x="16" y="23"/>
                      <a:pt x="16" y="23"/>
                      <a:pt x="16" y="23"/>
                    </a:cubicBezTo>
                    <a:cubicBezTo>
                      <a:pt x="23" y="30"/>
                      <a:pt x="23" y="30"/>
                      <a:pt x="23" y="30"/>
                    </a:cubicBezTo>
                    <a:cubicBezTo>
                      <a:pt x="24" y="30"/>
                      <a:pt x="25" y="31"/>
                      <a:pt x="26" y="31"/>
                    </a:cubicBezTo>
                    <a:cubicBezTo>
                      <a:pt x="27" y="31"/>
                      <a:pt x="29" y="30"/>
                      <a:pt x="29" y="30"/>
                    </a:cubicBezTo>
                    <a:cubicBezTo>
                      <a:pt x="31" y="28"/>
                      <a:pt x="31" y="25"/>
                      <a:pt x="29" y="23"/>
                    </a:cubicBezTo>
                    <a:cubicBezTo>
                      <a:pt x="23" y="16"/>
                      <a:pt x="23" y="16"/>
                      <a:pt x="23"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8" name="Freeform 70">
                <a:extLst>
                  <a:ext uri="{FF2B5EF4-FFF2-40B4-BE49-F238E27FC236}">
                    <a16:creationId xmlns:a16="http://schemas.microsoft.com/office/drawing/2014/main" id="{EA1FBCC4-9C81-CF49-AB5B-871833851D1B}"/>
                  </a:ext>
                </a:extLst>
              </p:cNvPr>
              <p:cNvSpPr>
                <a:spLocks noEditPoints="1"/>
              </p:cNvSpPr>
              <p:nvPr/>
            </p:nvSpPr>
            <p:spPr bwMode="auto">
              <a:xfrm>
                <a:off x="1631950" y="5456238"/>
                <a:ext cx="74612" cy="71438"/>
              </a:xfrm>
              <a:custGeom>
                <a:avLst/>
                <a:gdLst>
                  <a:gd name="T0" fmla="*/ 25 w 30"/>
                  <a:gd name="T1" fmla="*/ 0 h 29"/>
                  <a:gd name="T2" fmla="*/ 4 w 30"/>
                  <a:gd name="T3" fmla="*/ 0 h 29"/>
                  <a:gd name="T4" fmla="*/ 0 w 30"/>
                  <a:gd name="T5" fmla="*/ 5 h 29"/>
                  <a:gd name="T6" fmla="*/ 0 w 30"/>
                  <a:gd name="T7" fmla="*/ 24 h 29"/>
                  <a:gd name="T8" fmla="*/ 4 w 30"/>
                  <a:gd name="T9" fmla="*/ 29 h 29"/>
                  <a:gd name="T10" fmla="*/ 25 w 30"/>
                  <a:gd name="T11" fmla="*/ 29 h 29"/>
                  <a:gd name="T12" fmla="*/ 30 w 30"/>
                  <a:gd name="T13" fmla="*/ 24 h 29"/>
                  <a:gd name="T14" fmla="*/ 30 w 30"/>
                  <a:gd name="T15" fmla="*/ 5 h 29"/>
                  <a:gd name="T16" fmla="*/ 25 w 30"/>
                  <a:gd name="T17" fmla="*/ 0 h 29"/>
                  <a:gd name="T18" fmla="*/ 21 w 30"/>
                  <a:gd name="T19" fmla="*/ 19 h 29"/>
                  <a:gd name="T20" fmla="*/ 9 w 30"/>
                  <a:gd name="T21" fmla="*/ 19 h 29"/>
                  <a:gd name="T22" fmla="*/ 9 w 30"/>
                  <a:gd name="T23" fmla="*/ 9 h 29"/>
                  <a:gd name="T24" fmla="*/ 21 w 30"/>
                  <a:gd name="T25" fmla="*/ 9 h 29"/>
                  <a:gd name="T26" fmla="*/ 21 w 30"/>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9">
                    <a:moveTo>
                      <a:pt x="25" y="0"/>
                    </a:moveTo>
                    <a:cubicBezTo>
                      <a:pt x="4" y="0"/>
                      <a:pt x="4" y="0"/>
                      <a:pt x="4" y="0"/>
                    </a:cubicBezTo>
                    <a:cubicBezTo>
                      <a:pt x="2" y="0"/>
                      <a:pt x="0" y="2"/>
                      <a:pt x="0" y="5"/>
                    </a:cubicBezTo>
                    <a:cubicBezTo>
                      <a:pt x="0" y="24"/>
                      <a:pt x="0" y="24"/>
                      <a:pt x="0" y="24"/>
                    </a:cubicBezTo>
                    <a:cubicBezTo>
                      <a:pt x="0" y="27"/>
                      <a:pt x="2" y="29"/>
                      <a:pt x="4" y="29"/>
                    </a:cubicBezTo>
                    <a:cubicBezTo>
                      <a:pt x="25" y="29"/>
                      <a:pt x="25" y="29"/>
                      <a:pt x="25" y="29"/>
                    </a:cubicBezTo>
                    <a:cubicBezTo>
                      <a:pt x="28" y="29"/>
                      <a:pt x="30" y="27"/>
                      <a:pt x="30" y="24"/>
                    </a:cubicBezTo>
                    <a:cubicBezTo>
                      <a:pt x="30" y="5"/>
                      <a:pt x="30" y="5"/>
                      <a:pt x="30" y="5"/>
                    </a:cubicBezTo>
                    <a:cubicBezTo>
                      <a:pt x="30" y="2"/>
                      <a:pt x="28" y="0"/>
                      <a:pt x="25"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sp>
        <p:nvSpPr>
          <p:cNvPr id="150" name="Rectangle 149">
            <a:extLst>
              <a:ext uri="{FF2B5EF4-FFF2-40B4-BE49-F238E27FC236}">
                <a16:creationId xmlns:a16="http://schemas.microsoft.com/office/drawing/2014/main" id="{B437FECE-073C-D748-B6B9-8994CAEF2DD1}"/>
              </a:ext>
            </a:extLst>
          </p:cNvPr>
          <p:cNvSpPr/>
          <p:nvPr/>
        </p:nvSpPr>
        <p:spPr>
          <a:xfrm>
            <a:off x="5107386" y="5891368"/>
            <a:ext cx="914400" cy="273455"/>
          </a:xfrm>
          <a:prstGeom prst="rect">
            <a:avLst/>
          </a:prstGeom>
          <a:solidFill>
            <a:schemeClr val="bg1"/>
          </a:solidFill>
          <a:ln w="12700" algn="ctr">
            <a:solidFill>
              <a:schemeClr val="accent1"/>
            </a:solidFill>
            <a:miter lim="800000"/>
            <a:headEnd type="none" w="sm" len="sm"/>
            <a:tailEnd type="none" w="sm" len="sm"/>
          </a:ln>
        </p:spPr>
        <p:txBody>
          <a:bodyPr wrap="square" lIns="0" tIns="0" rIns="0" bIns="0" anchor="ctr"/>
          <a:lstStyle/>
          <a:p>
            <a:pPr algn="ctr"/>
            <a:r>
              <a:rPr lang="en-US" sz="850"/>
              <a:t>Governance</a:t>
            </a:r>
          </a:p>
        </p:txBody>
      </p:sp>
      <p:sp>
        <p:nvSpPr>
          <p:cNvPr id="151" name="Rectangle 150">
            <a:extLst>
              <a:ext uri="{FF2B5EF4-FFF2-40B4-BE49-F238E27FC236}">
                <a16:creationId xmlns:a16="http://schemas.microsoft.com/office/drawing/2014/main" id="{40FFBCA8-7A96-2B47-B6CD-FF3D28CF322C}"/>
              </a:ext>
            </a:extLst>
          </p:cNvPr>
          <p:cNvSpPr/>
          <p:nvPr/>
        </p:nvSpPr>
        <p:spPr>
          <a:xfrm>
            <a:off x="6129677" y="5889967"/>
            <a:ext cx="914400" cy="276257"/>
          </a:xfrm>
          <a:prstGeom prst="rect">
            <a:avLst/>
          </a:prstGeom>
          <a:solidFill>
            <a:schemeClr val="bg1"/>
          </a:solidFill>
          <a:ln w="12700" algn="ctr">
            <a:solidFill>
              <a:schemeClr val="accent1"/>
            </a:solidFill>
            <a:miter lim="800000"/>
            <a:headEnd type="none" w="sm" len="sm"/>
            <a:tailEnd type="none" w="sm" len="sm"/>
          </a:ln>
        </p:spPr>
        <p:txBody>
          <a:bodyPr wrap="square" lIns="0" tIns="0" rIns="0" bIns="0" anchor="ctr"/>
          <a:lstStyle/>
          <a:p>
            <a:pPr algn="ctr"/>
            <a:r>
              <a:rPr lang="en-US" sz="850"/>
              <a:t>Security</a:t>
            </a:r>
          </a:p>
        </p:txBody>
      </p:sp>
      <p:sp>
        <p:nvSpPr>
          <p:cNvPr id="152" name="Left Brace 151">
            <a:extLst>
              <a:ext uri="{FF2B5EF4-FFF2-40B4-BE49-F238E27FC236}">
                <a16:creationId xmlns:a16="http://schemas.microsoft.com/office/drawing/2014/main" id="{0EC8852B-D3F8-B64E-941F-38A119C2014D}"/>
              </a:ext>
            </a:extLst>
          </p:cNvPr>
          <p:cNvSpPr/>
          <p:nvPr/>
        </p:nvSpPr>
        <p:spPr>
          <a:xfrm rot="16200000" flipV="1">
            <a:off x="5960673" y="3003483"/>
            <a:ext cx="216184" cy="5412579"/>
          </a:xfrm>
          <a:prstGeom prst="leftBrace">
            <a:avLst>
              <a:gd name="adj1" fmla="val 0"/>
              <a:gd name="adj2" fmla="val 50000"/>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a:t>﻿﻿</a:t>
            </a:r>
          </a:p>
        </p:txBody>
      </p:sp>
      <p:grpSp>
        <p:nvGrpSpPr>
          <p:cNvPr id="153" name="Group 152">
            <a:extLst>
              <a:ext uri="{FF2B5EF4-FFF2-40B4-BE49-F238E27FC236}">
                <a16:creationId xmlns:a16="http://schemas.microsoft.com/office/drawing/2014/main" id="{5A8D54B3-9639-7C42-9F54-951D2204788C}"/>
              </a:ext>
            </a:extLst>
          </p:cNvPr>
          <p:cNvGrpSpPr/>
          <p:nvPr/>
        </p:nvGrpSpPr>
        <p:grpSpPr>
          <a:xfrm>
            <a:off x="7063434" y="5858700"/>
            <a:ext cx="2162308" cy="798359"/>
            <a:chOff x="7213596" y="5272459"/>
            <a:chExt cx="2162308" cy="798359"/>
          </a:xfrm>
        </p:grpSpPr>
        <p:sp>
          <p:nvSpPr>
            <p:cNvPr id="154" name="TextBox 153">
              <a:extLst>
                <a:ext uri="{FF2B5EF4-FFF2-40B4-BE49-F238E27FC236}">
                  <a16:creationId xmlns:a16="http://schemas.microsoft.com/office/drawing/2014/main" id="{6476AF26-22A1-D44D-B743-67FA281E5A77}"/>
                </a:ext>
              </a:extLst>
            </p:cNvPr>
            <p:cNvSpPr txBox="1"/>
            <p:nvPr/>
          </p:nvSpPr>
          <p:spPr>
            <a:xfrm>
              <a:off x="7213596" y="5272459"/>
              <a:ext cx="2162308" cy="26353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Governance, Security Hardening</a:t>
              </a:r>
            </a:p>
          </p:txBody>
        </p:sp>
        <p:sp>
          <p:nvSpPr>
            <p:cNvPr id="155" name="TextBox 154">
              <a:extLst>
                <a:ext uri="{FF2B5EF4-FFF2-40B4-BE49-F238E27FC236}">
                  <a16:creationId xmlns:a16="http://schemas.microsoft.com/office/drawing/2014/main" id="{E8842245-9E96-4942-AD3F-F15C31A08794}"/>
                </a:ext>
              </a:extLst>
            </p:cNvPr>
            <p:cNvSpPr txBox="1"/>
            <p:nvPr/>
          </p:nvSpPr>
          <p:spPr>
            <a:xfrm>
              <a:off x="7302130" y="5457298"/>
              <a:ext cx="1985240"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Enterprise ready security and governance for data storage, usage, and compliance.</a:t>
              </a:r>
            </a:p>
          </p:txBody>
        </p:sp>
      </p:grpSp>
      <p:cxnSp>
        <p:nvCxnSpPr>
          <p:cNvPr id="118" name="Straight Connector 74">
            <a:extLst>
              <a:ext uri="{FF2B5EF4-FFF2-40B4-BE49-F238E27FC236}">
                <a16:creationId xmlns:a16="http://schemas.microsoft.com/office/drawing/2014/main" id="{0FE8ED28-68C7-1345-AACB-DA8E4507B406}"/>
              </a:ext>
            </a:extLst>
          </p:cNvPr>
          <p:cNvCxnSpPr>
            <a:cxnSpLocks/>
          </p:cNvCxnSpPr>
          <p:nvPr/>
        </p:nvCxnSpPr>
        <p:spPr>
          <a:xfrm>
            <a:off x="6633043" y="4522154"/>
            <a:ext cx="938431" cy="12700"/>
          </a:xfrm>
          <a:prstGeom prst="bentConnector3">
            <a:avLst>
              <a:gd name="adj1" fmla="val 50000"/>
            </a:avLst>
          </a:prstGeom>
          <a:noFill/>
          <a:ln w="22225" cmpd="sng">
            <a:solidFill>
              <a:srgbClr val="D6D6D6"/>
            </a:solidFill>
            <a:tailEnd type="triangle"/>
          </a:ln>
          <a:effectLst/>
        </p:spPr>
      </p:cxnSp>
      <p:sp>
        <p:nvSpPr>
          <p:cNvPr id="157" name="TextBox 156">
            <a:extLst>
              <a:ext uri="{FF2B5EF4-FFF2-40B4-BE49-F238E27FC236}">
                <a16:creationId xmlns:a16="http://schemas.microsoft.com/office/drawing/2014/main" id="{4AF849C0-4D67-0D40-8F9A-046F645AD847}"/>
              </a:ext>
            </a:extLst>
          </p:cNvPr>
          <p:cNvSpPr txBox="1"/>
          <p:nvPr/>
        </p:nvSpPr>
        <p:spPr>
          <a:xfrm>
            <a:off x="2571384" y="1423222"/>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C00000"/>
                </a:solidFill>
                <a:latin typeface="+mn-lt"/>
              </a:rPr>
              <a:t>EDAV</a:t>
            </a:r>
          </a:p>
        </p:txBody>
      </p:sp>
      <p:sp>
        <p:nvSpPr>
          <p:cNvPr id="160" name="TextBox 159">
            <a:extLst>
              <a:ext uri="{FF2B5EF4-FFF2-40B4-BE49-F238E27FC236}">
                <a16:creationId xmlns:a16="http://schemas.microsoft.com/office/drawing/2014/main" id="{F4C50FA6-CAEF-6A45-A73D-6A52596D0E72}"/>
              </a:ext>
            </a:extLst>
          </p:cNvPr>
          <p:cNvSpPr txBox="1"/>
          <p:nvPr/>
        </p:nvSpPr>
        <p:spPr>
          <a:xfrm>
            <a:off x="8264383" y="3104320"/>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0070C0"/>
                </a:solidFill>
                <a:latin typeface="+mn-lt"/>
              </a:rPr>
              <a:t>ECPaaS</a:t>
            </a:r>
          </a:p>
        </p:txBody>
      </p:sp>
      <p:sp>
        <p:nvSpPr>
          <p:cNvPr id="101" name="Rectangle 100">
            <a:extLst>
              <a:ext uri="{FF2B5EF4-FFF2-40B4-BE49-F238E27FC236}">
                <a16:creationId xmlns:a16="http://schemas.microsoft.com/office/drawing/2014/main" id="{CB5FC961-83C9-2B42-BF0F-34AB419EC287}"/>
              </a:ext>
            </a:extLst>
          </p:cNvPr>
          <p:cNvSpPr/>
          <p:nvPr/>
        </p:nvSpPr>
        <p:spPr>
          <a:xfrm>
            <a:off x="6254451" y="-61207"/>
            <a:ext cx="914400" cy="284117"/>
          </a:xfrm>
          <a:prstGeom prst="rect">
            <a:avLst/>
          </a:prstGeom>
          <a:noFill/>
          <a:ln w="6350" algn="ctr">
            <a:noFill/>
            <a:miter lim="800000"/>
            <a:headEnd type="none" w="sm" len="sm"/>
            <a:tailEnd type="none" w="sm" len="sm"/>
          </a:ln>
        </p:spPr>
        <p:txBody>
          <a:bodyPr wrap="square" lIns="0" tIns="0" rIns="0" bIns="0" anchor="ctr"/>
          <a:lstStyle/>
          <a:p>
            <a:pPr algn="ctr"/>
            <a:r>
              <a:rPr lang="en-US" sz="850"/>
              <a:t>Data Catalog</a:t>
            </a:r>
          </a:p>
        </p:txBody>
      </p:sp>
      <p:sp>
        <p:nvSpPr>
          <p:cNvPr id="109" name="Rectangle 108">
            <a:extLst>
              <a:ext uri="{FF2B5EF4-FFF2-40B4-BE49-F238E27FC236}">
                <a16:creationId xmlns:a16="http://schemas.microsoft.com/office/drawing/2014/main" id="{C9CDBF9E-DC05-BB43-AAC6-25A18FA8F2F9}"/>
              </a:ext>
            </a:extLst>
          </p:cNvPr>
          <p:cNvSpPr/>
          <p:nvPr/>
        </p:nvSpPr>
        <p:spPr>
          <a:xfrm>
            <a:off x="6281440" y="1028922"/>
            <a:ext cx="914400" cy="229472"/>
          </a:xfrm>
          <a:prstGeom prst="rect">
            <a:avLst/>
          </a:prstGeom>
          <a:noFill/>
          <a:ln w="6350" algn="ctr">
            <a:noFill/>
            <a:miter lim="800000"/>
            <a:headEnd type="none" w="sm" len="sm"/>
            <a:tailEnd type="none" w="sm" len="sm"/>
          </a:ln>
        </p:spPr>
        <p:txBody>
          <a:bodyPr wrap="square" lIns="0" tIns="0" rIns="0" bIns="0" anchor="ctr"/>
          <a:lstStyle/>
          <a:p>
            <a:pPr algn="ctr"/>
            <a:r>
              <a:rPr lang="en-US" sz="850"/>
              <a:t>Search Engine</a:t>
            </a:r>
          </a:p>
        </p:txBody>
      </p:sp>
      <p:cxnSp>
        <p:nvCxnSpPr>
          <p:cNvPr id="111" name="Straight Connector 74">
            <a:extLst>
              <a:ext uri="{FF2B5EF4-FFF2-40B4-BE49-F238E27FC236}">
                <a16:creationId xmlns:a16="http://schemas.microsoft.com/office/drawing/2014/main" id="{CECB1495-DB17-A541-80D7-598E396CA052}"/>
              </a:ext>
            </a:extLst>
          </p:cNvPr>
          <p:cNvCxnSpPr>
            <a:cxnSpLocks/>
          </p:cNvCxnSpPr>
          <p:nvPr/>
        </p:nvCxnSpPr>
        <p:spPr>
          <a:xfrm>
            <a:off x="8513090" y="363678"/>
            <a:ext cx="322339" cy="0"/>
          </a:xfrm>
          <a:prstGeom prst="straightConnector1">
            <a:avLst/>
          </a:prstGeom>
          <a:noFill/>
          <a:ln w="22225" cmpd="sng">
            <a:solidFill>
              <a:srgbClr val="D6D6D6"/>
            </a:solidFill>
            <a:tailEnd type="triangle"/>
          </a:ln>
          <a:effectLst/>
        </p:spPr>
      </p:cxnSp>
      <p:cxnSp>
        <p:nvCxnSpPr>
          <p:cNvPr id="117" name="Straight Connector 74">
            <a:extLst>
              <a:ext uri="{FF2B5EF4-FFF2-40B4-BE49-F238E27FC236}">
                <a16:creationId xmlns:a16="http://schemas.microsoft.com/office/drawing/2014/main" id="{83A1EFA9-CD51-D44B-B2E1-8DA71902DE58}"/>
              </a:ext>
            </a:extLst>
          </p:cNvPr>
          <p:cNvCxnSpPr>
            <a:cxnSpLocks/>
          </p:cNvCxnSpPr>
          <p:nvPr/>
        </p:nvCxnSpPr>
        <p:spPr>
          <a:xfrm flipH="1">
            <a:off x="5337711" y="-76478"/>
            <a:ext cx="3832158" cy="2322"/>
          </a:xfrm>
          <a:prstGeom prst="bentConnector5">
            <a:avLst>
              <a:gd name="adj1" fmla="val 284"/>
              <a:gd name="adj2" fmla="val -30198880"/>
              <a:gd name="adj3" fmla="val 99986"/>
            </a:avLst>
          </a:prstGeom>
          <a:noFill/>
          <a:ln w="22225" cmpd="sng">
            <a:solidFill>
              <a:srgbClr val="D6D6D6"/>
            </a:solidFill>
            <a:prstDash val="dash"/>
            <a:tailEnd type="triangle"/>
          </a:ln>
          <a:effectLst/>
        </p:spPr>
      </p:cxnSp>
      <p:grpSp>
        <p:nvGrpSpPr>
          <p:cNvPr id="120" name="Group 119">
            <a:extLst>
              <a:ext uri="{FF2B5EF4-FFF2-40B4-BE49-F238E27FC236}">
                <a16:creationId xmlns:a16="http://schemas.microsoft.com/office/drawing/2014/main" id="{FD51AEEC-8636-3947-ADFE-1AF60941F191}"/>
              </a:ext>
            </a:extLst>
          </p:cNvPr>
          <p:cNvGrpSpPr/>
          <p:nvPr/>
        </p:nvGrpSpPr>
        <p:grpSpPr>
          <a:xfrm>
            <a:off x="6436518" y="-598075"/>
            <a:ext cx="497776" cy="517982"/>
            <a:chOff x="3263749" y="5369359"/>
            <a:chExt cx="497776" cy="517982"/>
          </a:xfrm>
        </p:grpSpPr>
        <p:grpSp>
          <p:nvGrpSpPr>
            <p:cNvPr id="121" name="Group 120">
              <a:extLst>
                <a:ext uri="{FF2B5EF4-FFF2-40B4-BE49-F238E27FC236}">
                  <a16:creationId xmlns:a16="http://schemas.microsoft.com/office/drawing/2014/main" id="{A58C064C-8DEE-4641-BAA1-5E153B413452}"/>
                </a:ext>
              </a:extLst>
            </p:cNvPr>
            <p:cNvGrpSpPr/>
            <p:nvPr/>
          </p:nvGrpSpPr>
          <p:grpSpPr>
            <a:xfrm>
              <a:off x="3360387" y="5489549"/>
              <a:ext cx="307263" cy="313288"/>
              <a:chOff x="2757488" y="230188"/>
              <a:chExt cx="485775" cy="495300"/>
            </a:xfrm>
          </p:grpSpPr>
          <p:sp>
            <p:nvSpPr>
              <p:cNvPr id="123" name="Freeform 94">
                <a:extLst>
                  <a:ext uri="{FF2B5EF4-FFF2-40B4-BE49-F238E27FC236}">
                    <a16:creationId xmlns:a16="http://schemas.microsoft.com/office/drawing/2014/main" id="{035564A6-56F7-614F-94D6-377F187331AD}"/>
                  </a:ext>
                </a:extLst>
              </p:cNvPr>
              <p:cNvSpPr>
                <a:spLocks noEditPoints="1"/>
              </p:cNvSpPr>
              <p:nvPr/>
            </p:nvSpPr>
            <p:spPr bwMode="auto">
              <a:xfrm>
                <a:off x="2757488" y="230188"/>
                <a:ext cx="485775" cy="412750"/>
              </a:xfrm>
              <a:custGeom>
                <a:avLst/>
                <a:gdLst>
                  <a:gd name="T0" fmla="*/ 223 w 237"/>
                  <a:gd name="T1" fmla="*/ 24 h 202"/>
                  <a:gd name="T2" fmla="*/ 67 w 237"/>
                  <a:gd name="T3" fmla="*/ 24 h 202"/>
                  <a:gd name="T4" fmla="*/ 50 w 237"/>
                  <a:gd name="T5" fmla="*/ 0 h 202"/>
                  <a:gd name="T6" fmla="*/ 15 w 237"/>
                  <a:gd name="T7" fmla="*/ 0 h 202"/>
                  <a:gd name="T8" fmla="*/ 0 w 237"/>
                  <a:gd name="T9" fmla="*/ 15 h 202"/>
                  <a:gd name="T10" fmla="*/ 0 w 237"/>
                  <a:gd name="T11" fmla="*/ 188 h 202"/>
                  <a:gd name="T12" fmla="*/ 15 w 237"/>
                  <a:gd name="T13" fmla="*/ 202 h 202"/>
                  <a:gd name="T14" fmla="*/ 65 w 237"/>
                  <a:gd name="T15" fmla="*/ 202 h 202"/>
                  <a:gd name="T16" fmla="*/ 70 w 237"/>
                  <a:gd name="T17" fmla="*/ 197 h 202"/>
                  <a:gd name="T18" fmla="*/ 65 w 237"/>
                  <a:gd name="T19" fmla="*/ 192 h 202"/>
                  <a:gd name="T20" fmla="*/ 15 w 237"/>
                  <a:gd name="T21" fmla="*/ 192 h 202"/>
                  <a:gd name="T22" fmla="*/ 10 w 237"/>
                  <a:gd name="T23" fmla="*/ 188 h 202"/>
                  <a:gd name="T24" fmla="*/ 10 w 237"/>
                  <a:gd name="T25" fmla="*/ 67 h 202"/>
                  <a:gd name="T26" fmla="*/ 228 w 237"/>
                  <a:gd name="T27" fmla="*/ 67 h 202"/>
                  <a:gd name="T28" fmla="*/ 228 w 237"/>
                  <a:gd name="T29" fmla="*/ 188 h 202"/>
                  <a:gd name="T30" fmla="*/ 223 w 237"/>
                  <a:gd name="T31" fmla="*/ 192 h 202"/>
                  <a:gd name="T32" fmla="*/ 185 w 237"/>
                  <a:gd name="T33" fmla="*/ 192 h 202"/>
                  <a:gd name="T34" fmla="*/ 180 w 237"/>
                  <a:gd name="T35" fmla="*/ 197 h 202"/>
                  <a:gd name="T36" fmla="*/ 185 w 237"/>
                  <a:gd name="T37" fmla="*/ 202 h 202"/>
                  <a:gd name="T38" fmla="*/ 223 w 237"/>
                  <a:gd name="T39" fmla="*/ 202 h 202"/>
                  <a:gd name="T40" fmla="*/ 237 w 237"/>
                  <a:gd name="T41" fmla="*/ 188 h 202"/>
                  <a:gd name="T42" fmla="*/ 237 w 237"/>
                  <a:gd name="T43" fmla="*/ 38 h 202"/>
                  <a:gd name="T44" fmla="*/ 223 w 237"/>
                  <a:gd name="T45" fmla="*/ 24 h 202"/>
                  <a:gd name="T46" fmla="*/ 15 w 237"/>
                  <a:gd name="T47" fmla="*/ 10 h 202"/>
                  <a:gd name="T48" fmla="*/ 49 w 237"/>
                  <a:gd name="T49" fmla="*/ 10 h 202"/>
                  <a:gd name="T50" fmla="*/ 60 w 237"/>
                  <a:gd name="T51" fmla="*/ 31 h 202"/>
                  <a:gd name="T52" fmla="*/ 64 w 237"/>
                  <a:gd name="T53" fmla="*/ 34 h 202"/>
                  <a:gd name="T54" fmla="*/ 223 w 237"/>
                  <a:gd name="T55" fmla="*/ 34 h 202"/>
                  <a:gd name="T56" fmla="*/ 228 w 237"/>
                  <a:gd name="T57" fmla="*/ 38 h 202"/>
                  <a:gd name="T58" fmla="*/ 228 w 237"/>
                  <a:gd name="T59" fmla="*/ 57 h 202"/>
                  <a:gd name="T60" fmla="*/ 10 w 237"/>
                  <a:gd name="T61" fmla="*/ 57 h 202"/>
                  <a:gd name="T62" fmla="*/ 10 w 237"/>
                  <a:gd name="T63" fmla="*/ 15 h 202"/>
                  <a:gd name="T64" fmla="*/ 15 w 237"/>
                  <a:gd name="T65" fmla="*/ 1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202">
                    <a:moveTo>
                      <a:pt x="223" y="24"/>
                    </a:moveTo>
                    <a:cubicBezTo>
                      <a:pt x="67" y="24"/>
                      <a:pt x="67" y="24"/>
                      <a:pt x="67" y="24"/>
                    </a:cubicBezTo>
                    <a:cubicBezTo>
                      <a:pt x="58" y="0"/>
                      <a:pt x="52" y="0"/>
                      <a:pt x="50" y="0"/>
                    </a:cubicBezTo>
                    <a:cubicBezTo>
                      <a:pt x="15" y="0"/>
                      <a:pt x="15" y="0"/>
                      <a:pt x="15" y="0"/>
                    </a:cubicBezTo>
                    <a:cubicBezTo>
                      <a:pt x="7" y="0"/>
                      <a:pt x="0" y="7"/>
                      <a:pt x="0" y="15"/>
                    </a:cubicBezTo>
                    <a:cubicBezTo>
                      <a:pt x="0" y="188"/>
                      <a:pt x="0" y="188"/>
                      <a:pt x="0" y="188"/>
                    </a:cubicBezTo>
                    <a:cubicBezTo>
                      <a:pt x="0" y="195"/>
                      <a:pt x="7" y="202"/>
                      <a:pt x="15" y="202"/>
                    </a:cubicBezTo>
                    <a:cubicBezTo>
                      <a:pt x="65" y="202"/>
                      <a:pt x="65" y="202"/>
                      <a:pt x="65" y="202"/>
                    </a:cubicBezTo>
                    <a:cubicBezTo>
                      <a:pt x="67" y="202"/>
                      <a:pt x="70" y="200"/>
                      <a:pt x="70" y="197"/>
                    </a:cubicBezTo>
                    <a:cubicBezTo>
                      <a:pt x="70" y="194"/>
                      <a:pt x="67" y="192"/>
                      <a:pt x="65" y="192"/>
                    </a:cubicBezTo>
                    <a:cubicBezTo>
                      <a:pt x="15" y="192"/>
                      <a:pt x="15" y="192"/>
                      <a:pt x="15" y="192"/>
                    </a:cubicBezTo>
                    <a:cubicBezTo>
                      <a:pt x="12" y="192"/>
                      <a:pt x="10" y="190"/>
                      <a:pt x="10" y="188"/>
                    </a:cubicBezTo>
                    <a:cubicBezTo>
                      <a:pt x="10" y="67"/>
                      <a:pt x="10" y="67"/>
                      <a:pt x="10" y="67"/>
                    </a:cubicBezTo>
                    <a:cubicBezTo>
                      <a:pt x="228" y="67"/>
                      <a:pt x="228" y="67"/>
                      <a:pt x="228" y="67"/>
                    </a:cubicBezTo>
                    <a:cubicBezTo>
                      <a:pt x="228" y="188"/>
                      <a:pt x="228" y="188"/>
                      <a:pt x="228" y="188"/>
                    </a:cubicBezTo>
                    <a:cubicBezTo>
                      <a:pt x="228" y="190"/>
                      <a:pt x="226" y="192"/>
                      <a:pt x="223" y="192"/>
                    </a:cubicBezTo>
                    <a:cubicBezTo>
                      <a:pt x="185" y="192"/>
                      <a:pt x="185" y="192"/>
                      <a:pt x="185" y="192"/>
                    </a:cubicBezTo>
                    <a:cubicBezTo>
                      <a:pt x="182" y="192"/>
                      <a:pt x="180" y="194"/>
                      <a:pt x="180" y="197"/>
                    </a:cubicBezTo>
                    <a:cubicBezTo>
                      <a:pt x="180" y="200"/>
                      <a:pt x="182" y="202"/>
                      <a:pt x="185" y="202"/>
                    </a:cubicBezTo>
                    <a:cubicBezTo>
                      <a:pt x="223" y="202"/>
                      <a:pt x="223" y="202"/>
                      <a:pt x="223" y="202"/>
                    </a:cubicBezTo>
                    <a:cubicBezTo>
                      <a:pt x="231" y="202"/>
                      <a:pt x="237" y="195"/>
                      <a:pt x="237" y="188"/>
                    </a:cubicBezTo>
                    <a:cubicBezTo>
                      <a:pt x="237" y="38"/>
                      <a:pt x="237" y="38"/>
                      <a:pt x="237" y="38"/>
                    </a:cubicBezTo>
                    <a:cubicBezTo>
                      <a:pt x="237" y="31"/>
                      <a:pt x="231" y="24"/>
                      <a:pt x="223" y="24"/>
                    </a:cubicBezTo>
                    <a:close/>
                    <a:moveTo>
                      <a:pt x="15" y="10"/>
                    </a:moveTo>
                    <a:cubicBezTo>
                      <a:pt x="49" y="10"/>
                      <a:pt x="49" y="10"/>
                      <a:pt x="49" y="10"/>
                    </a:cubicBezTo>
                    <a:cubicBezTo>
                      <a:pt x="51" y="12"/>
                      <a:pt x="56" y="22"/>
                      <a:pt x="60" y="31"/>
                    </a:cubicBezTo>
                    <a:cubicBezTo>
                      <a:pt x="60" y="33"/>
                      <a:pt x="62" y="34"/>
                      <a:pt x="64" y="34"/>
                    </a:cubicBezTo>
                    <a:cubicBezTo>
                      <a:pt x="223" y="34"/>
                      <a:pt x="223" y="34"/>
                      <a:pt x="223" y="34"/>
                    </a:cubicBezTo>
                    <a:cubicBezTo>
                      <a:pt x="226" y="34"/>
                      <a:pt x="228" y="36"/>
                      <a:pt x="228" y="38"/>
                    </a:cubicBezTo>
                    <a:cubicBezTo>
                      <a:pt x="228" y="57"/>
                      <a:pt x="228" y="57"/>
                      <a:pt x="228" y="57"/>
                    </a:cubicBezTo>
                    <a:cubicBezTo>
                      <a:pt x="10" y="57"/>
                      <a:pt x="10" y="57"/>
                      <a:pt x="10" y="57"/>
                    </a:cubicBezTo>
                    <a:cubicBezTo>
                      <a:pt x="10" y="15"/>
                      <a:pt x="10" y="15"/>
                      <a:pt x="10" y="15"/>
                    </a:cubicBezTo>
                    <a:cubicBezTo>
                      <a:pt x="10" y="12"/>
                      <a:pt x="12" y="10"/>
                      <a:pt x="1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4" name="Freeform 95">
                <a:extLst>
                  <a:ext uri="{FF2B5EF4-FFF2-40B4-BE49-F238E27FC236}">
                    <a16:creationId xmlns:a16="http://schemas.microsoft.com/office/drawing/2014/main" id="{20194804-799A-CF4C-A503-FCD2096899ED}"/>
                  </a:ext>
                </a:extLst>
              </p:cNvPr>
              <p:cNvSpPr>
                <a:spLocks noEditPoints="1"/>
              </p:cNvSpPr>
              <p:nvPr/>
            </p:nvSpPr>
            <p:spPr bwMode="auto">
              <a:xfrm>
                <a:off x="2849563" y="392113"/>
                <a:ext cx="293688" cy="333375"/>
              </a:xfrm>
              <a:custGeom>
                <a:avLst/>
                <a:gdLst>
                  <a:gd name="T0" fmla="*/ 93 w 143"/>
                  <a:gd name="T1" fmla="*/ 95 h 163"/>
                  <a:gd name="T2" fmla="*/ 109 w 143"/>
                  <a:gd name="T3" fmla="*/ 62 h 163"/>
                  <a:gd name="T4" fmla="*/ 62 w 143"/>
                  <a:gd name="T5" fmla="*/ 3 h 163"/>
                  <a:gd name="T6" fmla="*/ 3 w 143"/>
                  <a:gd name="T7" fmla="*/ 51 h 163"/>
                  <a:gd name="T8" fmla="*/ 50 w 143"/>
                  <a:gd name="T9" fmla="*/ 109 h 163"/>
                  <a:gd name="T10" fmla="*/ 56 w 143"/>
                  <a:gd name="T11" fmla="*/ 110 h 163"/>
                  <a:gd name="T12" fmla="*/ 56 w 143"/>
                  <a:gd name="T13" fmla="*/ 110 h 163"/>
                  <a:gd name="T14" fmla="*/ 86 w 143"/>
                  <a:gd name="T15" fmla="*/ 101 h 163"/>
                  <a:gd name="T16" fmla="*/ 134 w 143"/>
                  <a:gd name="T17" fmla="*/ 161 h 163"/>
                  <a:gd name="T18" fmla="*/ 138 w 143"/>
                  <a:gd name="T19" fmla="*/ 163 h 163"/>
                  <a:gd name="T20" fmla="*/ 141 w 143"/>
                  <a:gd name="T21" fmla="*/ 162 h 163"/>
                  <a:gd name="T22" fmla="*/ 142 w 143"/>
                  <a:gd name="T23" fmla="*/ 155 h 163"/>
                  <a:gd name="T24" fmla="*/ 93 w 143"/>
                  <a:gd name="T25" fmla="*/ 95 h 163"/>
                  <a:gd name="T26" fmla="*/ 51 w 143"/>
                  <a:gd name="T27" fmla="*/ 100 h 163"/>
                  <a:gd name="T28" fmla="*/ 13 w 143"/>
                  <a:gd name="T29" fmla="*/ 52 h 163"/>
                  <a:gd name="T30" fmla="*/ 56 w 143"/>
                  <a:gd name="T31" fmla="*/ 13 h 163"/>
                  <a:gd name="T32" fmla="*/ 61 w 143"/>
                  <a:gd name="T33" fmla="*/ 13 h 163"/>
                  <a:gd name="T34" fmla="*/ 99 w 143"/>
                  <a:gd name="T35" fmla="*/ 61 h 163"/>
                  <a:gd name="T36" fmla="*/ 51 w 143"/>
                  <a:gd name="T37" fmla="*/ 10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163">
                    <a:moveTo>
                      <a:pt x="93" y="95"/>
                    </a:moveTo>
                    <a:cubicBezTo>
                      <a:pt x="102" y="86"/>
                      <a:pt x="108" y="75"/>
                      <a:pt x="109" y="62"/>
                    </a:cubicBezTo>
                    <a:cubicBezTo>
                      <a:pt x="112" y="33"/>
                      <a:pt x="91" y="7"/>
                      <a:pt x="62" y="3"/>
                    </a:cubicBezTo>
                    <a:cubicBezTo>
                      <a:pt x="32" y="0"/>
                      <a:pt x="6" y="22"/>
                      <a:pt x="3" y="51"/>
                    </a:cubicBezTo>
                    <a:cubicBezTo>
                      <a:pt x="0" y="80"/>
                      <a:pt x="21" y="106"/>
                      <a:pt x="50" y="109"/>
                    </a:cubicBezTo>
                    <a:cubicBezTo>
                      <a:pt x="52" y="110"/>
                      <a:pt x="54" y="110"/>
                      <a:pt x="56" y="110"/>
                    </a:cubicBezTo>
                    <a:cubicBezTo>
                      <a:pt x="56" y="110"/>
                      <a:pt x="56" y="110"/>
                      <a:pt x="56" y="110"/>
                    </a:cubicBezTo>
                    <a:cubicBezTo>
                      <a:pt x="67" y="110"/>
                      <a:pt x="77" y="106"/>
                      <a:pt x="86" y="101"/>
                    </a:cubicBezTo>
                    <a:cubicBezTo>
                      <a:pt x="134" y="161"/>
                      <a:pt x="134" y="161"/>
                      <a:pt x="134" y="161"/>
                    </a:cubicBezTo>
                    <a:cubicBezTo>
                      <a:pt x="135" y="162"/>
                      <a:pt x="136" y="163"/>
                      <a:pt x="138" y="163"/>
                    </a:cubicBezTo>
                    <a:cubicBezTo>
                      <a:pt x="139" y="163"/>
                      <a:pt x="140" y="162"/>
                      <a:pt x="141" y="162"/>
                    </a:cubicBezTo>
                    <a:cubicBezTo>
                      <a:pt x="143" y="160"/>
                      <a:pt x="143" y="157"/>
                      <a:pt x="142" y="155"/>
                    </a:cubicBezTo>
                    <a:lnTo>
                      <a:pt x="93" y="95"/>
                    </a:lnTo>
                    <a:close/>
                    <a:moveTo>
                      <a:pt x="51" y="100"/>
                    </a:moveTo>
                    <a:cubicBezTo>
                      <a:pt x="27" y="97"/>
                      <a:pt x="10" y="76"/>
                      <a:pt x="13" y="52"/>
                    </a:cubicBezTo>
                    <a:cubicBezTo>
                      <a:pt x="15" y="30"/>
                      <a:pt x="34" y="13"/>
                      <a:pt x="56" y="13"/>
                    </a:cubicBezTo>
                    <a:cubicBezTo>
                      <a:pt x="57" y="13"/>
                      <a:pt x="59" y="13"/>
                      <a:pt x="61" y="13"/>
                    </a:cubicBezTo>
                    <a:cubicBezTo>
                      <a:pt x="85" y="16"/>
                      <a:pt x="102" y="37"/>
                      <a:pt x="99" y="61"/>
                    </a:cubicBezTo>
                    <a:cubicBezTo>
                      <a:pt x="97" y="85"/>
                      <a:pt x="76" y="102"/>
                      <a:pt x="51" y="10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22" name="Freeform 244">
              <a:extLst>
                <a:ext uri="{FF2B5EF4-FFF2-40B4-BE49-F238E27FC236}">
                  <a16:creationId xmlns:a16="http://schemas.microsoft.com/office/drawing/2014/main" id="{8566A5B9-976E-9D4D-8D63-E6C11BCDA678}"/>
                </a:ext>
              </a:extLst>
            </p:cNvPr>
            <p:cNvSpPr>
              <a:spLocks noEditPoints="1"/>
            </p:cNvSpPr>
            <p:nvPr/>
          </p:nvSpPr>
          <p:spPr bwMode="auto">
            <a:xfrm>
              <a:off x="3263749" y="536935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5" name="Group 124">
            <a:extLst>
              <a:ext uri="{FF2B5EF4-FFF2-40B4-BE49-F238E27FC236}">
                <a16:creationId xmlns:a16="http://schemas.microsoft.com/office/drawing/2014/main" id="{510AA2F5-4458-554C-8577-761E6E3DD807}"/>
              </a:ext>
            </a:extLst>
          </p:cNvPr>
          <p:cNvGrpSpPr/>
          <p:nvPr/>
        </p:nvGrpSpPr>
        <p:grpSpPr>
          <a:xfrm>
            <a:off x="6455249" y="420582"/>
            <a:ext cx="497776" cy="517982"/>
            <a:chOff x="3825224" y="5361349"/>
            <a:chExt cx="497776" cy="517982"/>
          </a:xfrm>
        </p:grpSpPr>
        <p:sp>
          <p:nvSpPr>
            <p:cNvPr id="126" name="Freeform 8">
              <a:extLst>
                <a:ext uri="{FF2B5EF4-FFF2-40B4-BE49-F238E27FC236}">
                  <a16:creationId xmlns:a16="http://schemas.microsoft.com/office/drawing/2014/main" id="{7FC9E492-E323-844D-AAE9-65FD90BD66CE}"/>
                </a:ext>
              </a:extLst>
            </p:cNvPr>
            <p:cNvSpPr>
              <a:spLocks noEditPoints="1"/>
            </p:cNvSpPr>
            <p:nvPr/>
          </p:nvSpPr>
          <p:spPr bwMode="auto">
            <a:xfrm>
              <a:off x="3923634" y="5481333"/>
              <a:ext cx="288044" cy="284498"/>
            </a:xfrm>
            <a:custGeom>
              <a:avLst/>
              <a:gdLst>
                <a:gd name="T0" fmla="*/ 240 w 241"/>
                <a:gd name="T1" fmla="*/ 55 h 238"/>
                <a:gd name="T2" fmla="*/ 240 w 241"/>
                <a:gd name="T3" fmla="*/ 54 h 238"/>
                <a:gd name="T4" fmla="*/ 192 w 241"/>
                <a:gd name="T5" fmla="*/ 0 h 238"/>
                <a:gd name="T6" fmla="*/ 45 w 241"/>
                <a:gd name="T7" fmla="*/ 2 h 238"/>
                <a:gd name="T8" fmla="*/ 1 w 241"/>
                <a:gd name="T9" fmla="*/ 55 h 238"/>
                <a:gd name="T10" fmla="*/ 1 w 241"/>
                <a:gd name="T11" fmla="*/ 56 h 238"/>
                <a:gd name="T12" fmla="*/ 0 w 241"/>
                <a:gd name="T13" fmla="*/ 214 h 238"/>
                <a:gd name="T14" fmla="*/ 217 w 241"/>
                <a:gd name="T15" fmla="*/ 238 h 238"/>
                <a:gd name="T16" fmla="*/ 241 w 241"/>
                <a:gd name="T17" fmla="*/ 57 h 238"/>
                <a:gd name="T18" fmla="*/ 78 w 241"/>
                <a:gd name="T19" fmla="*/ 165 h 238"/>
                <a:gd name="T20" fmla="*/ 10 w 241"/>
                <a:gd name="T21" fmla="*/ 117 h 238"/>
                <a:gd name="T22" fmla="*/ 73 w 241"/>
                <a:gd name="T23" fmla="*/ 133 h 238"/>
                <a:gd name="T24" fmla="*/ 146 w 241"/>
                <a:gd name="T25" fmla="*/ 155 h 238"/>
                <a:gd name="T26" fmla="*/ 168 w 241"/>
                <a:gd name="T27" fmla="*/ 117 h 238"/>
                <a:gd name="T28" fmla="*/ 231 w 241"/>
                <a:gd name="T29" fmla="*/ 165 h 238"/>
                <a:gd name="T30" fmla="*/ 158 w 241"/>
                <a:gd name="T31" fmla="*/ 170 h 238"/>
                <a:gd name="T32" fmla="*/ 146 w 241"/>
                <a:gd name="T33" fmla="*/ 203 h 238"/>
                <a:gd name="T34" fmla="*/ 83 w 241"/>
                <a:gd name="T35" fmla="*/ 191 h 238"/>
                <a:gd name="T36" fmla="*/ 78 w 241"/>
                <a:gd name="T37" fmla="*/ 165 h 238"/>
                <a:gd name="T38" fmla="*/ 146 w 241"/>
                <a:gd name="T39" fmla="*/ 100 h 238"/>
                <a:gd name="T40" fmla="*/ 168 w 241"/>
                <a:gd name="T41" fmla="*/ 62 h 238"/>
                <a:gd name="T42" fmla="*/ 231 w 241"/>
                <a:gd name="T43" fmla="*/ 107 h 238"/>
                <a:gd name="T44" fmla="*/ 158 w 241"/>
                <a:gd name="T45" fmla="*/ 112 h 238"/>
                <a:gd name="T46" fmla="*/ 146 w 241"/>
                <a:gd name="T47" fmla="*/ 145 h 238"/>
                <a:gd name="T48" fmla="*/ 83 w 241"/>
                <a:gd name="T49" fmla="*/ 133 h 238"/>
                <a:gd name="T50" fmla="*/ 78 w 241"/>
                <a:gd name="T51" fmla="*/ 107 h 238"/>
                <a:gd name="T52" fmla="*/ 10 w 241"/>
                <a:gd name="T53" fmla="*/ 62 h 238"/>
                <a:gd name="T54" fmla="*/ 73 w 241"/>
                <a:gd name="T55" fmla="*/ 78 h 238"/>
                <a:gd name="T56" fmla="*/ 51 w 241"/>
                <a:gd name="T57" fmla="*/ 10 h 238"/>
                <a:gd name="T58" fmla="*/ 226 w 241"/>
                <a:gd name="T59" fmla="*/ 52 h 238"/>
                <a:gd name="T60" fmla="*/ 158 w 241"/>
                <a:gd name="T61" fmla="*/ 57 h 238"/>
                <a:gd name="T62" fmla="*/ 146 w 241"/>
                <a:gd name="T63" fmla="*/ 90 h 238"/>
                <a:gd name="T64" fmla="*/ 83 w 241"/>
                <a:gd name="T65" fmla="*/ 78 h 238"/>
                <a:gd name="T66" fmla="*/ 78 w 241"/>
                <a:gd name="T67" fmla="*/ 52 h 238"/>
                <a:gd name="T68" fmla="*/ 51 w 241"/>
                <a:gd name="T69" fmla="*/ 10 h 238"/>
                <a:gd name="T70" fmla="*/ 24 w 241"/>
                <a:gd name="T71" fmla="*/ 228 h 238"/>
                <a:gd name="T72" fmla="*/ 10 w 241"/>
                <a:gd name="T73" fmla="*/ 175 h 238"/>
                <a:gd name="T74" fmla="*/ 73 w 241"/>
                <a:gd name="T75" fmla="*/ 191 h 238"/>
                <a:gd name="T76" fmla="*/ 146 w 241"/>
                <a:gd name="T77" fmla="*/ 213 h 238"/>
                <a:gd name="T78" fmla="*/ 168 w 241"/>
                <a:gd name="T79" fmla="*/ 175 h 238"/>
                <a:gd name="T80" fmla="*/ 231 w 241"/>
                <a:gd name="T81" fmla="*/ 21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 h="238">
                  <a:moveTo>
                    <a:pt x="241" y="56"/>
                  </a:moveTo>
                  <a:cubicBezTo>
                    <a:pt x="241" y="56"/>
                    <a:pt x="240" y="56"/>
                    <a:pt x="240" y="55"/>
                  </a:cubicBezTo>
                  <a:cubicBezTo>
                    <a:pt x="240" y="55"/>
                    <a:pt x="240" y="55"/>
                    <a:pt x="240" y="55"/>
                  </a:cubicBezTo>
                  <a:cubicBezTo>
                    <a:pt x="240" y="54"/>
                    <a:pt x="240" y="54"/>
                    <a:pt x="240" y="54"/>
                  </a:cubicBezTo>
                  <a:cubicBezTo>
                    <a:pt x="196" y="2"/>
                    <a:pt x="196" y="2"/>
                    <a:pt x="196" y="2"/>
                  </a:cubicBezTo>
                  <a:cubicBezTo>
                    <a:pt x="195" y="1"/>
                    <a:pt x="194" y="0"/>
                    <a:pt x="192" y="0"/>
                  </a:cubicBezTo>
                  <a:cubicBezTo>
                    <a:pt x="49" y="0"/>
                    <a:pt x="49" y="0"/>
                    <a:pt x="49" y="0"/>
                  </a:cubicBezTo>
                  <a:cubicBezTo>
                    <a:pt x="47" y="0"/>
                    <a:pt x="46" y="1"/>
                    <a:pt x="45" y="2"/>
                  </a:cubicBezTo>
                  <a:cubicBezTo>
                    <a:pt x="2" y="54"/>
                    <a:pt x="2" y="54"/>
                    <a:pt x="2" y="54"/>
                  </a:cubicBezTo>
                  <a:cubicBezTo>
                    <a:pt x="1" y="54"/>
                    <a:pt x="1" y="54"/>
                    <a:pt x="1" y="55"/>
                  </a:cubicBezTo>
                  <a:cubicBezTo>
                    <a:pt x="1" y="55"/>
                    <a:pt x="1" y="55"/>
                    <a:pt x="1" y="55"/>
                  </a:cubicBezTo>
                  <a:cubicBezTo>
                    <a:pt x="1" y="56"/>
                    <a:pt x="1" y="56"/>
                    <a:pt x="1" y="56"/>
                  </a:cubicBezTo>
                  <a:cubicBezTo>
                    <a:pt x="1" y="57"/>
                    <a:pt x="0" y="57"/>
                    <a:pt x="0" y="57"/>
                  </a:cubicBezTo>
                  <a:cubicBezTo>
                    <a:pt x="0" y="214"/>
                    <a:pt x="0" y="214"/>
                    <a:pt x="0" y="214"/>
                  </a:cubicBezTo>
                  <a:cubicBezTo>
                    <a:pt x="0" y="227"/>
                    <a:pt x="11" y="238"/>
                    <a:pt x="24" y="238"/>
                  </a:cubicBezTo>
                  <a:cubicBezTo>
                    <a:pt x="217" y="238"/>
                    <a:pt x="217" y="238"/>
                    <a:pt x="217" y="238"/>
                  </a:cubicBezTo>
                  <a:cubicBezTo>
                    <a:pt x="230" y="238"/>
                    <a:pt x="241" y="227"/>
                    <a:pt x="241" y="214"/>
                  </a:cubicBezTo>
                  <a:cubicBezTo>
                    <a:pt x="241" y="57"/>
                    <a:pt x="241" y="57"/>
                    <a:pt x="241" y="57"/>
                  </a:cubicBezTo>
                  <a:cubicBezTo>
                    <a:pt x="241" y="57"/>
                    <a:pt x="241" y="57"/>
                    <a:pt x="241" y="56"/>
                  </a:cubicBezTo>
                  <a:close/>
                  <a:moveTo>
                    <a:pt x="78" y="165"/>
                  </a:moveTo>
                  <a:cubicBezTo>
                    <a:pt x="10" y="165"/>
                    <a:pt x="10" y="165"/>
                    <a:pt x="10" y="165"/>
                  </a:cubicBezTo>
                  <a:cubicBezTo>
                    <a:pt x="10" y="117"/>
                    <a:pt x="10" y="117"/>
                    <a:pt x="10" y="117"/>
                  </a:cubicBezTo>
                  <a:cubicBezTo>
                    <a:pt x="73" y="117"/>
                    <a:pt x="73" y="117"/>
                    <a:pt x="73" y="117"/>
                  </a:cubicBezTo>
                  <a:cubicBezTo>
                    <a:pt x="73" y="133"/>
                    <a:pt x="73" y="133"/>
                    <a:pt x="73" y="133"/>
                  </a:cubicBezTo>
                  <a:cubicBezTo>
                    <a:pt x="73" y="145"/>
                    <a:pt x="83" y="155"/>
                    <a:pt x="95" y="155"/>
                  </a:cubicBezTo>
                  <a:cubicBezTo>
                    <a:pt x="146" y="155"/>
                    <a:pt x="146" y="155"/>
                    <a:pt x="146" y="155"/>
                  </a:cubicBezTo>
                  <a:cubicBezTo>
                    <a:pt x="158" y="155"/>
                    <a:pt x="168" y="145"/>
                    <a:pt x="168" y="133"/>
                  </a:cubicBezTo>
                  <a:cubicBezTo>
                    <a:pt x="168" y="117"/>
                    <a:pt x="168" y="117"/>
                    <a:pt x="168" y="117"/>
                  </a:cubicBezTo>
                  <a:cubicBezTo>
                    <a:pt x="231" y="117"/>
                    <a:pt x="231" y="117"/>
                    <a:pt x="231" y="117"/>
                  </a:cubicBezTo>
                  <a:cubicBezTo>
                    <a:pt x="231" y="165"/>
                    <a:pt x="231" y="165"/>
                    <a:pt x="231" y="165"/>
                  </a:cubicBezTo>
                  <a:cubicBezTo>
                    <a:pt x="163" y="165"/>
                    <a:pt x="163" y="165"/>
                    <a:pt x="163" y="165"/>
                  </a:cubicBezTo>
                  <a:cubicBezTo>
                    <a:pt x="160" y="165"/>
                    <a:pt x="158" y="167"/>
                    <a:pt x="158" y="170"/>
                  </a:cubicBezTo>
                  <a:cubicBezTo>
                    <a:pt x="158" y="191"/>
                    <a:pt x="158" y="191"/>
                    <a:pt x="158" y="191"/>
                  </a:cubicBezTo>
                  <a:cubicBezTo>
                    <a:pt x="158" y="198"/>
                    <a:pt x="153" y="203"/>
                    <a:pt x="146" y="203"/>
                  </a:cubicBezTo>
                  <a:cubicBezTo>
                    <a:pt x="95" y="203"/>
                    <a:pt x="95" y="203"/>
                    <a:pt x="95" y="203"/>
                  </a:cubicBezTo>
                  <a:cubicBezTo>
                    <a:pt x="88" y="203"/>
                    <a:pt x="83" y="198"/>
                    <a:pt x="83" y="191"/>
                  </a:cubicBezTo>
                  <a:cubicBezTo>
                    <a:pt x="83" y="170"/>
                    <a:pt x="83" y="170"/>
                    <a:pt x="83" y="170"/>
                  </a:cubicBezTo>
                  <a:cubicBezTo>
                    <a:pt x="83" y="167"/>
                    <a:pt x="81" y="165"/>
                    <a:pt x="78" y="165"/>
                  </a:cubicBezTo>
                  <a:close/>
                  <a:moveTo>
                    <a:pt x="95" y="100"/>
                  </a:moveTo>
                  <a:cubicBezTo>
                    <a:pt x="146" y="100"/>
                    <a:pt x="146" y="100"/>
                    <a:pt x="146" y="100"/>
                  </a:cubicBezTo>
                  <a:cubicBezTo>
                    <a:pt x="158" y="100"/>
                    <a:pt x="168" y="90"/>
                    <a:pt x="168" y="78"/>
                  </a:cubicBezTo>
                  <a:cubicBezTo>
                    <a:pt x="168" y="62"/>
                    <a:pt x="168" y="62"/>
                    <a:pt x="168" y="62"/>
                  </a:cubicBezTo>
                  <a:cubicBezTo>
                    <a:pt x="231" y="62"/>
                    <a:pt x="231" y="62"/>
                    <a:pt x="231" y="62"/>
                  </a:cubicBezTo>
                  <a:cubicBezTo>
                    <a:pt x="231" y="107"/>
                    <a:pt x="231" y="107"/>
                    <a:pt x="231" y="107"/>
                  </a:cubicBezTo>
                  <a:cubicBezTo>
                    <a:pt x="163" y="107"/>
                    <a:pt x="163" y="107"/>
                    <a:pt x="163" y="107"/>
                  </a:cubicBezTo>
                  <a:cubicBezTo>
                    <a:pt x="160" y="107"/>
                    <a:pt x="158" y="109"/>
                    <a:pt x="158" y="112"/>
                  </a:cubicBezTo>
                  <a:cubicBezTo>
                    <a:pt x="158" y="133"/>
                    <a:pt x="158" y="133"/>
                    <a:pt x="158" y="133"/>
                  </a:cubicBezTo>
                  <a:cubicBezTo>
                    <a:pt x="158" y="140"/>
                    <a:pt x="153" y="145"/>
                    <a:pt x="146" y="145"/>
                  </a:cubicBezTo>
                  <a:cubicBezTo>
                    <a:pt x="95" y="145"/>
                    <a:pt x="95" y="145"/>
                    <a:pt x="95" y="145"/>
                  </a:cubicBezTo>
                  <a:cubicBezTo>
                    <a:pt x="88" y="145"/>
                    <a:pt x="83" y="140"/>
                    <a:pt x="83" y="133"/>
                  </a:cubicBezTo>
                  <a:cubicBezTo>
                    <a:pt x="83" y="112"/>
                    <a:pt x="83" y="112"/>
                    <a:pt x="83" y="112"/>
                  </a:cubicBezTo>
                  <a:cubicBezTo>
                    <a:pt x="83" y="109"/>
                    <a:pt x="81" y="107"/>
                    <a:pt x="78" y="107"/>
                  </a:cubicBezTo>
                  <a:cubicBezTo>
                    <a:pt x="10" y="107"/>
                    <a:pt x="10" y="107"/>
                    <a:pt x="10" y="107"/>
                  </a:cubicBezTo>
                  <a:cubicBezTo>
                    <a:pt x="10" y="62"/>
                    <a:pt x="10" y="62"/>
                    <a:pt x="10" y="62"/>
                  </a:cubicBezTo>
                  <a:cubicBezTo>
                    <a:pt x="73" y="62"/>
                    <a:pt x="73" y="62"/>
                    <a:pt x="73" y="62"/>
                  </a:cubicBezTo>
                  <a:cubicBezTo>
                    <a:pt x="73" y="78"/>
                    <a:pt x="73" y="78"/>
                    <a:pt x="73" y="78"/>
                  </a:cubicBezTo>
                  <a:cubicBezTo>
                    <a:pt x="73" y="90"/>
                    <a:pt x="83" y="100"/>
                    <a:pt x="95" y="100"/>
                  </a:cubicBezTo>
                  <a:close/>
                  <a:moveTo>
                    <a:pt x="51" y="10"/>
                  </a:moveTo>
                  <a:cubicBezTo>
                    <a:pt x="190" y="10"/>
                    <a:pt x="190" y="10"/>
                    <a:pt x="190" y="10"/>
                  </a:cubicBezTo>
                  <a:cubicBezTo>
                    <a:pt x="226" y="52"/>
                    <a:pt x="226" y="52"/>
                    <a:pt x="226" y="52"/>
                  </a:cubicBezTo>
                  <a:cubicBezTo>
                    <a:pt x="163" y="52"/>
                    <a:pt x="163" y="52"/>
                    <a:pt x="163" y="52"/>
                  </a:cubicBezTo>
                  <a:cubicBezTo>
                    <a:pt x="160" y="52"/>
                    <a:pt x="158" y="54"/>
                    <a:pt x="158" y="57"/>
                  </a:cubicBezTo>
                  <a:cubicBezTo>
                    <a:pt x="158" y="78"/>
                    <a:pt x="158" y="78"/>
                    <a:pt x="158" y="78"/>
                  </a:cubicBezTo>
                  <a:cubicBezTo>
                    <a:pt x="158" y="85"/>
                    <a:pt x="153" y="90"/>
                    <a:pt x="146" y="90"/>
                  </a:cubicBezTo>
                  <a:cubicBezTo>
                    <a:pt x="95" y="90"/>
                    <a:pt x="95" y="90"/>
                    <a:pt x="95" y="90"/>
                  </a:cubicBezTo>
                  <a:cubicBezTo>
                    <a:pt x="88" y="90"/>
                    <a:pt x="83" y="85"/>
                    <a:pt x="83" y="78"/>
                  </a:cubicBezTo>
                  <a:cubicBezTo>
                    <a:pt x="83" y="57"/>
                    <a:pt x="83" y="57"/>
                    <a:pt x="83" y="57"/>
                  </a:cubicBezTo>
                  <a:cubicBezTo>
                    <a:pt x="83" y="54"/>
                    <a:pt x="81" y="52"/>
                    <a:pt x="78" y="52"/>
                  </a:cubicBezTo>
                  <a:cubicBezTo>
                    <a:pt x="16" y="52"/>
                    <a:pt x="16" y="52"/>
                    <a:pt x="16" y="52"/>
                  </a:cubicBezTo>
                  <a:lnTo>
                    <a:pt x="51" y="10"/>
                  </a:lnTo>
                  <a:close/>
                  <a:moveTo>
                    <a:pt x="217" y="228"/>
                  </a:moveTo>
                  <a:cubicBezTo>
                    <a:pt x="24" y="228"/>
                    <a:pt x="24" y="228"/>
                    <a:pt x="24" y="228"/>
                  </a:cubicBezTo>
                  <a:cubicBezTo>
                    <a:pt x="16" y="228"/>
                    <a:pt x="10" y="222"/>
                    <a:pt x="10" y="214"/>
                  </a:cubicBezTo>
                  <a:cubicBezTo>
                    <a:pt x="10" y="175"/>
                    <a:pt x="10" y="175"/>
                    <a:pt x="10" y="175"/>
                  </a:cubicBezTo>
                  <a:cubicBezTo>
                    <a:pt x="73" y="175"/>
                    <a:pt x="73" y="175"/>
                    <a:pt x="73" y="175"/>
                  </a:cubicBezTo>
                  <a:cubicBezTo>
                    <a:pt x="73" y="191"/>
                    <a:pt x="73" y="191"/>
                    <a:pt x="73" y="191"/>
                  </a:cubicBezTo>
                  <a:cubicBezTo>
                    <a:pt x="73" y="203"/>
                    <a:pt x="83" y="213"/>
                    <a:pt x="95" y="213"/>
                  </a:cubicBezTo>
                  <a:cubicBezTo>
                    <a:pt x="146" y="213"/>
                    <a:pt x="146" y="213"/>
                    <a:pt x="146" y="213"/>
                  </a:cubicBezTo>
                  <a:cubicBezTo>
                    <a:pt x="158" y="213"/>
                    <a:pt x="168" y="203"/>
                    <a:pt x="168" y="191"/>
                  </a:cubicBezTo>
                  <a:cubicBezTo>
                    <a:pt x="168" y="175"/>
                    <a:pt x="168" y="175"/>
                    <a:pt x="168" y="175"/>
                  </a:cubicBezTo>
                  <a:cubicBezTo>
                    <a:pt x="231" y="175"/>
                    <a:pt x="231" y="175"/>
                    <a:pt x="231" y="175"/>
                  </a:cubicBezTo>
                  <a:cubicBezTo>
                    <a:pt x="231" y="214"/>
                    <a:pt x="231" y="214"/>
                    <a:pt x="231" y="214"/>
                  </a:cubicBezTo>
                  <a:cubicBezTo>
                    <a:pt x="231" y="222"/>
                    <a:pt x="225" y="228"/>
                    <a:pt x="217" y="2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7" name="Freeform 244">
              <a:extLst>
                <a:ext uri="{FF2B5EF4-FFF2-40B4-BE49-F238E27FC236}">
                  <a16:creationId xmlns:a16="http://schemas.microsoft.com/office/drawing/2014/main" id="{856F7A29-C751-7A40-A7CE-187690F7FB76}"/>
                </a:ext>
              </a:extLst>
            </p:cNvPr>
            <p:cNvSpPr>
              <a:spLocks noEditPoints="1"/>
            </p:cNvSpPr>
            <p:nvPr/>
          </p:nvSpPr>
          <p:spPr bwMode="auto">
            <a:xfrm>
              <a:off x="3825224" y="5361349"/>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8" name="Group 127">
            <a:extLst>
              <a:ext uri="{FF2B5EF4-FFF2-40B4-BE49-F238E27FC236}">
                <a16:creationId xmlns:a16="http://schemas.microsoft.com/office/drawing/2014/main" id="{3E7E20C0-F064-2C41-9B1C-15D7D86308ED}"/>
              </a:ext>
            </a:extLst>
          </p:cNvPr>
          <p:cNvGrpSpPr/>
          <p:nvPr/>
        </p:nvGrpSpPr>
        <p:grpSpPr>
          <a:xfrm>
            <a:off x="7808411" y="50880"/>
            <a:ext cx="497776" cy="517982"/>
            <a:chOff x="2711368" y="5371524"/>
            <a:chExt cx="497776" cy="517982"/>
          </a:xfrm>
        </p:grpSpPr>
        <p:sp>
          <p:nvSpPr>
            <p:cNvPr id="129" name="Freeform 77">
              <a:extLst>
                <a:ext uri="{FF2B5EF4-FFF2-40B4-BE49-F238E27FC236}">
                  <a16:creationId xmlns:a16="http://schemas.microsoft.com/office/drawing/2014/main" id="{436BBC48-7CBA-C340-8E4C-6CB3ED130BEA}"/>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9" name="Freeform 244">
              <a:extLst>
                <a:ext uri="{FF2B5EF4-FFF2-40B4-BE49-F238E27FC236}">
                  <a16:creationId xmlns:a16="http://schemas.microsoft.com/office/drawing/2014/main" id="{007BB8F1-0733-8349-816A-81D41B53BAFE}"/>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56" name="Rectangle 155">
            <a:extLst>
              <a:ext uri="{FF2B5EF4-FFF2-40B4-BE49-F238E27FC236}">
                <a16:creationId xmlns:a16="http://schemas.microsoft.com/office/drawing/2014/main" id="{D94AABBD-F35F-6248-B6C9-F11F2BED06C3}"/>
              </a:ext>
            </a:extLst>
          </p:cNvPr>
          <p:cNvSpPr/>
          <p:nvPr/>
        </p:nvSpPr>
        <p:spPr>
          <a:xfrm>
            <a:off x="7591117" y="749769"/>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Analytic Training</a:t>
            </a:r>
          </a:p>
        </p:txBody>
      </p:sp>
      <p:grpSp>
        <p:nvGrpSpPr>
          <p:cNvPr id="158" name="Group 157">
            <a:extLst>
              <a:ext uri="{FF2B5EF4-FFF2-40B4-BE49-F238E27FC236}">
                <a16:creationId xmlns:a16="http://schemas.microsoft.com/office/drawing/2014/main" id="{DE77C7B6-179E-8543-A598-BC5D601DE571}"/>
              </a:ext>
            </a:extLst>
          </p:cNvPr>
          <p:cNvGrpSpPr/>
          <p:nvPr/>
        </p:nvGrpSpPr>
        <p:grpSpPr>
          <a:xfrm>
            <a:off x="4779634" y="-1326772"/>
            <a:ext cx="1756474" cy="791158"/>
            <a:chOff x="7386994" y="1990138"/>
            <a:chExt cx="1756474" cy="791158"/>
          </a:xfrm>
        </p:grpSpPr>
        <p:sp>
          <p:nvSpPr>
            <p:cNvPr id="161" name="TextBox 160">
              <a:extLst>
                <a:ext uri="{FF2B5EF4-FFF2-40B4-BE49-F238E27FC236}">
                  <a16:creationId xmlns:a16="http://schemas.microsoft.com/office/drawing/2014/main" id="{DC52158C-DBC5-6A49-BD21-3C1324094BC0}"/>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Analytics Workbench</a:t>
              </a:r>
            </a:p>
          </p:txBody>
        </p:sp>
        <p:sp>
          <p:nvSpPr>
            <p:cNvPr id="162" name="TextBox 161">
              <a:extLst>
                <a:ext uri="{FF2B5EF4-FFF2-40B4-BE49-F238E27FC236}">
                  <a16:creationId xmlns:a16="http://schemas.microsoft.com/office/drawing/2014/main" id="{33C9309F-6EF5-9B4C-BEEF-7EF3D623696A}"/>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endParaRPr lang="en-US" sz="900" b="0">
                <a:solidFill>
                  <a:schemeClr val="tx1"/>
                </a:solidFill>
                <a:latin typeface="+mn-lt"/>
              </a:endParaRPr>
            </a:p>
          </p:txBody>
        </p:sp>
      </p:grpSp>
      <p:grpSp>
        <p:nvGrpSpPr>
          <p:cNvPr id="163" name="Group 162">
            <a:extLst>
              <a:ext uri="{FF2B5EF4-FFF2-40B4-BE49-F238E27FC236}">
                <a16:creationId xmlns:a16="http://schemas.microsoft.com/office/drawing/2014/main" id="{AD57FEE1-1D9B-AA4D-BA81-4ACA7871F429}"/>
              </a:ext>
            </a:extLst>
          </p:cNvPr>
          <p:cNvGrpSpPr/>
          <p:nvPr/>
        </p:nvGrpSpPr>
        <p:grpSpPr>
          <a:xfrm>
            <a:off x="8933698" y="50880"/>
            <a:ext cx="497776" cy="517982"/>
            <a:chOff x="2711368" y="5371524"/>
            <a:chExt cx="497776" cy="517982"/>
          </a:xfrm>
        </p:grpSpPr>
        <p:sp>
          <p:nvSpPr>
            <p:cNvPr id="164" name="Freeform 77">
              <a:extLst>
                <a:ext uri="{FF2B5EF4-FFF2-40B4-BE49-F238E27FC236}">
                  <a16:creationId xmlns:a16="http://schemas.microsoft.com/office/drawing/2014/main" id="{AD9CCE98-1E6E-E14C-903A-6B8BDDD51224}"/>
                </a:ext>
              </a:extLst>
            </p:cNvPr>
            <p:cNvSpPr>
              <a:spLocks noEditPoints="1"/>
            </p:cNvSpPr>
            <p:nvPr/>
          </p:nvSpPr>
          <p:spPr bwMode="auto">
            <a:xfrm>
              <a:off x="2778957" y="5536071"/>
              <a:ext cx="344635" cy="20188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65" name="Freeform 244">
              <a:extLst>
                <a:ext uri="{FF2B5EF4-FFF2-40B4-BE49-F238E27FC236}">
                  <a16:creationId xmlns:a16="http://schemas.microsoft.com/office/drawing/2014/main" id="{AAF48EAA-3DC8-AA4A-BFD8-2C93E8D1265C}"/>
                </a:ext>
              </a:extLst>
            </p:cNvPr>
            <p:cNvSpPr>
              <a:spLocks noEditPoints="1"/>
            </p:cNvSpPr>
            <p:nvPr/>
          </p:nvSpPr>
          <p:spPr bwMode="auto">
            <a:xfrm>
              <a:off x="2711368" y="5371524"/>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3"/>
            </a:solidFill>
            <a:ln>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66" name="Rectangle 165">
            <a:extLst>
              <a:ext uri="{FF2B5EF4-FFF2-40B4-BE49-F238E27FC236}">
                <a16:creationId xmlns:a16="http://schemas.microsoft.com/office/drawing/2014/main" id="{8D88391F-40D2-9D47-9E20-95E70562DF33}"/>
              </a:ext>
            </a:extLst>
          </p:cNvPr>
          <p:cNvSpPr/>
          <p:nvPr/>
        </p:nvSpPr>
        <p:spPr>
          <a:xfrm>
            <a:off x="8703687" y="749769"/>
            <a:ext cx="914400" cy="292272"/>
          </a:xfrm>
          <a:prstGeom prst="rect">
            <a:avLst/>
          </a:prstGeom>
          <a:noFill/>
          <a:ln w="6350" algn="ctr">
            <a:noFill/>
            <a:miter lim="800000"/>
            <a:headEnd type="none" w="sm" len="sm"/>
            <a:tailEnd type="none" w="sm" len="sm"/>
          </a:ln>
        </p:spPr>
        <p:txBody>
          <a:bodyPr wrap="square" lIns="0" tIns="0" rIns="0" bIns="0" anchor="ctr"/>
          <a:lstStyle/>
          <a:p>
            <a:pPr algn="ctr"/>
            <a:r>
              <a:rPr lang="en-US" sz="850"/>
              <a:t>Data Analytic Prediction</a:t>
            </a:r>
          </a:p>
        </p:txBody>
      </p:sp>
      <p:sp>
        <p:nvSpPr>
          <p:cNvPr id="167" name="Rectangle 166">
            <a:extLst>
              <a:ext uri="{FF2B5EF4-FFF2-40B4-BE49-F238E27FC236}">
                <a16:creationId xmlns:a16="http://schemas.microsoft.com/office/drawing/2014/main" id="{F4AF10B7-DD82-FB48-9EB0-8AFF4A0072C0}"/>
              </a:ext>
            </a:extLst>
          </p:cNvPr>
          <p:cNvSpPr/>
          <p:nvPr/>
        </p:nvSpPr>
        <p:spPr>
          <a:xfrm>
            <a:off x="4979501" y="792012"/>
            <a:ext cx="914400" cy="320104"/>
          </a:xfrm>
          <a:prstGeom prst="rect">
            <a:avLst/>
          </a:prstGeom>
          <a:noFill/>
          <a:ln w="6350" algn="ctr">
            <a:noFill/>
            <a:miter lim="800000"/>
            <a:headEnd type="none" w="sm" len="sm"/>
            <a:tailEnd type="none" w="sm" len="sm"/>
          </a:ln>
        </p:spPr>
        <p:txBody>
          <a:bodyPr wrap="square" lIns="0" tIns="0" rIns="0" bIns="0" anchor="ctr"/>
          <a:lstStyle/>
          <a:p>
            <a:pPr algn="ctr"/>
            <a:r>
              <a:rPr lang="en-US" sz="850"/>
              <a:t>Data Bricks / Synapse Analytics</a:t>
            </a:r>
          </a:p>
        </p:txBody>
      </p:sp>
      <p:grpSp>
        <p:nvGrpSpPr>
          <p:cNvPr id="168" name="Group 167">
            <a:extLst>
              <a:ext uri="{FF2B5EF4-FFF2-40B4-BE49-F238E27FC236}">
                <a16:creationId xmlns:a16="http://schemas.microsoft.com/office/drawing/2014/main" id="{52F02E7B-FEFE-A045-BC4C-2C5CAF856EC9}"/>
              </a:ext>
            </a:extLst>
          </p:cNvPr>
          <p:cNvGrpSpPr/>
          <p:nvPr/>
        </p:nvGrpSpPr>
        <p:grpSpPr>
          <a:xfrm>
            <a:off x="5151866" y="50880"/>
            <a:ext cx="497776" cy="517982"/>
            <a:chOff x="2178324" y="5366456"/>
            <a:chExt cx="497776" cy="517982"/>
          </a:xfrm>
        </p:grpSpPr>
        <p:grpSp>
          <p:nvGrpSpPr>
            <p:cNvPr id="169" name="Group 168">
              <a:extLst>
                <a:ext uri="{FF2B5EF4-FFF2-40B4-BE49-F238E27FC236}">
                  <a16:creationId xmlns:a16="http://schemas.microsoft.com/office/drawing/2014/main" id="{4FABCDDE-B39F-744E-B457-EA6E7A437F7C}"/>
                </a:ext>
              </a:extLst>
            </p:cNvPr>
            <p:cNvGrpSpPr/>
            <p:nvPr/>
          </p:nvGrpSpPr>
          <p:grpSpPr>
            <a:xfrm>
              <a:off x="2278655" y="5459540"/>
              <a:ext cx="286037" cy="337619"/>
              <a:chOff x="6145213" y="7040563"/>
              <a:chExt cx="484187" cy="571500"/>
            </a:xfrm>
          </p:grpSpPr>
          <p:sp>
            <p:nvSpPr>
              <p:cNvPr id="171" name="Freeform 365">
                <a:extLst>
                  <a:ext uri="{FF2B5EF4-FFF2-40B4-BE49-F238E27FC236}">
                    <a16:creationId xmlns:a16="http://schemas.microsoft.com/office/drawing/2014/main" id="{57560BC0-7057-4F40-82BA-DDA3D058B4A4}"/>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2" name="Freeform 366">
                <a:extLst>
                  <a:ext uri="{FF2B5EF4-FFF2-40B4-BE49-F238E27FC236}">
                    <a16:creationId xmlns:a16="http://schemas.microsoft.com/office/drawing/2014/main" id="{4986A7C0-DDBF-A84F-A450-C5DD0B3FBE47}"/>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3" name="Freeform 367">
                <a:extLst>
                  <a:ext uri="{FF2B5EF4-FFF2-40B4-BE49-F238E27FC236}">
                    <a16:creationId xmlns:a16="http://schemas.microsoft.com/office/drawing/2014/main" id="{E3440BC5-4D03-4743-A0FA-BF196967B2D4}"/>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4" name="Freeform 368">
                <a:extLst>
                  <a:ext uri="{FF2B5EF4-FFF2-40B4-BE49-F238E27FC236}">
                    <a16:creationId xmlns:a16="http://schemas.microsoft.com/office/drawing/2014/main" id="{A7F27111-00A6-F74F-8EA9-D39FFECC8D87}"/>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5" name="Freeform 369">
                <a:extLst>
                  <a:ext uri="{FF2B5EF4-FFF2-40B4-BE49-F238E27FC236}">
                    <a16:creationId xmlns:a16="http://schemas.microsoft.com/office/drawing/2014/main" id="{ED650607-8D7B-704B-972A-BE320E2932EB}"/>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76" name="Freeform 370">
                <a:extLst>
                  <a:ext uri="{FF2B5EF4-FFF2-40B4-BE49-F238E27FC236}">
                    <a16:creationId xmlns:a16="http://schemas.microsoft.com/office/drawing/2014/main" id="{0F497E1D-75CD-4B41-99B3-D93EB3033A68}"/>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70" name="Freeform 244">
              <a:extLst>
                <a:ext uri="{FF2B5EF4-FFF2-40B4-BE49-F238E27FC236}">
                  <a16:creationId xmlns:a16="http://schemas.microsoft.com/office/drawing/2014/main" id="{B2141B74-B63C-FD44-A742-DFCD9D52BCE9}"/>
                </a:ext>
              </a:extLst>
            </p:cNvPr>
            <p:cNvSpPr>
              <a:spLocks noEditPoints="1"/>
            </p:cNvSpPr>
            <p:nvPr/>
          </p:nvSpPr>
          <p:spPr bwMode="auto">
            <a:xfrm>
              <a:off x="2178324" y="5366456"/>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177" name="Straight Connector 74">
            <a:extLst>
              <a:ext uri="{FF2B5EF4-FFF2-40B4-BE49-F238E27FC236}">
                <a16:creationId xmlns:a16="http://schemas.microsoft.com/office/drawing/2014/main" id="{EE37CCA4-AF0E-7447-ABA7-BDEEA28F6AA8}"/>
              </a:ext>
            </a:extLst>
          </p:cNvPr>
          <p:cNvCxnSpPr>
            <a:cxnSpLocks/>
          </p:cNvCxnSpPr>
          <p:nvPr/>
        </p:nvCxnSpPr>
        <p:spPr>
          <a:xfrm>
            <a:off x="5842994" y="345483"/>
            <a:ext cx="435997" cy="2322"/>
          </a:xfrm>
          <a:prstGeom prst="bentConnector3">
            <a:avLst>
              <a:gd name="adj1" fmla="val 50000"/>
            </a:avLst>
          </a:prstGeom>
          <a:noFill/>
          <a:ln w="22225" cmpd="sng">
            <a:solidFill>
              <a:srgbClr val="D6D6D6"/>
            </a:solidFill>
            <a:tailEnd type="triangle"/>
          </a:ln>
          <a:effectLst/>
        </p:spPr>
      </p:cxnSp>
      <p:sp>
        <p:nvSpPr>
          <p:cNvPr id="178" name="Rectangle 177">
            <a:extLst>
              <a:ext uri="{FF2B5EF4-FFF2-40B4-BE49-F238E27FC236}">
                <a16:creationId xmlns:a16="http://schemas.microsoft.com/office/drawing/2014/main" id="{14B748AC-DF56-494C-9F7E-4992292B629E}"/>
              </a:ext>
            </a:extLst>
          </p:cNvPr>
          <p:cNvSpPr/>
          <p:nvPr/>
        </p:nvSpPr>
        <p:spPr bwMode="gray">
          <a:xfrm>
            <a:off x="4930698" y="-1031042"/>
            <a:ext cx="4801440" cy="2357651"/>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p>
            <a:pPr>
              <a:lnSpc>
                <a:spcPct val="106000"/>
              </a:lnSpc>
              <a:buFont typeface="Wingdings 2" pitchFamily="18" charset="2"/>
              <a:buNone/>
            </a:pPr>
            <a:endParaRPr lang="en-US" sz="1200" b="1"/>
          </a:p>
        </p:txBody>
      </p:sp>
      <p:cxnSp>
        <p:nvCxnSpPr>
          <p:cNvPr id="179" name="Straight Connector 74">
            <a:extLst>
              <a:ext uri="{FF2B5EF4-FFF2-40B4-BE49-F238E27FC236}">
                <a16:creationId xmlns:a16="http://schemas.microsoft.com/office/drawing/2014/main" id="{92518A1E-A696-5D41-A9DC-9B29568D4578}"/>
              </a:ext>
            </a:extLst>
          </p:cNvPr>
          <p:cNvCxnSpPr>
            <a:cxnSpLocks/>
          </p:cNvCxnSpPr>
          <p:nvPr/>
        </p:nvCxnSpPr>
        <p:spPr>
          <a:xfrm>
            <a:off x="7224698" y="354427"/>
            <a:ext cx="435997" cy="2322"/>
          </a:xfrm>
          <a:prstGeom prst="bentConnector3">
            <a:avLst>
              <a:gd name="adj1" fmla="val 50000"/>
            </a:avLst>
          </a:prstGeom>
          <a:noFill/>
          <a:ln w="22225" cmpd="sng">
            <a:solidFill>
              <a:srgbClr val="D6D6D6"/>
            </a:solidFill>
            <a:tailEnd type="triangle"/>
          </a:ln>
          <a:effectLst/>
        </p:spPr>
      </p:cxnSp>
      <p:grpSp>
        <p:nvGrpSpPr>
          <p:cNvPr id="180" name="Group 179">
            <a:extLst>
              <a:ext uri="{FF2B5EF4-FFF2-40B4-BE49-F238E27FC236}">
                <a16:creationId xmlns:a16="http://schemas.microsoft.com/office/drawing/2014/main" id="{AC3CD442-E6DC-6B4D-AF51-A56A43DFF7F4}"/>
              </a:ext>
            </a:extLst>
          </p:cNvPr>
          <p:cNvGrpSpPr/>
          <p:nvPr/>
        </p:nvGrpSpPr>
        <p:grpSpPr>
          <a:xfrm>
            <a:off x="5789316" y="2506573"/>
            <a:ext cx="497776" cy="517982"/>
            <a:chOff x="1653952" y="5387312"/>
            <a:chExt cx="497776" cy="517982"/>
          </a:xfrm>
        </p:grpSpPr>
        <p:sp>
          <p:nvSpPr>
            <p:cNvPr id="181" name="Freeform 578">
              <a:extLst>
                <a:ext uri="{FF2B5EF4-FFF2-40B4-BE49-F238E27FC236}">
                  <a16:creationId xmlns:a16="http://schemas.microsoft.com/office/drawing/2014/main" id="{106469D3-3FF0-FD45-BEAD-4D6D617EE3D9}"/>
                </a:ext>
              </a:extLst>
            </p:cNvPr>
            <p:cNvSpPr>
              <a:spLocks noEditPoints="1"/>
            </p:cNvSpPr>
            <p:nvPr/>
          </p:nvSpPr>
          <p:spPr bwMode="auto">
            <a:xfrm>
              <a:off x="1758537" y="5475243"/>
              <a:ext cx="273406" cy="327594"/>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82" name="Freeform 244">
              <a:extLst>
                <a:ext uri="{FF2B5EF4-FFF2-40B4-BE49-F238E27FC236}">
                  <a16:creationId xmlns:a16="http://schemas.microsoft.com/office/drawing/2014/main" id="{97820022-E4F6-4F4E-92BB-AB37703AB3B0}"/>
                </a:ext>
              </a:extLst>
            </p:cNvPr>
            <p:cNvSpPr>
              <a:spLocks noEditPoints="1"/>
            </p:cNvSpPr>
            <p:nvPr/>
          </p:nvSpPr>
          <p:spPr bwMode="auto">
            <a:xfrm>
              <a:off x="1653952" y="5387312"/>
              <a:ext cx="497776" cy="517982"/>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solidFill>
              <a:schemeClr val="accent2"/>
            </a:solidFill>
            <a:ln>
              <a:solidFill>
                <a:schemeClr val="accent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83" name="Rectangle 182">
            <a:extLst>
              <a:ext uri="{FF2B5EF4-FFF2-40B4-BE49-F238E27FC236}">
                <a16:creationId xmlns:a16="http://schemas.microsoft.com/office/drawing/2014/main" id="{2E859983-D7B8-EA4C-95B0-4DB3BC488B5B}"/>
              </a:ext>
            </a:extLst>
          </p:cNvPr>
          <p:cNvSpPr/>
          <p:nvPr/>
        </p:nvSpPr>
        <p:spPr>
          <a:xfrm>
            <a:off x="5578633" y="3054478"/>
            <a:ext cx="914400" cy="201307"/>
          </a:xfrm>
          <a:prstGeom prst="rect">
            <a:avLst/>
          </a:prstGeom>
          <a:noFill/>
          <a:ln w="6350" algn="ctr">
            <a:noFill/>
            <a:miter lim="800000"/>
            <a:headEnd type="none" w="sm" len="sm"/>
            <a:tailEnd type="none" w="sm" len="sm"/>
          </a:ln>
        </p:spPr>
        <p:txBody>
          <a:bodyPr wrap="square" lIns="0" tIns="0" rIns="0" bIns="0" anchor="ctr"/>
          <a:lstStyle/>
          <a:p>
            <a:pPr algn="ctr"/>
            <a:r>
              <a:rPr lang="en-US" sz="850"/>
              <a:t>Azure Synapse</a:t>
            </a:r>
          </a:p>
        </p:txBody>
      </p:sp>
      <p:cxnSp>
        <p:nvCxnSpPr>
          <p:cNvPr id="197" name="Straight Connector 74">
            <a:extLst>
              <a:ext uri="{FF2B5EF4-FFF2-40B4-BE49-F238E27FC236}">
                <a16:creationId xmlns:a16="http://schemas.microsoft.com/office/drawing/2014/main" id="{C182C979-0B80-DC4F-BBFF-AFAE3D3A20A8}"/>
              </a:ext>
            </a:extLst>
          </p:cNvPr>
          <p:cNvCxnSpPr>
            <a:cxnSpLocks/>
          </p:cNvCxnSpPr>
          <p:nvPr/>
        </p:nvCxnSpPr>
        <p:spPr>
          <a:xfrm rot="16200000" flipV="1">
            <a:off x="5515816" y="1548538"/>
            <a:ext cx="267654" cy="2"/>
          </a:xfrm>
          <a:prstGeom prst="bentConnector3">
            <a:avLst>
              <a:gd name="adj1" fmla="val 50000"/>
            </a:avLst>
          </a:prstGeom>
          <a:noFill/>
          <a:ln w="22225" cmpd="sng">
            <a:solidFill>
              <a:srgbClr val="D6D6D6"/>
            </a:solidFill>
            <a:tailEnd type="triangle"/>
          </a:ln>
          <a:effectLst/>
        </p:spPr>
      </p:cxnSp>
      <p:cxnSp>
        <p:nvCxnSpPr>
          <p:cNvPr id="198" name="Straight Connector 74">
            <a:extLst>
              <a:ext uri="{FF2B5EF4-FFF2-40B4-BE49-F238E27FC236}">
                <a16:creationId xmlns:a16="http://schemas.microsoft.com/office/drawing/2014/main" id="{FD6E5473-568F-4145-B408-74CA9D792F86}"/>
              </a:ext>
            </a:extLst>
          </p:cNvPr>
          <p:cNvCxnSpPr>
            <a:cxnSpLocks/>
          </p:cNvCxnSpPr>
          <p:nvPr/>
        </p:nvCxnSpPr>
        <p:spPr>
          <a:xfrm rot="16200000" flipH="1">
            <a:off x="7927677" y="1835489"/>
            <a:ext cx="595453" cy="12685"/>
          </a:xfrm>
          <a:prstGeom prst="bentConnector3">
            <a:avLst>
              <a:gd name="adj1" fmla="val 50000"/>
            </a:avLst>
          </a:prstGeom>
          <a:noFill/>
          <a:ln w="22225" cmpd="sng">
            <a:solidFill>
              <a:srgbClr val="D6D6D6"/>
            </a:solidFill>
            <a:tailEnd type="triangle"/>
          </a:ln>
          <a:effectLst/>
        </p:spPr>
      </p:cxnSp>
      <p:sp>
        <p:nvSpPr>
          <p:cNvPr id="199" name="TextBox 198">
            <a:extLst>
              <a:ext uri="{FF2B5EF4-FFF2-40B4-BE49-F238E27FC236}">
                <a16:creationId xmlns:a16="http://schemas.microsoft.com/office/drawing/2014/main" id="{ABDEF298-71E1-4D4A-90FB-E1D17DE75C64}"/>
              </a:ext>
            </a:extLst>
          </p:cNvPr>
          <p:cNvSpPr txBox="1"/>
          <p:nvPr/>
        </p:nvSpPr>
        <p:spPr>
          <a:xfrm>
            <a:off x="3750583" y="-1320999"/>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rgbClr val="C00000"/>
                </a:solidFill>
                <a:latin typeface="+mn-lt"/>
              </a:rPr>
              <a:t>EDAV</a:t>
            </a:r>
          </a:p>
        </p:txBody>
      </p:sp>
    </p:spTree>
    <p:extLst>
      <p:ext uri="{BB962C8B-B14F-4D97-AF65-F5344CB8AC3E}">
        <p14:creationId xmlns:p14="http://schemas.microsoft.com/office/powerpoint/2010/main" val="846163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A3621AC-5FB1-4318-AD27-76DF9B57610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17335" y="1296192"/>
            <a:ext cx="9400582" cy="4621633"/>
          </a:xfrm>
          <a:prstGeom prst="rect">
            <a:avLst/>
          </a:prstGeom>
        </p:spPr>
      </p:pic>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a:ea typeface="+mj-lt"/>
                <a:cs typeface="+mj-lt"/>
              </a:rPr>
              <a:t>Future State:</a:t>
            </a:r>
            <a:r>
              <a:rPr lang="en-US"/>
              <a:t> Platform Conceptual Architecture</a:t>
            </a:r>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a:t>NCCDPHP DIP Data Lake</a:t>
            </a:r>
          </a:p>
        </p:txBody>
      </p:sp>
      <p:grpSp>
        <p:nvGrpSpPr>
          <p:cNvPr id="14" name="Group 13">
            <a:extLst>
              <a:ext uri="{FF2B5EF4-FFF2-40B4-BE49-F238E27FC236}">
                <a16:creationId xmlns:a16="http://schemas.microsoft.com/office/drawing/2014/main" id="{51F997C5-6AFD-C941-BF20-B74BBD775F0D}"/>
              </a:ext>
            </a:extLst>
          </p:cNvPr>
          <p:cNvGrpSpPr/>
          <p:nvPr/>
        </p:nvGrpSpPr>
        <p:grpSpPr>
          <a:xfrm>
            <a:off x="2552570" y="2288012"/>
            <a:ext cx="1508920" cy="713958"/>
            <a:chOff x="3340968" y="2002841"/>
            <a:chExt cx="1508920" cy="713958"/>
          </a:xfrm>
        </p:grpSpPr>
        <p:sp>
          <p:nvSpPr>
            <p:cNvPr id="15" name="TextBox 14">
              <a:extLst>
                <a:ext uri="{FF2B5EF4-FFF2-40B4-BE49-F238E27FC236}">
                  <a16:creationId xmlns:a16="http://schemas.microsoft.com/office/drawing/2014/main" id="{66173847-2B5C-6B4A-8CD5-366531AD9C62}"/>
                </a:ext>
              </a:extLst>
            </p:cNvPr>
            <p:cNvSpPr txBox="1"/>
            <p:nvPr/>
          </p:nvSpPr>
          <p:spPr>
            <a:xfrm>
              <a:off x="3371331" y="2002841"/>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Pipeline Orchestration</a:t>
              </a:r>
            </a:p>
          </p:txBody>
        </p:sp>
        <p:sp>
          <p:nvSpPr>
            <p:cNvPr id="16" name="TextBox 15">
              <a:extLst>
                <a:ext uri="{FF2B5EF4-FFF2-40B4-BE49-F238E27FC236}">
                  <a16:creationId xmlns:a16="http://schemas.microsoft.com/office/drawing/2014/main" id="{A1C57F56-02FD-D944-A061-03B52DBC13BE}"/>
                </a:ext>
              </a:extLst>
            </p:cNvPr>
            <p:cNvSpPr txBox="1"/>
            <p:nvPr/>
          </p:nvSpPr>
          <p:spPr>
            <a:xfrm>
              <a:off x="3340968" y="2162808"/>
              <a:ext cx="1478557" cy="553991"/>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Create, schedule, orchestrate, and manage data pipelines and ETL</a:t>
              </a:r>
            </a:p>
          </p:txBody>
        </p:sp>
      </p:grpSp>
      <p:grpSp>
        <p:nvGrpSpPr>
          <p:cNvPr id="17" name="Group 16">
            <a:extLst>
              <a:ext uri="{FF2B5EF4-FFF2-40B4-BE49-F238E27FC236}">
                <a16:creationId xmlns:a16="http://schemas.microsoft.com/office/drawing/2014/main" id="{0ED5E893-D1DA-384E-A53D-29B6E59E2CB4}"/>
              </a:ext>
            </a:extLst>
          </p:cNvPr>
          <p:cNvGrpSpPr/>
          <p:nvPr/>
        </p:nvGrpSpPr>
        <p:grpSpPr>
          <a:xfrm>
            <a:off x="9978401" y="1541211"/>
            <a:ext cx="1756474" cy="751513"/>
            <a:chOff x="5302152" y="1990215"/>
            <a:chExt cx="1756474" cy="751513"/>
          </a:xfrm>
        </p:grpSpPr>
        <p:sp>
          <p:nvSpPr>
            <p:cNvPr id="18" name="TextBox 17">
              <a:extLst>
                <a:ext uri="{FF2B5EF4-FFF2-40B4-BE49-F238E27FC236}">
                  <a16:creationId xmlns:a16="http://schemas.microsoft.com/office/drawing/2014/main" id="{1EA8C22B-7933-514B-AF6D-5872540E63EA}"/>
                </a:ext>
              </a:extLst>
            </p:cNvPr>
            <p:cNvSpPr txBox="1"/>
            <p:nvPr/>
          </p:nvSpPr>
          <p:spPr>
            <a:xfrm>
              <a:off x="5396764" y="1990215"/>
              <a:ext cx="1661862" cy="253832"/>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Analytics Platform</a:t>
              </a:r>
            </a:p>
          </p:txBody>
        </p:sp>
        <p:sp>
          <p:nvSpPr>
            <p:cNvPr id="19" name="TextBox 18">
              <a:extLst>
                <a:ext uri="{FF2B5EF4-FFF2-40B4-BE49-F238E27FC236}">
                  <a16:creationId xmlns:a16="http://schemas.microsoft.com/office/drawing/2014/main" id="{BE3FCE27-3F4E-DF4C-91AF-3CC4F22BC61B}"/>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Leverage unified synapse service for data integration, enterprise data warehousing, and big data analytics.</a:t>
              </a:r>
            </a:p>
          </p:txBody>
        </p:sp>
      </p:grpSp>
      <p:grpSp>
        <p:nvGrpSpPr>
          <p:cNvPr id="20" name="Group 19">
            <a:extLst>
              <a:ext uri="{FF2B5EF4-FFF2-40B4-BE49-F238E27FC236}">
                <a16:creationId xmlns:a16="http://schemas.microsoft.com/office/drawing/2014/main" id="{30FDA194-81A5-074C-8CA2-5E858B824269}"/>
              </a:ext>
            </a:extLst>
          </p:cNvPr>
          <p:cNvGrpSpPr/>
          <p:nvPr/>
        </p:nvGrpSpPr>
        <p:grpSpPr>
          <a:xfrm>
            <a:off x="4978432" y="2249412"/>
            <a:ext cx="1756474" cy="791158"/>
            <a:chOff x="7386994" y="1990138"/>
            <a:chExt cx="1756474" cy="791158"/>
          </a:xfrm>
        </p:grpSpPr>
        <p:sp>
          <p:nvSpPr>
            <p:cNvPr id="21" name="TextBox 20">
              <a:extLst>
                <a:ext uri="{FF2B5EF4-FFF2-40B4-BE49-F238E27FC236}">
                  <a16:creationId xmlns:a16="http://schemas.microsoft.com/office/drawing/2014/main" id="{C37C23A1-88D0-4C4E-9413-2DFEB1EF4B68}"/>
                </a:ext>
              </a:extLst>
            </p:cNvPr>
            <p:cNvSpPr txBox="1"/>
            <p:nvPr/>
          </p:nvSpPr>
          <p:spPr>
            <a:xfrm>
              <a:off x="7555471" y="1990138"/>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ervices</a:t>
              </a:r>
            </a:p>
          </p:txBody>
        </p:sp>
        <p:sp>
          <p:nvSpPr>
            <p:cNvPr id="22" name="TextBox 21">
              <a:extLst>
                <a:ext uri="{FF2B5EF4-FFF2-40B4-BE49-F238E27FC236}">
                  <a16:creationId xmlns:a16="http://schemas.microsoft.com/office/drawing/2014/main" id="{65BC089F-8E97-F84E-9DD4-21265FAEADCB}"/>
                </a:ext>
              </a:extLst>
            </p:cNvPr>
            <p:cNvSpPr txBox="1"/>
            <p:nvPr/>
          </p:nvSpPr>
          <p:spPr>
            <a:xfrm>
              <a:off x="7386994" y="2167776"/>
              <a:ext cx="1756474" cy="61352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earch and automatic catalog services to enable discoverability and insights</a:t>
              </a:r>
            </a:p>
          </p:txBody>
        </p:sp>
      </p:grpSp>
      <p:grpSp>
        <p:nvGrpSpPr>
          <p:cNvPr id="23" name="Group 22">
            <a:extLst>
              <a:ext uri="{FF2B5EF4-FFF2-40B4-BE49-F238E27FC236}">
                <a16:creationId xmlns:a16="http://schemas.microsoft.com/office/drawing/2014/main" id="{3BD1D5FD-B93A-194D-90FD-97BD2A218889}"/>
              </a:ext>
            </a:extLst>
          </p:cNvPr>
          <p:cNvGrpSpPr/>
          <p:nvPr/>
        </p:nvGrpSpPr>
        <p:grpSpPr>
          <a:xfrm>
            <a:off x="9973049" y="4450341"/>
            <a:ext cx="1761826" cy="728454"/>
            <a:chOff x="9478690" y="2325056"/>
            <a:chExt cx="1761826" cy="728454"/>
          </a:xfrm>
        </p:grpSpPr>
        <p:sp>
          <p:nvSpPr>
            <p:cNvPr id="24" name="TextBox 23">
              <a:extLst>
                <a:ext uri="{FF2B5EF4-FFF2-40B4-BE49-F238E27FC236}">
                  <a16:creationId xmlns:a16="http://schemas.microsoft.com/office/drawing/2014/main" id="{DA37C4B8-A43F-EA4F-906D-7891882D60B7}"/>
                </a:ext>
              </a:extLst>
            </p:cNvPr>
            <p:cNvSpPr txBox="1"/>
            <p:nvPr/>
          </p:nvSpPr>
          <p:spPr>
            <a:xfrm>
              <a:off x="9478690" y="2325056"/>
              <a:ext cx="1738884" cy="25536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Systems, Subscribers, Users</a:t>
              </a:r>
            </a:p>
          </p:txBody>
        </p:sp>
        <p:sp>
          <p:nvSpPr>
            <p:cNvPr id="25" name="TextBox 24">
              <a:extLst>
                <a:ext uri="{FF2B5EF4-FFF2-40B4-BE49-F238E27FC236}">
                  <a16:creationId xmlns:a16="http://schemas.microsoft.com/office/drawing/2014/main" id="{2B79D6C7-67C8-AF48-840F-4E06A78A620E}"/>
                </a:ext>
              </a:extLst>
            </p:cNvPr>
            <p:cNvSpPr txBox="1"/>
            <p:nvPr/>
          </p:nvSpPr>
          <p:spPr>
            <a:xfrm>
              <a:off x="9484042" y="2521925"/>
              <a:ext cx="1756474" cy="531585"/>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Systems or reporting/visualization tools can  access data services or storage. </a:t>
              </a:r>
            </a:p>
          </p:txBody>
        </p:sp>
      </p:grpSp>
      <p:sp>
        <p:nvSpPr>
          <p:cNvPr id="40" name="TextBox 39">
            <a:extLst>
              <a:ext uri="{FF2B5EF4-FFF2-40B4-BE49-F238E27FC236}">
                <a16:creationId xmlns:a16="http://schemas.microsoft.com/office/drawing/2014/main" id="{757D1FD2-0BF3-8C49-AE1D-F1DE3D659A25}"/>
              </a:ext>
            </a:extLst>
          </p:cNvPr>
          <p:cNvSpPr txBox="1"/>
          <p:nvPr/>
        </p:nvSpPr>
        <p:spPr>
          <a:xfrm>
            <a:off x="961906" y="5919631"/>
            <a:ext cx="4680288"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a:solidFill>
                  <a:schemeClr val="tx1"/>
                </a:solidFill>
                <a:latin typeface="+mn-lt"/>
              </a:rPr>
              <a:t>Assumption</a:t>
            </a:r>
            <a:r>
              <a:rPr lang="en-US" sz="900" b="0">
                <a:solidFill>
                  <a:schemeClr val="tx1"/>
                </a:solidFill>
                <a:latin typeface="+mn-lt"/>
              </a:rPr>
              <a:t>: Data lifecycle is often non-linear, and users can engage at different stages</a:t>
            </a:r>
          </a:p>
        </p:txBody>
      </p:sp>
      <p:grpSp>
        <p:nvGrpSpPr>
          <p:cNvPr id="41" name="Group 40">
            <a:extLst>
              <a:ext uri="{FF2B5EF4-FFF2-40B4-BE49-F238E27FC236}">
                <a16:creationId xmlns:a16="http://schemas.microsoft.com/office/drawing/2014/main" id="{270BBF14-35BC-2049-B75E-0D75A0A0AFA2}"/>
              </a:ext>
            </a:extLst>
          </p:cNvPr>
          <p:cNvGrpSpPr/>
          <p:nvPr/>
        </p:nvGrpSpPr>
        <p:grpSpPr>
          <a:xfrm>
            <a:off x="419980" y="1989126"/>
            <a:ext cx="1921323" cy="665787"/>
            <a:chOff x="1030518" y="2007240"/>
            <a:chExt cx="1921323" cy="665787"/>
          </a:xfrm>
        </p:grpSpPr>
        <p:sp>
          <p:nvSpPr>
            <p:cNvPr id="42" name="TextBox 41">
              <a:extLst>
                <a:ext uri="{FF2B5EF4-FFF2-40B4-BE49-F238E27FC236}">
                  <a16:creationId xmlns:a16="http://schemas.microsoft.com/office/drawing/2014/main" id="{B9573751-27E9-3448-9ABB-960C560E168F}"/>
                </a:ext>
              </a:extLst>
            </p:cNvPr>
            <p:cNvSpPr txBox="1"/>
            <p:nvPr/>
          </p:nvSpPr>
          <p:spPr>
            <a:xfrm>
              <a:off x="1310410" y="2007240"/>
              <a:ext cx="1478557" cy="185047"/>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Data Sources</a:t>
              </a:r>
            </a:p>
          </p:txBody>
        </p:sp>
        <p:sp>
          <p:nvSpPr>
            <p:cNvPr id="43" name="TextBox 42">
              <a:extLst>
                <a:ext uri="{FF2B5EF4-FFF2-40B4-BE49-F238E27FC236}">
                  <a16:creationId xmlns:a16="http://schemas.microsoft.com/office/drawing/2014/main" id="{FF9974CF-1FF9-3A44-B39B-57CC3AA890AD}"/>
                </a:ext>
              </a:extLst>
            </p:cNvPr>
            <p:cNvSpPr txBox="1"/>
            <p:nvPr/>
          </p:nvSpPr>
          <p:spPr>
            <a:xfrm>
              <a:off x="1030518" y="2186177"/>
              <a:ext cx="1921323" cy="486850"/>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nstructured, Semi-structured, and Structured data ingested from internal/external sources</a:t>
              </a:r>
            </a:p>
          </p:txBody>
        </p:sp>
      </p:grpSp>
      <p:grpSp>
        <p:nvGrpSpPr>
          <p:cNvPr id="44" name="Group 43">
            <a:extLst>
              <a:ext uri="{FF2B5EF4-FFF2-40B4-BE49-F238E27FC236}">
                <a16:creationId xmlns:a16="http://schemas.microsoft.com/office/drawing/2014/main" id="{5A318269-81B8-8941-BCC8-CCE20C68108F}"/>
              </a:ext>
            </a:extLst>
          </p:cNvPr>
          <p:cNvGrpSpPr/>
          <p:nvPr/>
        </p:nvGrpSpPr>
        <p:grpSpPr>
          <a:xfrm>
            <a:off x="9954775" y="2391159"/>
            <a:ext cx="1756474" cy="751513"/>
            <a:chOff x="5302152" y="1990215"/>
            <a:chExt cx="1756474" cy="751513"/>
          </a:xfrm>
        </p:grpSpPr>
        <p:sp>
          <p:nvSpPr>
            <p:cNvPr id="45" name="TextBox 44">
              <a:extLst>
                <a:ext uri="{FF2B5EF4-FFF2-40B4-BE49-F238E27FC236}">
                  <a16:creationId xmlns:a16="http://schemas.microsoft.com/office/drawing/2014/main" id="{708AC13A-3586-4C48-B56E-482811E30E23}"/>
                </a:ext>
              </a:extLst>
            </p:cNvPr>
            <p:cNvSpPr txBox="1"/>
            <p:nvPr/>
          </p:nvSpPr>
          <p:spPr>
            <a:xfrm>
              <a:off x="5396764" y="1990215"/>
              <a:ext cx="1661862" cy="253832"/>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a:solidFill>
                    <a:schemeClr val="tx1"/>
                  </a:solidFill>
                  <a:latin typeface="+mn-lt"/>
                </a:rPr>
                <a:t>Machine Learning</a:t>
              </a:r>
            </a:p>
          </p:txBody>
        </p:sp>
        <p:sp>
          <p:nvSpPr>
            <p:cNvPr id="46" name="TextBox 45">
              <a:extLst>
                <a:ext uri="{FF2B5EF4-FFF2-40B4-BE49-F238E27FC236}">
                  <a16:creationId xmlns:a16="http://schemas.microsoft.com/office/drawing/2014/main" id="{6892E0EE-290D-D74F-99EA-B33104D8B84C}"/>
                </a:ext>
              </a:extLst>
            </p:cNvPr>
            <p:cNvSpPr txBox="1"/>
            <p:nvPr/>
          </p:nvSpPr>
          <p:spPr>
            <a:xfrm>
              <a:off x="5302152" y="2128209"/>
              <a:ext cx="1756474" cy="61351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900" b="0">
                  <a:solidFill>
                    <a:schemeClr val="tx1"/>
                  </a:solidFill>
                  <a:latin typeface="+mn-lt"/>
                </a:rPr>
                <a:t>Use scalable machine learning/deep learning techniques, to derive deeper insights</a:t>
              </a:r>
            </a:p>
          </p:txBody>
        </p:sp>
      </p:grpSp>
      <p:cxnSp>
        <p:nvCxnSpPr>
          <p:cNvPr id="9" name="Straight Connector 8">
            <a:extLst>
              <a:ext uri="{FF2B5EF4-FFF2-40B4-BE49-F238E27FC236}">
                <a16:creationId xmlns:a16="http://schemas.microsoft.com/office/drawing/2014/main" id="{AC8DBCF2-287E-954B-B0D6-91CA4C7DD841}"/>
              </a:ext>
            </a:extLst>
          </p:cNvPr>
          <p:cNvCxnSpPr>
            <a:cxnSpLocks/>
          </p:cNvCxnSpPr>
          <p:nvPr/>
        </p:nvCxnSpPr>
        <p:spPr>
          <a:xfrm flipH="1">
            <a:off x="8162797" y="2991359"/>
            <a:ext cx="1750210" cy="482568"/>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4242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441639-E382-C64F-93E0-BF34827AD910}"/>
              </a:ext>
            </a:extLst>
          </p:cNvPr>
          <p:cNvSpPr>
            <a:spLocks noGrp="1"/>
          </p:cNvSpPr>
          <p:nvPr>
            <p:ph type="title"/>
          </p:nvPr>
        </p:nvSpPr>
        <p:spPr>
          <a:xfrm>
            <a:off x="914399" y="694944"/>
            <a:ext cx="10748865" cy="594360"/>
          </a:xfrm>
        </p:spPr>
        <p:txBody>
          <a:bodyPr/>
          <a:lstStyle/>
          <a:p>
            <a:r>
              <a:rPr lang="en-US" sz="3200"/>
              <a:t>NCCDPHP Data Insights Platform: Functional Use Case Categories </a:t>
            </a:r>
          </a:p>
        </p:txBody>
      </p:sp>
      <p:sp>
        <p:nvSpPr>
          <p:cNvPr id="5" name="Text Placeholder 4">
            <a:extLst>
              <a:ext uri="{FF2B5EF4-FFF2-40B4-BE49-F238E27FC236}">
                <a16:creationId xmlns:a16="http://schemas.microsoft.com/office/drawing/2014/main" id="{C43411B1-806E-2F49-92D3-70BF1120C5D3}"/>
              </a:ext>
            </a:extLst>
          </p:cNvPr>
          <p:cNvSpPr>
            <a:spLocks noGrp="1"/>
          </p:cNvSpPr>
          <p:nvPr>
            <p:ph type="body" sz="quarter" idx="15"/>
          </p:nvPr>
        </p:nvSpPr>
        <p:spPr/>
        <p:txBody>
          <a:bodyPr/>
          <a:lstStyle/>
          <a:p>
            <a:r>
              <a:rPr lang="en-US"/>
              <a:t>NCCDPHP DIP Data Lake</a:t>
            </a:r>
          </a:p>
        </p:txBody>
      </p:sp>
      <p:graphicFrame>
        <p:nvGraphicFramePr>
          <p:cNvPr id="8" name="Table 8">
            <a:extLst>
              <a:ext uri="{FF2B5EF4-FFF2-40B4-BE49-F238E27FC236}">
                <a16:creationId xmlns:a16="http://schemas.microsoft.com/office/drawing/2014/main" id="{02EDC088-A9EF-406C-BD61-B034A93813FE}"/>
              </a:ext>
            </a:extLst>
          </p:cNvPr>
          <p:cNvGraphicFramePr>
            <a:graphicFrameLocks noGrp="1"/>
          </p:cNvGraphicFramePr>
          <p:nvPr>
            <p:extLst>
              <p:ext uri="{D42A27DB-BD31-4B8C-83A1-F6EECF244321}">
                <p14:modId xmlns:p14="http://schemas.microsoft.com/office/powerpoint/2010/main" val="2480044230"/>
              </p:ext>
            </p:extLst>
          </p:nvPr>
        </p:nvGraphicFramePr>
        <p:xfrm>
          <a:off x="914399" y="1421517"/>
          <a:ext cx="10048974" cy="5142559"/>
        </p:xfrm>
        <a:graphic>
          <a:graphicData uri="http://schemas.openxmlformats.org/drawingml/2006/table">
            <a:tbl>
              <a:tblPr firstRow="1" bandRow="1">
                <a:tableStyleId>{F5AB1C69-6EDB-4FF4-983F-18BD219EF322}</a:tableStyleId>
              </a:tblPr>
              <a:tblGrid>
                <a:gridCol w="3425116">
                  <a:extLst>
                    <a:ext uri="{9D8B030D-6E8A-4147-A177-3AD203B41FA5}">
                      <a16:colId xmlns:a16="http://schemas.microsoft.com/office/drawing/2014/main" val="1312303887"/>
                    </a:ext>
                  </a:extLst>
                </a:gridCol>
                <a:gridCol w="6623858">
                  <a:extLst>
                    <a:ext uri="{9D8B030D-6E8A-4147-A177-3AD203B41FA5}">
                      <a16:colId xmlns:a16="http://schemas.microsoft.com/office/drawing/2014/main" val="1893829407"/>
                    </a:ext>
                  </a:extLst>
                </a:gridCol>
              </a:tblGrid>
              <a:tr h="231871">
                <a:tc>
                  <a:txBody>
                    <a:bodyPr/>
                    <a:lstStyle/>
                    <a:p>
                      <a:pPr algn="ctr"/>
                      <a:r>
                        <a:rPr lang="en-US" sz="1050">
                          <a:solidFill>
                            <a:schemeClr val="tx1"/>
                          </a:solidFill>
                        </a:rPr>
                        <a:t>Categories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050">
                          <a:solidFill>
                            <a:schemeClr val="tx1"/>
                          </a:solidFill>
                        </a:rPr>
                        <a:t>Functional Use Cases  </a:t>
                      </a:r>
                      <a:r>
                        <a:rPr lang="en-US" sz="1050">
                          <a:solidFill>
                            <a:srgbClr val="C00000"/>
                          </a:solidFill>
                        </a:rPr>
                        <a:t>(To Be Fille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36693105"/>
                  </a:ext>
                </a:extLst>
              </a:tr>
              <a:tr h="711987">
                <a:tc>
                  <a:txBody>
                    <a:bodyPr/>
                    <a:lstStyle/>
                    <a:p>
                      <a:r>
                        <a:rPr lang="en-US" sz="1050" b="1"/>
                        <a:t>Public Health Surveillance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Non-infectious Disease Surveillance </a:t>
                      </a:r>
                    </a:p>
                    <a:p>
                      <a:r>
                        <a:rPr lang="en-US" sz="1050"/>
                        <a:t>National Diabetes Surveillance</a:t>
                      </a:r>
                    </a:p>
                    <a:p>
                      <a:r>
                        <a:rPr lang="en-US" sz="1050"/>
                        <a:t>Behavior Risk Factor Surveilla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40626910"/>
                  </a:ext>
                </a:extLst>
              </a:tr>
              <a:tr h="479534">
                <a:tc>
                  <a:txBody>
                    <a:bodyPr/>
                    <a:lstStyle/>
                    <a:p>
                      <a:r>
                        <a:rPr lang="en-US" sz="1050" b="1"/>
                        <a:t>Public Datase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Geographic Asse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Public Funding Gran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1456695"/>
                  </a:ext>
                </a:extLst>
              </a:tr>
              <a:tr h="361781">
                <a:tc>
                  <a:txBody>
                    <a:bodyPr/>
                    <a:lstStyle/>
                    <a:p>
                      <a:r>
                        <a:rPr lang="en-US" sz="1050" b="1"/>
                        <a:t>Electronic Case Report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4161528"/>
                  </a:ext>
                </a:extLst>
              </a:tr>
              <a:tr h="338158">
                <a:tc>
                  <a:txBody>
                    <a:bodyPr/>
                    <a:lstStyle/>
                    <a:p>
                      <a:r>
                        <a:rPr lang="en-US" sz="1050" b="1"/>
                        <a:t>Electronic Lab Reporting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5598999"/>
                  </a:ext>
                </a:extLst>
              </a:tr>
              <a:tr h="348405">
                <a:tc>
                  <a:txBody>
                    <a:bodyPr/>
                    <a:lstStyle/>
                    <a:p>
                      <a:r>
                        <a:rPr lang="en-US" sz="1050" b="1"/>
                        <a:t>Vital Stats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96653161"/>
                  </a:ext>
                </a:extLst>
              </a:tr>
              <a:tr h="384271">
                <a:tc>
                  <a:txBody>
                    <a:bodyPr/>
                    <a:lstStyle/>
                    <a:p>
                      <a:r>
                        <a:rPr lang="en-US" sz="1050" b="1"/>
                        <a:t>Outbreak Data Collec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COVID-19 Dat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5485032"/>
                  </a:ext>
                </a:extLst>
              </a:tr>
              <a:tr h="435507">
                <a:tc>
                  <a:txBody>
                    <a:bodyPr/>
                    <a:lstStyle/>
                    <a:p>
                      <a:r>
                        <a:rPr lang="en-US" sz="1050" b="1"/>
                        <a:t>Healthcare Data Acquisi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65959510"/>
                  </a:ext>
                </a:extLst>
              </a:tr>
              <a:tr h="396791">
                <a:tc>
                  <a:txBody>
                    <a:bodyPr/>
                    <a:lstStyle/>
                    <a:p>
                      <a:r>
                        <a:rPr lang="en-US" sz="1050" b="1"/>
                        <a:t>Health Surveys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merican Community Surve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1262274"/>
                  </a:ext>
                </a:extLst>
              </a:tr>
              <a:tr h="360245">
                <a:tc>
                  <a:txBody>
                    <a:bodyPr/>
                    <a:lstStyle/>
                    <a:p>
                      <a:r>
                        <a:rPr lang="en-US" sz="1050" b="1"/>
                        <a:t>Case Notifica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7026444"/>
                  </a:ext>
                </a:extLst>
              </a:tr>
              <a:tr h="251432">
                <a:tc>
                  <a:txBody>
                    <a:bodyPr/>
                    <a:lstStyle/>
                    <a:p>
                      <a:r>
                        <a:rPr lang="en-US" sz="1050" b="1"/>
                        <a:t>State Registries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4377625"/>
                  </a:ext>
                </a:extLst>
              </a:tr>
              <a:tr h="251432">
                <a:tc>
                  <a:txBody>
                    <a:bodyPr/>
                    <a:lstStyle/>
                    <a:p>
                      <a:r>
                        <a:rPr lang="en-US" sz="1050" b="1"/>
                        <a:t>Social Medi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CDC Program Twitter Presence</a:t>
                      </a:r>
                    </a:p>
                    <a:p>
                      <a:r>
                        <a:rPr lang="en-US" sz="1050"/>
                        <a:t>Web Metrics</a:t>
                      </a:r>
                    </a:p>
                    <a:p>
                      <a:r>
                        <a:rPr lang="en-US" sz="1050"/>
                        <a:t>Google Trend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68245884"/>
                  </a:ext>
                </a:extLst>
              </a:tr>
              <a:tr h="251432">
                <a:tc>
                  <a:txBody>
                    <a:bodyPr/>
                    <a:lstStyle/>
                    <a:p>
                      <a:r>
                        <a:rPr lang="en-US" sz="1050" b="1"/>
                        <a:t>Third-party Data Acquisi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50"/>
                        <a:t>Movement Dat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94770630"/>
                  </a:ext>
                </a:extLst>
              </a:tr>
            </a:tbl>
          </a:graphicData>
        </a:graphic>
      </p:graphicFrame>
    </p:spTree>
    <p:extLst>
      <p:ext uri="{BB962C8B-B14F-4D97-AF65-F5344CB8AC3E}">
        <p14:creationId xmlns:p14="http://schemas.microsoft.com/office/powerpoint/2010/main" val="3452905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qvZjGAMQvK9A8JW9snH6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xLeV_BRS3iMCom2AVOB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Cloud">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Cloud" id="{7708378A-D66B-D54B-A93A-897B428F664D}" vid="{414E1EDB-B1F5-B34E-B8B6-65F3D0415C9A}"/>
    </a:ext>
  </a:extLst>
</a:theme>
</file>

<file path=ppt/theme/theme2.xml><?xml version="1.0" encoding="utf-8"?>
<a:theme xmlns:a="http://schemas.openxmlformats.org/drawingml/2006/main" name="1_Deloitte Cloud Template Aug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16x9 Standard Template.potx" id="{68DBDF22-AA5B-4705-B995-7EB9E4249A14}" vid="{8CB22C08-A954-4E37-9025-01E56CC7560A}"/>
    </a:ext>
  </a:extLst>
</a:theme>
</file>

<file path=ppt/theme/theme3.xml><?xml version="1.0" encoding="utf-8"?>
<a:theme xmlns:a="http://schemas.openxmlformats.org/drawingml/2006/main" name="DC - Theme">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C - Theme" id="{727AEDF0-5899-A743-A89B-121403B9B7AA}" vid="{0795A477-6F41-9C4D-A966-082CB026370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ec41f73-c8cd-4f8c-83b5-dbe734130034">
      <UserInfo>
        <DisplayName>Lamb, Ben</DisplayName>
        <AccountId>7</AccountId>
        <AccountType/>
      </UserInfo>
      <UserInfo>
        <DisplayName>Sapp, Jonathan</DisplayName>
        <AccountId>7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8DA55B0DF24C4DBFA35105DFA56C15" ma:contentTypeVersion="12" ma:contentTypeDescription="Create a new document." ma:contentTypeScope="" ma:versionID="836ae3e1e3fce279cf2ae75b91b3888b">
  <xsd:schema xmlns:xsd="http://www.w3.org/2001/XMLSchema" xmlns:xs="http://www.w3.org/2001/XMLSchema" xmlns:p="http://schemas.microsoft.com/office/2006/metadata/properties" xmlns:ns2="4a9283e6-5227-4e08-af83-20583ec20a17" xmlns:ns3="8ec41f73-c8cd-4f8c-83b5-dbe734130034" targetNamespace="http://schemas.microsoft.com/office/2006/metadata/properties" ma:root="true" ma:fieldsID="9a59041a7dfcb5ff36acca6adcb263c9" ns2:_="" ns3:_="">
    <xsd:import namespace="4a9283e6-5227-4e08-af83-20583ec20a17"/>
    <xsd:import namespace="8ec41f73-c8cd-4f8c-83b5-dbe73413003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9283e6-5227-4e08-af83-20583ec20a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c41f73-c8cd-4f8c-83b5-dbe73413003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C771CC-AABD-4123-B606-5724145B127A}">
  <ds:schemaRefs>
    <ds:schemaRef ds:uri="http://schemas.microsoft.com/sharepoint/v3/contenttype/forms"/>
  </ds:schemaRefs>
</ds:datastoreItem>
</file>

<file path=customXml/itemProps2.xml><?xml version="1.0" encoding="utf-8"?>
<ds:datastoreItem xmlns:ds="http://schemas.openxmlformats.org/officeDocument/2006/customXml" ds:itemID="{AE7E3948-FBD1-45F3-B48D-5A54FB1F941E}">
  <ds:schemaRefs>
    <ds:schemaRef ds:uri="4a9283e6-5227-4e08-af83-20583ec20a17"/>
    <ds:schemaRef ds:uri="8ec41f73-c8cd-4f8c-83b5-dbe73413003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FD6ADB5-7DA6-4D26-BE66-A5CE78343E8D}"/>
</file>

<file path=docProps/app.xml><?xml version="1.0" encoding="utf-8"?>
<Properties xmlns="http://schemas.openxmlformats.org/officeDocument/2006/extended-properties" xmlns:vt="http://schemas.openxmlformats.org/officeDocument/2006/docPropsVTypes">
  <Template>Deloitte-Cloud</Template>
  <Application>Microsoft Office PowerPoint</Application>
  <PresentationFormat>Widescreen</PresentationFormat>
  <Slides>38</Slides>
  <Notes>21</Notes>
  <HiddenSlides>0</HiddenSlides>
  <ScaleCrop>false</ScaleCrop>
  <HeadingPairs>
    <vt:vector size="4" baseType="variant">
      <vt:variant>
        <vt:lpstr>Theme</vt:lpstr>
      </vt:variant>
      <vt:variant>
        <vt:i4>3</vt:i4>
      </vt:variant>
      <vt:variant>
        <vt:lpstr>Slide Titles</vt:lpstr>
      </vt:variant>
      <vt:variant>
        <vt:i4>38</vt:i4>
      </vt:variant>
    </vt:vector>
  </HeadingPairs>
  <TitlesOfParts>
    <vt:vector size="41" baseType="lpstr">
      <vt:lpstr>Deloitte-Cloud</vt:lpstr>
      <vt:lpstr>1_Deloitte Cloud Template Aug 2018</vt:lpstr>
      <vt:lpstr>DC - Theme</vt:lpstr>
      <vt:lpstr>PowerPoint Presentation</vt:lpstr>
      <vt:lpstr>Table of Contents</vt:lpstr>
      <vt:lpstr>Goals &amp; Objectives</vt:lpstr>
      <vt:lpstr>Current State</vt:lpstr>
      <vt:lpstr>Future State: Conceptual Architecture </vt:lpstr>
      <vt:lpstr>Future State: Phase 1</vt:lpstr>
      <vt:lpstr>Future State: Phase 2</vt:lpstr>
      <vt:lpstr>Future State: Platform Conceptual Architecture</vt:lpstr>
      <vt:lpstr>NCCDPHP Data Insights Platform: Functional Use Case Categories </vt:lpstr>
      <vt:lpstr>NCCDPHP Data Insights Platform: Primary Use Cases (TBD)</vt:lpstr>
      <vt:lpstr>Risks &amp; Mitigation</vt:lpstr>
      <vt:lpstr>Eight Week Roadmap</vt:lpstr>
      <vt:lpstr>Staffing</vt:lpstr>
      <vt:lpstr>PowerPoint Presentation</vt:lpstr>
      <vt:lpstr>Technology Accelerators</vt:lpstr>
      <vt:lpstr>PowerPoint Presentation</vt:lpstr>
      <vt:lpstr>Infrastructure Environment: Future State</vt:lpstr>
      <vt:lpstr>Cloud Infrastructure</vt:lpstr>
      <vt:lpstr>Data Processing and Analytics: Future State (WIP)</vt:lpstr>
      <vt:lpstr>Data Processing and Analytics</vt:lpstr>
      <vt:lpstr>Operations Lifecycle: Current State</vt:lpstr>
      <vt:lpstr>Operations Lifecycle: Current State</vt:lpstr>
      <vt:lpstr>Operations Environment Lifecycle: Future State</vt:lpstr>
      <vt:lpstr>Data Resilience, Durability, and Availability</vt:lpstr>
      <vt:lpstr>Operations</vt:lpstr>
      <vt:lpstr>Application Development</vt:lpstr>
      <vt:lpstr>Current State: Application Lifecycle</vt:lpstr>
      <vt:lpstr>Future State: Application Lifecycle</vt:lpstr>
      <vt:lpstr>Database as a Code</vt:lpstr>
      <vt:lpstr>Containers</vt:lpstr>
      <vt:lpstr>Code Review (to be filled)</vt:lpstr>
      <vt:lpstr>PowerPoint Presentation</vt:lpstr>
      <vt:lpstr>Next Steps</vt:lpstr>
      <vt:lpstr>Platform Architecture: Future State (WIP)</vt:lpstr>
      <vt:lpstr>Technology &amp; Architecture: Future State (WIP)</vt:lpstr>
      <vt:lpstr>Collaboration</vt:lpstr>
      <vt:lpstr>Our Mandate</vt:lpstr>
      <vt:lpstr>Conceptual Applicatio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1</cp:revision>
  <dcterms:created xsi:type="dcterms:W3CDTF">2021-03-19T18:09:00Z</dcterms:created>
  <dcterms:modified xsi:type="dcterms:W3CDTF">2021-07-20T16:2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8DA55B0DF24C4DBFA35105DFA56C15</vt:lpwstr>
  </property>
  <property fmtid="{D5CDD505-2E9C-101B-9397-08002B2CF9AE}" pid="3" name="MSIP_Label_ea60d57e-af5b-4752-ac57-3e4f28ca11dc_Enabled">
    <vt:lpwstr>true</vt:lpwstr>
  </property>
  <property fmtid="{D5CDD505-2E9C-101B-9397-08002B2CF9AE}" pid="4" name="MSIP_Label_ea60d57e-af5b-4752-ac57-3e4f28ca11dc_SetDate">
    <vt:lpwstr>2021-05-26T22:00:2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77c73f7-92b2-44d3-a68e-d19fd0d64051</vt:lpwstr>
  </property>
  <property fmtid="{D5CDD505-2E9C-101B-9397-08002B2CF9AE}" pid="9" name="MSIP_Label_ea60d57e-af5b-4752-ac57-3e4f28ca11dc_ContentBits">
    <vt:lpwstr>0</vt:lpwstr>
  </property>
</Properties>
</file>